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4.xml" ContentType="application/vnd.openxmlformats-officedocument.theme+xml"/>
  <Override PartName="/ppt/tags/tag265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5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6.xml" ContentType="application/vnd.openxmlformats-officedocument.theme+xml"/>
  <Override PartName="/ppt/tags/tag354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7.xml" ContentType="application/vnd.openxmlformats-officedocument.theme+xml"/>
  <Override PartName="/ppt/tags/tag355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8.xml" ContentType="application/vnd.openxmlformats-officedocument.theme+xml"/>
  <Override PartName="/ppt/tags/tag356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9.xml" ContentType="application/vnd.openxmlformats-officedocument.theme+xml"/>
  <Override PartName="/ppt/tags/tag357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10.xml" ContentType="application/vnd.openxmlformats-officedocument.them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11.xml" ContentType="application/vnd.openxmlformats-officedocument.theme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12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34.xml" ContentType="application/vnd.openxmlformats-officedocument.presentationml.tags+xml"/>
  <Override PartName="/ppt/notesSlides/notesSlide4.xml" ContentType="application/vnd.openxmlformats-officedocument.presentationml.notesSlide+xml"/>
  <Override PartName="/ppt/tags/tag535.xml" ContentType="application/vnd.openxmlformats-officedocument.presentationml.tags+xml"/>
  <Override PartName="/ppt/notesSlides/notesSlide5.xml" ContentType="application/vnd.openxmlformats-officedocument.presentationml.notesSlide+xml"/>
  <Override PartName="/ppt/tags/tag53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3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53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notesSlides/notesSlide24.xml" ContentType="application/vnd.openxmlformats-officedocument.presentationml.notesSlide+xml"/>
  <Override PartName="/ppt/tags/tag539.xml" ContentType="application/vnd.openxmlformats-officedocument.presentationml.tags+xml"/>
  <Override PartName="/ppt/notesSlides/notesSlide25.xml" ContentType="application/vnd.openxmlformats-officedocument.presentationml.notesSlide+xml"/>
  <Override PartName="/ppt/tags/tag540.xml" ContentType="application/vnd.openxmlformats-officedocument.presentationml.tags+xml"/>
  <Override PartName="/ppt/notesSlides/notesSlide26.xml" ContentType="application/vnd.openxmlformats-officedocument.presentationml.notesSlide+xml"/>
  <Override PartName="/ppt/tags/tag541.xml" ContentType="application/vnd.openxmlformats-officedocument.presentationml.tags+xml"/>
  <Override PartName="/ppt/notesSlides/notesSlide27.xml" ContentType="application/vnd.openxmlformats-officedocument.presentationml.notesSlide+xml"/>
  <Override PartName="/ppt/tags/tag542.xml" ContentType="application/vnd.openxmlformats-officedocument.presentationml.tags+xml"/>
  <Override PartName="/ppt/notesSlides/notesSlide28.xml" ContentType="application/vnd.openxmlformats-officedocument.presentationml.notesSlide+xml"/>
  <Override PartName="/ppt/tags/tag5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microsoft.com/office/2020/02/relationships/classificationlabels" Target="docMetadata/LabelInfo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808" r:id="rId6"/>
    <p:sldMasterId id="2147483866" r:id="rId7"/>
    <p:sldMasterId id="2147483933" r:id="rId8"/>
    <p:sldMasterId id="2147483977" r:id="rId9"/>
    <p:sldMasterId id="2147484049" r:id="rId10"/>
    <p:sldMasterId id="2147484067" r:id="rId11"/>
    <p:sldMasterId id="2147484071" r:id="rId12"/>
    <p:sldMasterId id="2147484084" r:id="rId13"/>
    <p:sldMasterId id="2147484092" r:id="rId14"/>
    <p:sldMasterId id="2147484131" r:id="rId15"/>
    <p:sldMasterId id="2147484137" r:id="rId16"/>
  </p:sldMasterIdLst>
  <p:notesMasterIdLst>
    <p:notesMasterId r:id="rId53"/>
  </p:notesMasterIdLst>
  <p:handoutMasterIdLst>
    <p:handoutMasterId r:id="rId54"/>
  </p:handoutMasterIdLst>
  <p:sldIdLst>
    <p:sldId id="2134959239" r:id="rId17"/>
    <p:sldId id="2134959240" r:id="rId18"/>
    <p:sldId id="2134959242" r:id="rId19"/>
    <p:sldId id="2134959241" r:id="rId20"/>
    <p:sldId id="2134959243" r:id="rId21"/>
    <p:sldId id="2134959244" r:id="rId22"/>
    <p:sldId id="2134959245" r:id="rId23"/>
    <p:sldId id="3583" r:id="rId24"/>
    <p:sldId id="573" r:id="rId25"/>
    <p:sldId id="2134959231" r:id="rId26"/>
    <p:sldId id="2134959234" r:id="rId27"/>
    <p:sldId id="2134959232" r:id="rId28"/>
    <p:sldId id="2134959247" r:id="rId29"/>
    <p:sldId id="2134959246" r:id="rId30"/>
    <p:sldId id="2134959224" r:id="rId31"/>
    <p:sldId id="3602" r:id="rId32"/>
    <p:sldId id="2096975852" r:id="rId33"/>
    <p:sldId id="3581" r:id="rId34"/>
    <p:sldId id="2134959222" r:id="rId35"/>
    <p:sldId id="2134804786" r:id="rId36"/>
    <p:sldId id="686" r:id="rId37"/>
    <p:sldId id="687" r:id="rId38"/>
    <p:sldId id="688" r:id="rId39"/>
    <p:sldId id="1195" r:id="rId40"/>
    <p:sldId id="2134804785" r:id="rId41"/>
    <p:sldId id="2134804787" r:id="rId42"/>
    <p:sldId id="2134959203" r:id="rId43"/>
    <p:sldId id="974" r:id="rId44"/>
    <p:sldId id="2134959237" r:id="rId45"/>
    <p:sldId id="834" r:id="rId46"/>
    <p:sldId id="2134959220" r:id="rId47"/>
    <p:sldId id="2096975864" r:id="rId48"/>
    <p:sldId id="2096975870" r:id="rId49"/>
    <p:sldId id="2134959238" r:id="rId50"/>
    <p:sldId id="2134959235" r:id="rId51"/>
    <p:sldId id="2134959230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98FF"/>
    <a:srgbClr val="C6C6C6"/>
    <a:srgbClr val="6C2B29"/>
    <a:srgbClr val="0C1223"/>
    <a:srgbClr val="2A918B"/>
    <a:srgbClr val="939AA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20" autoAdjust="0"/>
    <p:restoredTop sz="92954" autoAdjust="0"/>
  </p:normalViewPr>
  <p:slideViewPr>
    <p:cSldViewPr snapToGrid="0" showGuides="1">
      <p:cViewPr varScale="1">
        <p:scale>
          <a:sx n="115" d="100"/>
          <a:sy n="115" d="100"/>
        </p:scale>
        <p:origin x="896" y="192"/>
      </p:cViewPr>
      <p:guideLst/>
    </p:cSldViewPr>
  </p:slideViewPr>
  <p:outlineViewPr>
    <p:cViewPr>
      <p:scale>
        <a:sx n="33" d="100"/>
        <a:sy n="33" d="100"/>
      </p:scale>
      <p:origin x="0" y="-312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2168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4" Type="http://schemas.openxmlformats.org/officeDocument/2006/relationships/slideMaster" Target="slideMasters/slideMaster10.xml"/><Relationship Id="rId15" Type="http://schemas.openxmlformats.org/officeDocument/2006/relationships/slideMaster" Target="slideMasters/slideMaster11.xml"/><Relationship Id="rId16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18" Type="http://schemas.openxmlformats.org/officeDocument/2006/relationships/slide" Target="slides/slide2.xml"/><Relationship Id="rId19" Type="http://schemas.openxmlformats.org/officeDocument/2006/relationships/slide" Target="slides/slide3.xml"/><Relationship Id="rId69" Type="http://schemas.microsoft.com/office/2016/11/relationships/changesInfo" Target="changesInfos/changesInfo1.xml"/><Relationship Id="rId50" Type="http://schemas.openxmlformats.org/officeDocument/2006/relationships/slide" Target="slides/slide34.xml"/><Relationship Id="rId51" Type="http://schemas.openxmlformats.org/officeDocument/2006/relationships/slide" Target="slides/slide35.xml"/><Relationship Id="rId52" Type="http://schemas.openxmlformats.org/officeDocument/2006/relationships/slide" Target="slides/slide36.xml"/><Relationship Id="rId53" Type="http://schemas.openxmlformats.org/officeDocument/2006/relationships/notesMaster" Target="notesMasters/notesMaster1.xml"/><Relationship Id="rId54" Type="http://schemas.openxmlformats.org/officeDocument/2006/relationships/handoutMaster" Target="handoutMasters/handoutMaster1.xml"/><Relationship Id="rId55" Type="http://schemas.openxmlformats.org/officeDocument/2006/relationships/presProps" Target="presProps.xml"/><Relationship Id="rId56" Type="http://schemas.openxmlformats.org/officeDocument/2006/relationships/viewProps" Target="viewProps.xml"/><Relationship Id="rId57" Type="http://schemas.openxmlformats.org/officeDocument/2006/relationships/theme" Target="theme/theme1.xml"/><Relationship Id="rId58" Type="http://schemas.openxmlformats.org/officeDocument/2006/relationships/tableStyles" Target="tableStyles.xml"/><Relationship Id="rId40" Type="http://schemas.openxmlformats.org/officeDocument/2006/relationships/slide" Target="slides/slide24.xml"/><Relationship Id="rId41" Type="http://schemas.openxmlformats.org/officeDocument/2006/relationships/slide" Target="slides/slide25.xml"/><Relationship Id="rId42" Type="http://schemas.openxmlformats.org/officeDocument/2006/relationships/slide" Target="slides/slide26.xml"/><Relationship Id="rId43" Type="http://schemas.openxmlformats.org/officeDocument/2006/relationships/slide" Target="slides/slide27.xml"/><Relationship Id="rId44" Type="http://schemas.openxmlformats.org/officeDocument/2006/relationships/slide" Target="slides/slide28.xml"/><Relationship Id="rId45" Type="http://schemas.openxmlformats.org/officeDocument/2006/relationships/slide" Target="slides/slide29.xml"/><Relationship Id="rId46" Type="http://schemas.openxmlformats.org/officeDocument/2006/relationships/slide" Target="slides/slide30.xml"/><Relationship Id="rId47" Type="http://schemas.openxmlformats.org/officeDocument/2006/relationships/slide" Target="slides/slide31.xml"/><Relationship Id="rId48" Type="http://schemas.openxmlformats.org/officeDocument/2006/relationships/slide" Target="slides/slide32.xml"/><Relationship Id="rId49" Type="http://schemas.openxmlformats.org/officeDocument/2006/relationships/slide" Target="slides/slide33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Master" Target="slideMasters/slideMaster2.xml"/><Relationship Id="rId7" Type="http://schemas.openxmlformats.org/officeDocument/2006/relationships/slideMaster" Target="slideMasters/slideMaster3.xml"/><Relationship Id="rId8" Type="http://schemas.openxmlformats.org/officeDocument/2006/relationships/slideMaster" Target="slideMasters/slideMaster4.xml"/><Relationship Id="rId9" Type="http://schemas.openxmlformats.org/officeDocument/2006/relationships/slideMaster" Target="slideMasters/slideMaster5.xml"/><Relationship Id="rId30" Type="http://schemas.openxmlformats.org/officeDocument/2006/relationships/slide" Target="slides/slide14.xml"/><Relationship Id="rId31" Type="http://schemas.openxmlformats.org/officeDocument/2006/relationships/slide" Target="slides/slide15.xml"/><Relationship Id="rId32" Type="http://schemas.openxmlformats.org/officeDocument/2006/relationships/slide" Target="slides/slide16.xml"/><Relationship Id="rId33" Type="http://schemas.openxmlformats.org/officeDocument/2006/relationships/slide" Target="slides/slide17.xml"/><Relationship Id="rId34" Type="http://schemas.openxmlformats.org/officeDocument/2006/relationships/slide" Target="slides/slide18.xml"/><Relationship Id="rId35" Type="http://schemas.openxmlformats.org/officeDocument/2006/relationships/slide" Target="slides/slide19.xml"/><Relationship Id="rId36" Type="http://schemas.openxmlformats.org/officeDocument/2006/relationships/slide" Target="slides/slide20.xml"/><Relationship Id="rId37" Type="http://schemas.openxmlformats.org/officeDocument/2006/relationships/slide" Target="slides/slide21.xml"/><Relationship Id="rId38" Type="http://schemas.openxmlformats.org/officeDocument/2006/relationships/slide" Target="slides/slide22.xml"/><Relationship Id="rId39" Type="http://schemas.openxmlformats.org/officeDocument/2006/relationships/slide" Target="slides/slide23.xml"/><Relationship Id="rId20" Type="http://schemas.openxmlformats.org/officeDocument/2006/relationships/slide" Target="slides/slide4.xml"/><Relationship Id="rId21" Type="http://schemas.openxmlformats.org/officeDocument/2006/relationships/slide" Target="slides/slide5.xml"/><Relationship Id="rId22" Type="http://schemas.openxmlformats.org/officeDocument/2006/relationships/slide" Target="slides/slide6.xml"/><Relationship Id="rId23" Type="http://schemas.openxmlformats.org/officeDocument/2006/relationships/slide" Target="slides/slide7.xml"/><Relationship Id="rId24" Type="http://schemas.openxmlformats.org/officeDocument/2006/relationships/slide" Target="slides/slide8.xml"/><Relationship Id="rId25" Type="http://schemas.openxmlformats.org/officeDocument/2006/relationships/slide" Target="slides/slide9.xml"/><Relationship Id="rId26" Type="http://schemas.openxmlformats.org/officeDocument/2006/relationships/slide" Target="slides/slide10.xml"/><Relationship Id="rId27" Type="http://schemas.openxmlformats.org/officeDocument/2006/relationships/slide" Target="slides/slide11.xml"/><Relationship Id="rId28" Type="http://schemas.openxmlformats.org/officeDocument/2006/relationships/slide" Target="slides/slide12.xml"/><Relationship Id="rId29" Type="http://schemas.openxmlformats.org/officeDocument/2006/relationships/slide" Target="slides/slide13.xml"/><Relationship Id="rId10" Type="http://schemas.openxmlformats.org/officeDocument/2006/relationships/slideMaster" Target="slideMasters/slideMaster6.xml"/><Relationship Id="rId11" Type="http://schemas.openxmlformats.org/officeDocument/2006/relationships/slideMaster" Target="slideMasters/slideMaster7.xml"/><Relationship Id="rId12" Type="http://schemas.openxmlformats.org/officeDocument/2006/relationships/slideMaster" Target="slideMasters/slideMaster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GE (Silvia Gentinetta)" userId="d219f96a-0d70-4634-a3b6-9ff4563b2767" providerId="ADAL" clId="{518ADD35-F825-4DFF-9994-EA2CEAE17EBC}"/>
    <pc:docChg chg="custSel delSld modSld">
      <pc:chgData name="SIGE (Silvia Gentinetta)" userId="d219f96a-0d70-4634-a3b6-9ff4563b2767" providerId="ADAL" clId="{518ADD35-F825-4DFF-9994-EA2CEAE17EBC}" dt="2024-02-07T07:43:50.705" v="4" actId="47"/>
      <pc:docMkLst>
        <pc:docMk/>
      </pc:docMkLst>
      <pc:sldChg chg="addSp delSp modSp del mod">
        <pc:chgData name="SIGE (Silvia Gentinetta)" userId="d219f96a-0d70-4634-a3b6-9ff4563b2767" providerId="ADAL" clId="{518ADD35-F825-4DFF-9994-EA2CEAE17EBC}" dt="2024-02-07T07:43:50.705" v="4" actId="47"/>
        <pc:sldMkLst>
          <pc:docMk/>
          <pc:sldMk cId="3598511070" sldId="265"/>
        </pc:sldMkLst>
        <pc:spChg chg="add mod">
          <ac:chgData name="SIGE (Silvia Gentinetta)" userId="d219f96a-0d70-4634-a3b6-9ff4563b2767" providerId="ADAL" clId="{518ADD35-F825-4DFF-9994-EA2CEAE17EBC}" dt="2024-02-07T07:43:39.473" v="3" actId="478"/>
          <ac:spMkLst>
            <pc:docMk/>
            <pc:sldMk cId="3598511070" sldId="265"/>
            <ac:spMk id="3" creationId="{39494070-E99A-BE0A-81FA-1C9E07A16461}"/>
          </ac:spMkLst>
        </pc:spChg>
        <pc:spChg chg="del">
          <ac:chgData name="SIGE (Silvia Gentinetta)" userId="d219f96a-0d70-4634-a3b6-9ff4563b2767" providerId="ADAL" clId="{518ADD35-F825-4DFF-9994-EA2CEAE17EBC}" dt="2024-02-07T07:43:39.473" v="3" actId="478"/>
          <ac:spMkLst>
            <pc:docMk/>
            <pc:sldMk cId="3598511070" sldId="265"/>
            <ac:spMk id="10" creationId="{F8826CA8-AAB7-4C74-A127-D44D838C3D24}"/>
          </ac:spMkLst>
        </pc:spChg>
      </pc:sldChg>
      <pc:sldChg chg="del">
        <pc:chgData name="SIGE (Silvia Gentinetta)" userId="d219f96a-0d70-4634-a3b6-9ff4563b2767" providerId="ADAL" clId="{518ADD35-F825-4DFF-9994-EA2CEAE17EBC}" dt="2024-02-07T07:43:21.599" v="2" actId="47"/>
        <pc:sldMkLst>
          <pc:docMk/>
          <pc:sldMk cId="3044030227" sldId="2243"/>
        </pc:sldMkLst>
      </pc:sldChg>
      <pc:sldChg chg="del">
        <pc:chgData name="SIGE (Silvia Gentinetta)" userId="d219f96a-0d70-4634-a3b6-9ff4563b2767" providerId="ADAL" clId="{518ADD35-F825-4DFF-9994-EA2CEAE17EBC}" dt="2024-02-07T07:43:16.849" v="1" actId="47"/>
        <pc:sldMkLst>
          <pc:docMk/>
          <pc:sldMk cId="3031444949" sldId="2134959215"/>
        </pc:sldMkLst>
      </pc:sldChg>
      <pc:sldChg chg="mod modShow">
        <pc:chgData name="SIGE (Silvia Gentinetta)" userId="d219f96a-0d70-4634-a3b6-9ff4563b2767" providerId="ADAL" clId="{518ADD35-F825-4DFF-9994-EA2CEAE17EBC}" dt="2024-02-07T07:43:13.243" v="0" actId="729"/>
        <pc:sldMkLst>
          <pc:docMk/>
          <pc:sldMk cId="2798724742" sldId="2134959235"/>
        </pc:sldMkLst>
      </pc:sldChg>
      <pc:sldMasterChg chg="delSldLayout">
        <pc:chgData name="SIGE (Silvia Gentinetta)" userId="d219f96a-0d70-4634-a3b6-9ff4563b2767" providerId="ADAL" clId="{518ADD35-F825-4DFF-9994-EA2CEAE17EBC}" dt="2024-02-07T07:43:21.599" v="2" actId="47"/>
        <pc:sldMasterMkLst>
          <pc:docMk/>
          <pc:sldMasterMk cId="180999990" sldId="2147483648"/>
        </pc:sldMasterMkLst>
        <pc:sldLayoutChg chg="del">
          <pc:chgData name="SIGE (Silvia Gentinetta)" userId="d219f96a-0d70-4634-a3b6-9ff4563b2767" providerId="ADAL" clId="{518ADD35-F825-4DFF-9994-EA2CEAE17EBC}" dt="2024-02-07T07:43:21.599" v="2" actId="47"/>
          <pc:sldLayoutMkLst>
            <pc:docMk/>
            <pc:sldMasterMk cId="180999990" sldId="2147483648"/>
            <pc:sldLayoutMk cId="389064863" sldId="214748406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9718820861678"/>
          <c:y val="0.120890015015015"/>
          <c:w val="0.918043650793651"/>
          <c:h val="0.80246433933933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ra 3 mg</c:v>
                </c:pt>
              </c:strCache>
            </c:strRef>
          </c:tx>
          <c:spPr>
            <a:ln w="28575" cap="rnd">
              <a:solidFill>
                <a:srgbClr val="001965"/>
              </a:solidFill>
              <a:round/>
            </a:ln>
            <a:effectLst/>
          </c:spPr>
          <c:marker>
            <c:symbol val="none"/>
          </c:marker>
          <c:dPt>
            <c:idx val="7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C7A-42A0-8BE8-F242505FBF4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001965"/>
                </a:solidFill>
                <a:ln w="9525">
                  <a:solidFill>
                    <a:srgbClr val="001965"/>
                  </a:solidFill>
                </a:ln>
                <a:effectLst/>
              </c:spPr>
            </c:marker>
            <c:bubble3D val="0"/>
            <c:spPr>
              <a:ln w="28575" cap="rnd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C7A-42A0-8BE8-F242505FBF45}"/>
              </c:ext>
            </c:extLst>
          </c:dPt>
          <c:errBars>
            <c:errDir val="y"/>
            <c:errBarType val="both"/>
            <c:errValType val="cust"/>
            <c:noEndCap val="1"/>
            <c:plus>
              <c:numRef>
                <c:f>Sheet1!$J$2:$J$12</c:f>
                <c:numCache>
                  <c:formatCode>General</c:formatCode>
                  <c:ptCount val="11"/>
                  <c:pt idx="0">
                    <c:v>0.0</c:v>
                  </c:pt>
                  <c:pt idx="1">
                    <c:v>0.0274483241784758</c:v>
                  </c:pt>
                  <c:pt idx="2">
                    <c:v>0.0367765089190577</c:v>
                  </c:pt>
                  <c:pt idx="3">
                    <c:v>0.0550269613509442</c:v>
                  </c:pt>
                  <c:pt idx="4">
                    <c:v>0.0832082084169308</c:v>
                  </c:pt>
                  <c:pt idx="5">
                    <c:v>0.0958107823880553</c:v>
                  </c:pt>
                  <c:pt idx="6">
                    <c:v>0.113943745370372</c:v>
                  </c:pt>
                  <c:pt idx="7">
                    <c:v>0.138432700491773</c:v>
                  </c:pt>
                  <c:pt idx="8">
                    <c:v>0.155009523350537</c:v>
                  </c:pt>
                  <c:pt idx="9">
                    <c:v>0.161803989361979</c:v>
                  </c:pt>
                  <c:pt idx="10">
                    <c:v>0.135252109867773</c:v>
                  </c:pt>
                </c:numCache>
              </c:numRef>
            </c:plus>
            <c:minus>
              <c:numRef>
                <c:f>Sheet1!$K$2:$K$12</c:f>
                <c:numCache>
                  <c:formatCode>General</c:formatCode>
                  <c:ptCount val="11"/>
                  <c:pt idx="0">
                    <c:v>0.0</c:v>
                  </c:pt>
                  <c:pt idx="1">
                    <c:v>0.0387457815102947</c:v>
                  </c:pt>
                  <c:pt idx="2">
                    <c:v>0.0528275496308508</c:v>
                  </c:pt>
                  <c:pt idx="3">
                    <c:v>0.0792705148411729</c:v>
                  </c:pt>
                  <c:pt idx="4">
                    <c:v>0.117214742710371</c:v>
                  </c:pt>
                  <c:pt idx="5">
                    <c:v>0.132340216133737</c:v>
                  </c:pt>
                  <c:pt idx="6">
                    <c:v>0.162755854226834</c:v>
                  </c:pt>
                  <c:pt idx="7">
                    <c:v>0.194279978118207</c:v>
                  </c:pt>
                  <c:pt idx="8">
                    <c:v>0.213559575546713</c:v>
                  </c:pt>
                  <c:pt idx="9">
                    <c:v>0.223284670221769</c:v>
                  </c:pt>
                  <c:pt idx="10">
                    <c:v>0.16433572194808</c:v>
                  </c:pt>
                </c:numCache>
              </c:numRef>
            </c:minus>
            <c:spPr>
              <a:noFill/>
              <a:ln w="9525" cap="flat" cmpd="sng" algn="ctr">
                <a:solidFill>
                  <a:srgbClr val="001965"/>
                </a:solidFill>
                <a:round/>
              </a:ln>
              <a:effectLst/>
            </c:spPr>
          </c:errBars>
          <c:xVal>
            <c:numRef>
              <c:f>Sheet1!$A$2:$A$12</c:f>
              <c:numCache>
                <c:formatCode>General</c:formatCode>
                <c:ptCount val="11"/>
                <c:pt idx="0">
                  <c:v>0.0</c:v>
                </c:pt>
                <c:pt idx="1">
                  <c:v>2.0</c:v>
                </c:pt>
                <c:pt idx="2">
                  <c:v>4.0</c:v>
                </c:pt>
                <c:pt idx="3">
                  <c:v>8.0</c:v>
                </c:pt>
                <c:pt idx="4">
                  <c:v>16.0</c:v>
                </c:pt>
                <c:pt idx="5">
                  <c:v>20.0</c:v>
                </c:pt>
                <c:pt idx="6">
                  <c:v>28.0</c:v>
                </c:pt>
                <c:pt idx="7">
                  <c:v>40.0</c:v>
                </c:pt>
                <c:pt idx="8">
                  <c:v>50.0</c:v>
                </c:pt>
                <c:pt idx="9">
                  <c:v>56.0</c:v>
                </c:pt>
                <c:pt idx="10">
                  <c:v>56.0</c:v>
                </c:pt>
              </c:numCache>
            </c:numRef>
          </c:xVal>
          <c:yVal>
            <c:numRef>
              <c:f>Sheet1!$B$2:$B$12</c:f>
              <c:numCache>
                <c:formatCode>General</c:formatCode>
                <c:ptCount val="11"/>
                <c:pt idx="0">
                  <c:v>0.0</c:v>
                </c:pt>
                <c:pt idx="1">
                  <c:v>-1.99</c:v>
                </c:pt>
                <c:pt idx="2">
                  <c:v>-3.32</c:v>
                </c:pt>
                <c:pt idx="3">
                  <c:v>-5.08</c:v>
                </c:pt>
                <c:pt idx="4">
                  <c:v>-6.859999999999999</c:v>
                </c:pt>
                <c:pt idx="5">
                  <c:v>-7.45</c:v>
                </c:pt>
                <c:pt idx="6">
                  <c:v>-8.239999999999998</c:v>
                </c:pt>
                <c:pt idx="7">
                  <c:v>-9.139999999999998</c:v>
                </c:pt>
                <c:pt idx="8">
                  <c:v>-9.31</c:v>
                </c:pt>
                <c:pt idx="9">
                  <c:v>-9.210000000000001</c:v>
                </c:pt>
                <c:pt idx="10">
                  <c:v>-7.9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0C7A-42A0-8BE8-F242505FBF4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BO</c:v>
                </c:pt>
              </c:strCache>
            </c:strRef>
          </c:tx>
          <c:spPr>
            <a:ln w="28575" cap="rnd">
              <a:solidFill>
                <a:srgbClr val="82786F"/>
              </a:solidFill>
              <a:round/>
            </a:ln>
            <a:effectLst/>
          </c:spPr>
          <c:marker>
            <c:symbol val="none"/>
          </c:marker>
          <c:dPt>
            <c:idx val="1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428-4AA1-9887-6DAFA820F73A}"/>
              </c:ext>
            </c:extLst>
          </c:dPt>
          <c:dPt>
            <c:idx val="2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428-4AA1-9887-6DAFA820F73A}"/>
              </c:ext>
            </c:extLst>
          </c:dPt>
          <c:dPt>
            <c:idx val="3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428-4AA1-9887-6DAFA820F73A}"/>
              </c:ext>
            </c:extLst>
          </c:dPt>
          <c:dPt>
            <c:idx val="4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428-4AA1-9887-6DAFA820F73A}"/>
              </c:ext>
            </c:extLst>
          </c:dPt>
          <c:dPt>
            <c:idx val="5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428-4AA1-9887-6DAFA820F73A}"/>
              </c:ext>
            </c:extLst>
          </c:dPt>
          <c:dPt>
            <c:idx val="6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428-4AA1-9887-6DAFA820F73A}"/>
              </c:ext>
            </c:extLst>
          </c:dPt>
          <c:dPt>
            <c:idx val="7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428-4AA1-9887-6DAFA820F73A}"/>
              </c:ext>
            </c:extLst>
          </c:dPt>
          <c:dPt>
            <c:idx val="8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428-4AA1-9887-6DAFA820F73A}"/>
              </c:ext>
            </c:extLst>
          </c:dPt>
          <c:dPt>
            <c:idx val="9"/>
            <c:bubble3D val="0"/>
            <c:spPr>
              <a:ln w="28575" cap="rnd">
                <a:solidFill>
                  <a:schemeClr val="accent6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5428-4AA1-9887-6DAFA820F73A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chemeClr val="accent6"/>
                </a:solidFill>
                <a:ln w="9525">
                  <a:solidFill>
                    <a:schemeClr val="accent6"/>
                  </a:solidFill>
                </a:ln>
                <a:effectLst/>
              </c:spPr>
            </c:marker>
            <c:bubble3D val="0"/>
            <c:spPr>
              <a:ln w="28575" cap="rnd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C7A-42A0-8BE8-F242505FBF45}"/>
              </c:ext>
            </c:extLst>
          </c:dPt>
          <c:errBars>
            <c:errDir val="y"/>
            <c:errBarType val="both"/>
            <c:errValType val="cust"/>
            <c:noEndCap val="1"/>
            <c:plus>
              <c:numRef>
                <c:f>Sheet1!$K$2:$K$12</c:f>
                <c:numCache>
                  <c:formatCode>General</c:formatCode>
                  <c:ptCount val="11"/>
                  <c:pt idx="0">
                    <c:v>0.0</c:v>
                  </c:pt>
                  <c:pt idx="1">
                    <c:v>0.0387457815102947</c:v>
                  </c:pt>
                  <c:pt idx="2">
                    <c:v>0.0528275496308508</c:v>
                  </c:pt>
                  <c:pt idx="3">
                    <c:v>0.0792705148411729</c:v>
                  </c:pt>
                  <c:pt idx="4">
                    <c:v>0.117214742710371</c:v>
                  </c:pt>
                  <c:pt idx="5">
                    <c:v>0.132340216133737</c:v>
                  </c:pt>
                  <c:pt idx="6">
                    <c:v>0.162755854226834</c:v>
                  </c:pt>
                  <c:pt idx="7">
                    <c:v>0.194279978118207</c:v>
                  </c:pt>
                  <c:pt idx="8">
                    <c:v>0.213559575546713</c:v>
                  </c:pt>
                  <c:pt idx="9">
                    <c:v>0.223284670221769</c:v>
                  </c:pt>
                  <c:pt idx="10">
                    <c:v>0.16433572194808</c:v>
                  </c:pt>
                </c:numCache>
              </c:numRef>
            </c:plus>
            <c:minus>
              <c:numRef>
                <c:f>Sheet1!$K$2:$K$12</c:f>
                <c:numCache>
                  <c:formatCode>General</c:formatCode>
                  <c:ptCount val="11"/>
                  <c:pt idx="0">
                    <c:v>0.0</c:v>
                  </c:pt>
                  <c:pt idx="1">
                    <c:v>0.0387457815102947</c:v>
                  </c:pt>
                  <c:pt idx="2">
                    <c:v>0.0528275496308508</c:v>
                  </c:pt>
                  <c:pt idx="3">
                    <c:v>0.0792705148411729</c:v>
                  </c:pt>
                  <c:pt idx="4">
                    <c:v>0.117214742710371</c:v>
                  </c:pt>
                  <c:pt idx="5">
                    <c:v>0.132340216133737</c:v>
                  </c:pt>
                  <c:pt idx="6">
                    <c:v>0.162755854226834</c:v>
                  </c:pt>
                  <c:pt idx="7">
                    <c:v>0.194279978118207</c:v>
                  </c:pt>
                  <c:pt idx="8">
                    <c:v>0.213559575546713</c:v>
                  </c:pt>
                  <c:pt idx="9">
                    <c:v>0.223284670221769</c:v>
                  </c:pt>
                  <c:pt idx="10">
                    <c:v>0.16433572194808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accent6"/>
                </a:solidFill>
                <a:round/>
              </a:ln>
              <a:effectLst/>
            </c:spPr>
          </c:errBars>
          <c:xVal>
            <c:numRef>
              <c:f>Sheet1!$A$2:$A$12</c:f>
              <c:numCache>
                <c:formatCode>General</c:formatCode>
                <c:ptCount val="11"/>
                <c:pt idx="0">
                  <c:v>0.0</c:v>
                </c:pt>
                <c:pt idx="1">
                  <c:v>2.0</c:v>
                </c:pt>
                <c:pt idx="2">
                  <c:v>4.0</c:v>
                </c:pt>
                <c:pt idx="3">
                  <c:v>8.0</c:v>
                </c:pt>
                <c:pt idx="4">
                  <c:v>16.0</c:v>
                </c:pt>
                <c:pt idx="5">
                  <c:v>20.0</c:v>
                </c:pt>
                <c:pt idx="6">
                  <c:v>28.0</c:v>
                </c:pt>
                <c:pt idx="7">
                  <c:v>40.0</c:v>
                </c:pt>
                <c:pt idx="8">
                  <c:v>50.0</c:v>
                </c:pt>
                <c:pt idx="9">
                  <c:v>56.0</c:v>
                </c:pt>
                <c:pt idx="10">
                  <c:v>56.0</c:v>
                </c:pt>
              </c:numCache>
            </c:numRef>
          </c:xVal>
          <c:yVal>
            <c:numRef>
              <c:f>Sheet1!$C$2:$C$12</c:f>
              <c:numCache>
                <c:formatCode>General</c:formatCode>
                <c:ptCount val="11"/>
                <c:pt idx="0">
                  <c:v>0.0</c:v>
                </c:pt>
                <c:pt idx="1">
                  <c:v>-0.79</c:v>
                </c:pt>
                <c:pt idx="2">
                  <c:v>-1.21</c:v>
                </c:pt>
                <c:pt idx="3">
                  <c:v>-1.92</c:v>
                </c:pt>
                <c:pt idx="4">
                  <c:v>-2.58</c:v>
                </c:pt>
                <c:pt idx="5">
                  <c:v>-2.69</c:v>
                </c:pt>
                <c:pt idx="6">
                  <c:v>-2.9</c:v>
                </c:pt>
                <c:pt idx="7">
                  <c:v>-3.33</c:v>
                </c:pt>
                <c:pt idx="8">
                  <c:v>-3.43</c:v>
                </c:pt>
                <c:pt idx="9">
                  <c:v>-3.5</c:v>
                </c:pt>
                <c:pt idx="10">
                  <c:v>-2.6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0C7A-42A0-8BE8-F242505FB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578900944"/>
        <c:axId val="-578965392"/>
      </c:scatterChart>
      <c:valAx>
        <c:axId val="-578900944"/>
        <c:scaling>
          <c:orientation val="minMax"/>
          <c:max val="60.0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19050" cap="flat" cmpd="sng" algn="ctr">
            <a:solidFill>
              <a:srgbClr val="002060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it-IT"/>
          </a:p>
        </c:txPr>
        <c:crossAx val="-578965392"/>
        <c:crossesAt val="-12.0"/>
        <c:crossBetween val="midCat"/>
        <c:majorUnit val="4.0"/>
      </c:valAx>
      <c:valAx>
        <c:axId val="-578965392"/>
        <c:scaling>
          <c:orientation val="minMax"/>
          <c:max val="0.0"/>
          <c:min val="-12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it-IT"/>
          </a:p>
        </c:txPr>
        <c:crossAx val="-578900944"/>
        <c:crosses val="autoZero"/>
        <c:crossBetween val="midCat"/>
        <c:majorUnit val="2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accent1"/>
          </a:solidFill>
        </a:defRPr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55581065759637"/>
          <c:y val="0.0578462104488595"/>
          <c:w val="0.914643140589569"/>
          <c:h val="0.8063068432671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raglutide 3.0 mg</c:v>
                </c:pt>
              </c:strCache>
            </c:strRef>
          </c:tx>
          <c:spPr>
            <a:solidFill>
              <a:srgbClr val="001965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hr-HR" dirty="0"/>
                      <a:t>63.2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46E-4E46-AB16-7C57881FE76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hr-HR" dirty="0"/>
                      <a:t>33.1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46E-4E46-AB16-7C57881FE76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hr-HR" dirty="0"/>
                      <a:t>14.4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46E-4E46-AB16-7C57881FE76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it-IT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≥5% </c:v>
                </c:pt>
                <c:pt idx="1">
                  <c:v>&gt;10% </c:v>
                </c:pt>
                <c:pt idx="2">
                  <c:v>&gt;15% 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3.2</c:v>
                </c:pt>
                <c:pt idx="1">
                  <c:v>33.1</c:v>
                </c:pt>
                <c:pt idx="2">
                  <c:v>14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46E-4E46-AB16-7C57881FE7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0134853890587826"/>
                  <c:y val="0.0071942604856512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46E-4E46-AB16-7C57881FE76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≥5% </c:v>
                </c:pt>
                <c:pt idx="1">
                  <c:v>&gt;10% </c:v>
                </c:pt>
                <c:pt idx="2">
                  <c:v>&gt;15% 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1</c:v>
                </c:pt>
                <c:pt idx="1">
                  <c:v>10.6</c:v>
                </c:pt>
                <c:pt idx="2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46E-4E46-AB16-7C57881FE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553128384"/>
        <c:axId val="-553126176"/>
      </c:barChart>
      <c:catAx>
        <c:axId val="-553128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001965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it-IT"/>
          </a:p>
        </c:txPr>
        <c:crossAx val="-553126176"/>
        <c:crosses val="autoZero"/>
        <c:auto val="1"/>
        <c:lblAlgn val="ctr"/>
        <c:lblOffset val="100"/>
        <c:noMultiLvlLbl val="0"/>
      </c:catAx>
      <c:valAx>
        <c:axId val="-553126176"/>
        <c:scaling>
          <c:orientation val="minMax"/>
          <c:max val="10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rgbClr val="001965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it-IT"/>
          </a:p>
        </c:txPr>
        <c:crossAx val="-553128384"/>
        <c:crosses val="autoZero"/>
        <c:crossBetween val="between"/>
        <c:majorUnit val="2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accent1"/>
          </a:solidFill>
        </a:defRPr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4/02/2024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 note</a:t>
            </a:r>
          </a:p>
          <a:p>
            <a:pPr lvl="6"/>
            <a:r>
              <a:rPr lang="en-US" dirty="0"/>
              <a:t>7 level</a:t>
            </a:r>
          </a:p>
          <a:p>
            <a:pPr lvl="7"/>
            <a:r>
              <a:rPr lang="en-US" dirty="0"/>
              <a:t>8 level</a:t>
            </a:r>
          </a:p>
          <a:p>
            <a:pPr lvl="8"/>
            <a:r>
              <a:rPr lang="en-US" dirty="0"/>
              <a:t>9 header	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4/02/2024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-179388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0" indent="0" algn="l" defTabSz="914400" rtl="0" eaLnBrk="1" latinLnBrk="0" hangingPunct="1">
      <a:buFont typeface="Arial" panose="020B0604020202020204" pitchFamily="34" charset="0"/>
      <a:buChar char="​"/>
      <a:defRPr sz="1400" b="1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indent="-2286000" algn="l" defTabSz="91440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180000" indent="-90000" algn="l" defTabSz="914400" rtl="0" eaLnBrk="1" latinLnBrk="0" hangingPunct="1">
      <a:buFont typeface="Arial" panose="020B0604020202020204" pitchFamily="34" charset="0"/>
      <a:buChar char="•"/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buFont typeface="Arial" panose="020B0604020202020204" pitchFamily="34" charset="0"/>
      <a:buChar char="​"/>
      <a:defRPr sz="800" b="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tags" Target="../tags/tag538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29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Relationship Id="rId3" Type="http://schemas.openxmlformats.org/officeDocument/2006/relationships/hyperlink" Target="http://clinicaltrials.gov/show/NCT01272219" TargetMode="Externa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Relationship Id="rId3" Type="http://schemas.openxmlformats.org/officeDocument/2006/relationships/hyperlink" Target="http://clinicaltrials.gov/show/NCT01272219" TargetMode="Externa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tags" Target="../tags/tag539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2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tags" Target="../tags/tag540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3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tags" Target="../tags/tag541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4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tags" Target="../tags/tag542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5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tags" Target="../tags/tag543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534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535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536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tags" Target="../tags/tag537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buFont typeface="Arial" panose="020B0604020202020204" pitchFamily="34" charset="0"/>
              <a:buNone/>
              <a:defRPr/>
            </a:pPr>
            <a:r>
              <a:rPr lang="en-GB" sz="1000" b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ootnotes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000" dirty="0" err="1"/>
              <a:t>Nordmo</a:t>
            </a:r>
            <a:r>
              <a:rPr lang="en-GB" sz="1000" dirty="0"/>
              <a:t> et al. </a:t>
            </a:r>
            <a:r>
              <a:rPr lang="en-GB" sz="1000" i="1" dirty="0" err="1"/>
              <a:t>Obes</a:t>
            </a:r>
            <a:r>
              <a:rPr lang="en-GB" sz="1000" i="1" dirty="0"/>
              <a:t> Rev</a:t>
            </a:r>
            <a:r>
              <a:rPr lang="en-GB" sz="1000" dirty="0"/>
              <a:t> 2019. </a:t>
            </a:r>
            <a:r>
              <a:rPr lang="en-GB" sz="1000" dirty="0" err="1"/>
              <a:t>doi</a:t>
            </a:r>
            <a:r>
              <a:rPr lang="en-GB" sz="1000" dirty="0"/>
              <a:t>: 10.1111/obr.12949.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800" dirty="0">
                <a:solidFill>
                  <a:schemeClr val="accent6"/>
                </a:solidFill>
              </a:rPr>
              <a:t>Fothergill E, Guo J, Howard L, et al. Obesity (Silver Spring). 2016;24:1612– 1619;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800" dirty="0">
                <a:solidFill>
                  <a:schemeClr val="accent6"/>
                </a:solidFill>
              </a:rPr>
              <a:t> </a:t>
            </a:r>
            <a:r>
              <a:rPr lang="en-GB" sz="800" dirty="0" err="1">
                <a:solidFill>
                  <a:schemeClr val="accent6"/>
                </a:solidFill>
              </a:rPr>
              <a:t>Sumithran</a:t>
            </a:r>
            <a:r>
              <a:rPr lang="en-GB" sz="800" dirty="0">
                <a:solidFill>
                  <a:schemeClr val="accent6"/>
                </a:solidFill>
              </a:rPr>
              <a:t> P, Prendergast LA, </a:t>
            </a:r>
            <a:r>
              <a:rPr lang="en-GB" sz="800" dirty="0" err="1">
                <a:solidFill>
                  <a:schemeClr val="accent6"/>
                </a:solidFill>
              </a:rPr>
              <a:t>Delbridge</a:t>
            </a:r>
            <a:r>
              <a:rPr lang="en-GB" sz="800" dirty="0">
                <a:solidFill>
                  <a:schemeClr val="accent6"/>
                </a:solidFill>
              </a:rPr>
              <a:t> E, et al. N </a:t>
            </a:r>
            <a:r>
              <a:rPr lang="en-GB" sz="800" dirty="0" err="1">
                <a:solidFill>
                  <a:schemeClr val="accent6"/>
                </a:solidFill>
              </a:rPr>
              <a:t>Engl</a:t>
            </a:r>
            <a:r>
              <a:rPr lang="en-GB" sz="800" dirty="0">
                <a:solidFill>
                  <a:schemeClr val="accent6"/>
                </a:solidFill>
              </a:rPr>
              <a:t> J Med. 2011;365:1597–1604.</a:t>
            </a:r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5274C7-3C95-4AD2-8A35-8F8F3ED72724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6433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CA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Information on food intake and energy use is collected from the GI system and adipose tissue</a:t>
            </a:r>
            <a:endParaRPr lang="en-CA" sz="1000" i="1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CA" sz="1000" i="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[Click]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 it is relayed via hormonal signalling and afferent projections of the </a:t>
            </a:r>
            <a:r>
              <a:rPr lang="en-CA" sz="10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vagus</a:t>
            </a:r>
            <a:r>
              <a:rPr lang="en-CA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 nerve to the brain</a:t>
            </a:r>
            <a:endParaRPr lang="en-CA" sz="1000" i="1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CA" sz="1000" i="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[Click]</a:t>
            </a:r>
            <a:endParaRPr lang="en-CA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9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In the brain, peripheral signals are integrated in the brainstem and hypothalamus</a:t>
            </a:r>
            <a:endParaRPr lang="en-CA" sz="900" i="1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CA" sz="900" i="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[Click]</a:t>
            </a:r>
            <a:endParaRPr lang="en-CA" sz="9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9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Prior to activation of higher order neural pathways involved in energy metabolism (mesolimbic reward system and frontal cortex executive functioning) </a:t>
            </a:r>
            <a:endParaRPr lang="en-CA" sz="1000" i="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0" marR="0" lvl="0" indent="0" algn="l" defTabSz="685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0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Referenc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CA" sz="1000" dirty="0" err="1"/>
              <a:t>Chapelot</a:t>
            </a:r>
            <a:r>
              <a:rPr lang="en-CA" sz="1000" dirty="0"/>
              <a:t> and </a:t>
            </a:r>
            <a:r>
              <a:rPr lang="en-CA" sz="1000" dirty="0" err="1"/>
              <a:t>Charlot</a:t>
            </a:r>
            <a:r>
              <a:rPr lang="en-CA" sz="1000" dirty="0"/>
              <a:t>, </a:t>
            </a:r>
            <a:r>
              <a:rPr lang="en-CA" sz="1000" i="1" dirty="0"/>
              <a:t>Metabolism Clinical and Experimental </a:t>
            </a:r>
            <a:r>
              <a:rPr lang="en-CA" sz="1000" i="0" dirty="0"/>
              <a:t>2019;92</a:t>
            </a:r>
            <a:r>
              <a:rPr lang="en-CA" sz="1000" i="1" dirty="0"/>
              <a:t>:</a:t>
            </a:r>
            <a:r>
              <a:rPr lang="en-CA" sz="1000" dirty="0"/>
              <a:t>11–25.</a:t>
            </a:r>
            <a:endParaRPr lang="en-CA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274C7-3C95-4AD2-8A35-8F8F3ED72724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100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9807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9167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ucagon-like peptide-1, or GLP-1, is a polypeptide composed of 31 amino acids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It is a member of the incretin family – a group of hormones that lower blood glucose levels by stimulating insulin secretion in response to energy intake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P-1 is primarily secreted from L-cells in the gut – but it is also secreted from the nucleus tractus solitarius in the hypothalamus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P-1 has a short half-life in plasma, of around 2 minutes, as it is rapidly degraded by the enzyme dipeptidyl peptidase-4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</p:spTree>
    <p:extLst>
      <p:ext uri="{BB962C8B-B14F-4D97-AF65-F5344CB8AC3E}">
        <p14:creationId xmlns:p14="http://schemas.microsoft.com/office/powerpoint/2010/main" val="34445222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P-1 is released in response to food intake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As the graph shows, after a meal, there is a rapid rise in plasma GLP-1 concentrations which then gradually return to baseline levels before spiking at the next mealtime. Thus, GLP-1 concentrations parallel the meal-related diurnal changes in plasma insulin concentration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</p:spTree>
    <p:extLst>
      <p:ext uri="{BB962C8B-B14F-4D97-AF65-F5344CB8AC3E}">
        <p14:creationId xmlns:p14="http://schemas.microsoft.com/office/powerpoint/2010/main" val="27660876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P-1 is secreted from two main sites [</a:t>
            </a:r>
            <a:r>
              <a:rPr lang="en-GB" i="1" dirty="0"/>
              <a:t>Click</a:t>
            </a:r>
            <a:r>
              <a:rPr lang="en-GB" dirty="0"/>
              <a:t>], the L-cells in the gut and from specialised cells in the nucleus tractus solitarius of the hindbrain</a:t>
            </a:r>
          </a:p>
          <a:p>
            <a:r>
              <a:rPr lang="en-GB" dirty="0"/>
              <a:t>[</a:t>
            </a:r>
            <a:r>
              <a:rPr lang="en-GB" i="1" dirty="0"/>
              <a:t>Click</a:t>
            </a:r>
            <a:r>
              <a:rPr lang="en-GB" dirty="0"/>
              <a:t>]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GLP-1 is primarily known as an incretin hormone but it has a wide variety of physiological effects and this is reflected in the broad range of tissues that express the GLP-1 receptor, including the pancreas, gut, heart and brai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2603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In this study, 20 young (20–31 years), healthy, normal-weight men were infused with physiological levels of either GLP-1 (50 pmol/kg.h) or saline and their appetite sensations were assessed using visual analogue scales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The subjects were asked to rate their feeling of satiety and hunger over a 6-hour period beginning with a fixed breakfast and ending with an </a:t>
            </a:r>
            <a:r>
              <a:rPr lang="en-GB" i="1" dirty="0"/>
              <a:t>ab libitum</a:t>
            </a:r>
            <a:r>
              <a:rPr lang="en-GB" dirty="0"/>
              <a:t> lunch</a:t>
            </a:r>
          </a:p>
          <a:p>
            <a:pPr marL="172684" indent="-172684">
              <a:buFont typeface="Arial" panose="020B0604020202020204" pitchFamily="34" charset="0"/>
              <a:buChar char="•"/>
            </a:pPr>
            <a:r>
              <a:rPr lang="en-GB" dirty="0"/>
              <a:t>The left graph shows their ‘satiety’ levels and the right shows their ‘hunger’ during the 6-hour period. The blue line represents GLP-1 infusion and the grey dotted line represents saline. As you can see, in response to GLP-1 infusion feelings on satiety were significantly increased whilst hunger was significantly decreased, which led</a:t>
            </a:r>
            <a:r>
              <a:rPr lang="en-GB" baseline="0" dirty="0"/>
              <a:t> to decreased spontaneous ad libitum energy intake. </a:t>
            </a:r>
            <a:endParaRPr lang="en-GB" dirty="0">
              <a:ea typeface="Gulim" pitchFamily="34" charset="-127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7593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>
            <a:extLst>
              <a:ext uri="{FF2B5EF4-FFF2-40B4-BE49-F238E27FC236}">
                <a16:creationId xmlns:a16="http://schemas.microsoft.com/office/drawing/2014/main" xmlns="" id="{5031102D-11D4-4904-B3F4-B2EEC7F8DD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132BA-25A5-4025-9AFA-DA3C117E1A50}" type="slidenum">
              <a:rPr kumimoji="0" lang="it-IT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3251" name="Text Box 2">
            <a:extLst>
              <a:ext uri="{FF2B5EF4-FFF2-40B4-BE49-F238E27FC236}">
                <a16:creationId xmlns:a16="http://schemas.microsoft.com/office/drawing/2014/main" xmlns="" id="{521DA2D8-BD55-456D-9EE2-085BB13BAC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6538" y="503238"/>
            <a:ext cx="3736975" cy="31289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3252" name="Rectangle 3">
            <a:extLst>
              <a:ext uri="{FF2B5EF4-FFF2-40B4-BE49-F238E27FC236}">
                <a16:creationId xmlns:a16="http://schemas.microsoft.com/office/drawing/2014/main" xmlns="" id="{D296A52B-E6AE-4CA2-BF9A-8B3B927FA566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666750" y="3867150"/>
            <a:ext cx="5335588" cy="5640388"/>
          </a:xfrm>
          <a:solidFill>
            <a:schemeClr val="accent1"/>
          </a:solidFill>
          <a:ln w="9360">
            <a:solidFill>
              <a:schemeClr val="tx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defTabSz="449263" eaLnBrk="1" hangingPunct="1">
              <a:spcBef>
                <a:spcPts val="375"/>
              </a:spcBef>
              <a:buFont typeface="Verdana" panose="020B0604030504040204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US" altLang="en-US" sz="1000">
              <a:latin typeface="Verdana" panose="020B060403050404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 eaLnBrk="0" hangingPunct="0">
              <a:defRPr/>
            </a:pPr>
            <a:r>
              <a:rPr lang="en-GB" u="sng" dirty="0"/>
              <a:t>Knudsen </a:t>
            </a:r>
            <a:r>
              <a:rPr lang="en-GB" i="1" u="sng" dirty="0"/>
              <a:t>et al. J Med </a:t>
            </a:r>
            <a:r>
              <a:rPr lang="en-GB" i="1" u="sng" dirty="0" err="1"/>
              <a:t>Chem</a:t>
            </a:r>
            <a:r>
              <a:rPr lang="en-GB" u="sng" dirty="0"/>
              <a:t> 2000;43:1664–9.</a:t>
            </a:r>
          </a:p>
          <a:p>
            <a:r>
              <a:rPr lang="en-GB" b="1" dirty="0"/>
              <a:t>Abstract</a:t>
            </a:r>
          </a:p>
          <a:p>
            <a:r>
              <a:rPr lang="en-GB" dirty="0"/>
              <a:t>A series of very potent derivatives of the 30-amino acid peptide hormone glucagon-like peptide-1 (GLP-1) is described. The compounds were all </a:t>
            </a:r>
            <a:r>
              <a:rPr lang="en-GB" dirty="0" err="1"/>
              <a:t>derivatized</a:t>
            </a:r>
            <a:r>
              <a:rPr lang="en-GB" dirty="0"/>
              <a:t> with fatty acids in order to protract their action by facilitating binding to serum albumin. GLP-1 had a potency (EC(50)) of 55 </a:t>
            </a:r>
            <a:r>
              <a:rPr lang="en-GB" dirty="0" err="1"/>
              <a:t>pM</a:t>
            </a:r>
            <a:r>
              <a:rPr lang="en-GB" dirty="0"/>
              <a:t> for the cloned human GLP-1 receptor. Many of the compounds had similar or even higher potencies, despite quite large substituents. All compounds </a:t>
            </a:r>
            <a:r>
              <a:rPr lang="en-GB" dirty="0" err="1"/>
              <a:t>derivatized</a:t>
            </a:r>
            <a:r>
              <a:rPr lang="en-GB" dirty="0"/>
              <a:t> with fatty acids equal to or longer than 12 carbon atoms were very protracted compared to GLP-1 and thus seem suitable for once daily administration to type 2 diabetic patients. A structure-activity relationship was obtained. GLP-1 could be </a:t>
            </a:r>
            <a:r>
              <a:rPr lang="en-GB" dirty="0" err="1"/>
              <a:t>derivatized</a:t>
            </a:r>
            <a:r>
              <a:rPr lang="en-GB" dirty="0"/>
              <a:t> with linear fatty acids up to the length of 16 carbon atoms, sometimes longer, almost anywhere in the C-terminal part without considerable loss of potency. Derivatization with two fatty acid substituents led to a considerable loss of potency. A structure-activity relationship on derivatization of specific amino acids generally was obtained. It was found that the longer the fatty acid, the more potency was lost. Simultaneous modification of the N-terminus (in order to obtain better metabolic stability) interfered with fatty acid derivatization and led to loss of potency.</a:t>
            </a:r>
          </a:p>
          <a:p>
            <a:pPr defTabSz="921075" eaLnBrk="0" hangingPunct="0">
              <a:defRPr/>
            </a:pPr>
            <a:endParaRPr lang="en-GB" u="sng" dirty="0"/>
          </a:p>
          <a:p>
            <a:pPr defTabSz="921075" eaLnBrk="0" hangingPunct="0">
              <a:defRPr/>
            </a:pPr>
            <a:r>
              <a:rPr lang="en-GB" u="sng" dirty="0" err="1"/>
              <a:t>Degn</a:t>
            </a:r>
            <a:r>
              <a:rPr lang="en-GB" u="sng" dirty="0"/>
              <a:t> </a:t>
            </a:r>
            <a:r>
              <a:rPr lang="en-GB" i="1" u="sng" dirty="0"/>
              <a:t>et al. Diabetes </a:t>
            </a:r>
            <a:r>
              <a:rPr lang="en-GB" u="sng" dirty="0"/>
              <a:t>2004;53:1187–94.</a:t>
            </a:r>
          </a:p>
          <a:p>
            <a:r>
              <a:rPr lang="en-GB" b="1" dirty="0"/>
              <a:t>Abstract</a:t>
            </a:r>
          </a:p>
          <a:p>
            <a:r>
              <a:rPr lang="en-GB" dirty="0"/>
              <a:t>Glucagon-like peptide 1 (GLP-1) is potentially a very attractive agent for treating type 2 diabetes. We explored the effect of short-term (1 week) treatment with a GLP-1 derivative, liraglutide (NN2211), on 24-h dynamics in </a:t>
            </a:r>
            <a:r>
              <a:rPr lang="en-GB" dirty="0" err="1"/>
              <a:t>glycemia</a:t>
            </a:r>
            <a:r>
              <a:rPr lang="en-GB" dirty="0"/>
              <a:t> and circulating free fatty acids, islet cell hormone profiles, and gastric emptying during meals using acetaminophen. Furthermore, fasting endogenous glucose release and gluconeogenesis (3-(3)H-glucose infusion and (2)H(2)O ingestion, respectively) were determined, and aspects of pancreatic islet cell function were elucidated on the subsequent day using homeostasis model assessment and first- and second-phase insulin response during a </a:t>
            </a:r>
            <a:r>
              <a:rPr lang="en-GB" dirty="0" err="1"/>
              <a:t>hyperglycemic</a:t>
            </a:r>
            <a:r>
              <a:rPr lang="en-GB" dirty="0"/>
              <a:t> clamp (plasma glucose approximately 16 </a:t>
            </a:r>
            <a:r>
              <a:rPr lang="en-GB" dirty="0" err="1"/>
              <a:t>mmol</a:t>
            </a:r>
            <a:r>
              <a:rPr lang="en-GB" dirty="0"/>
              <a:t>/l), and, finally, on top of </a:t>
            </a:r>
            <a:r>
              <a:rPr lang="en-GB" dirty="0" err="1"/>
              <a:t>hyperglycemia</a:t>
            </a:r>
            <a:r>
              <a:rPr lang="en-GB" dirty="0"/>
              <a:t>, an arginine stimulation test was performed. For accomplishing this, 13 patients with type 2 diabetes were examined in a double-blind, placebo-controlled crossover design. Liraglutide (6 micro g/kg) was administered subcutaneously once daily. Liraglutide significantly reduced the 24-h area under the curve for glucose (P = 0.01) and glucagon (P = 0.04), whereas the area under the curve for circulating free fatty acids was unaltered. Twenty-four-hour insulin secretion rates as assessed by deconvolution of serum C-peptide concentrations were unchanged, indicating a relative increase. Gastric emptying was not influenced at the dose of liraglutide used. Fasting endogenous glucose release was decreased (P = 0.04) as a result of a reduced </a:t>
            </a:r>
            <a:r>
              <a:rPr lang="en-GB" dirty="0" err="1"/>
              <a:t>glycogenolysis</a:t>
            </a:r>
            <a:r>
              <a:rPr lang="en-GB" dirty="0"/>
              <a:t> (P = 0.01), whereas gluconeogenesis was unaltered. First-phase insulin response and the insulin response to an arginine stimulation test with the presence of </a:t>
            </a:r>
            <a:r>
              <a:rPr lang="en-GB" dirty="0" err="1"/>
              <a:t>hyperglycemia</a:t>
            </a:r>
            <a:r>
              <a:rPr lang="en-GB" dirty="0"/>
              <a:t> were markedly increased (P &lt; 0.001), whereas the proinsulin/insulin ratio fell (P = 0.001). The disposition index (peak insulin concentration after intravenous bolus of glucose multiplied by insulin sensitivity as assessed by homeostasis model assessment) almost doubled during liraglutide treatment (P &lt; 0.01). Both during </a:t>
            </a:r>
            <a:r>
              <a:rPr lang="en-GB" dirty="0" err="1"/>
              <a:t>hyperglycemia</a:t>
            </a:r>
            <a:r>
              <a:rPr lang="en-GB" dirty="0"/>
              <a:t> per se and after arginine exposure, the glucagon responses were reduced during liraglutide administration (P &lt; 0.01 and P = 0.01). Thus, 1 week's treatment with a single daily dose of the GLP-1 derivative liraglutide, operating through several different mechanisms including an ameliorated pancreatic islet cell function in individuals with type 2 diabetes, improves </a:t>
            </a:r>
            <a:r>
              <a:rPr lang="en-GB" dirty="0" err="1"/>
              <a:t>glycemic</a:t>
            </a:r>
            <a:r>
              <a:rPr lang="en-GB" dirty="0"/>
              <a:t> control throughout 24 h of daily living, i.e., prandial and nocturnal periods. This study further emphasizes GLP-1 and its derivatives as a promising novel concept for treatment of type 2 diabetes.</a:t>
            </a:r>
          </a:p>
          <a:p>
            <a:endParaRPr lang="en-GB" u="sng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</p:spTree>
    <p:extLst>
      <p:ext uri="{BB962C8B-B14F-4D97-AF65-F5344CB8AC3E}">
        <p14:creationId xmlns:p14="http://schemas.microsoft.com/office/powerpoint/2010/main" val="3422841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defTabSz="1219170">
              <a:buClr>
                <a:srgbClr val="001965"/>
              </a:buClr>
              <a:buNone/>
            </a:pPr>
            <a:endParaRPr lang="en-GB" sz="1200" baseline="30000" dirty="0">
              <a:solidFill>
                <a:srgbClr val="002060"/>
              </a:solidFill>
              <a:latin typeface="Verdana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274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0396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81661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9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80835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4" name="Notes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u="sng" dirty="0"/>
              <a:t>Pi-Sunyer </a:t>
            </a:r>
            <a:r>
              <a:rPr lang="en-GB" i="1" u="sng" dirty="0"/>
              <a:t>et al. N Engl J Med </a:t>
            </a:r>
            <a:r>
              <a:rPr lang="en-GB" u="sng" dirty="0"/>
              <a:t>2015;373:11–22</a:t>
            </a:r>
          </a:p>
          <a:p>
            <a:r>
              <a:rPr lang="en-GB" b="1" dirty="0"/>
              <a:t>Abstract</a:t>
            </a:r>
          </a:p>
          <a:p>
            <a:r>
              <a:rPr lang="en-GB" b="1" cap="all"/>
              <a:t>BACKGROUND: </a:t>
            </a:r>
            <a:r>
              <a:rPr lang="en-GB"/>
              <a:t>Obesity is a chronic disease with serious health consequences, but weight loss is difficult to maintain through lifestyle intervention alone. Liraglutide, a glucagon-like peptide-1 analogue, has been shown to have potential benefit for weight management at a once-daily dose of 3.0 mg, injected subcutaneously.</a:t>
            </a:r>
          </a:p>
          <a:p>
            <a:r>
              <a:rPr lang="en-GB" b="1" cap="all"/>
              <a:t>METHODS: </a:t>
            </a:r>
            <a:r>
              <a:rPr lang="en-GB"/>
              <a:t>We conducted a 56-week, double-blind trial involving 3731 patients who did not have type 2 diabetes and who had a body-mass index (BMI; the weight in kilograms divided by the square of the height in meters) of at least 30 or a BMI of at least 27 if they had treated or untreated dyslipidemia or hypertension. We randomly assigned patients in a 2:1 ratio to receive once-daily subcutaneous injections of liraglutide at a dose of 3.0 mg (2487 patients) or placebo (1244 patients); both groups received counseling on lifestyle modification. The coprimary end points were the change in body weight and the proportions of patients losing at least 5% and more than 10% of their initial body weight.</a:t>
            </a:r>
          </a:p>
          <a:p>
            <a:r>
              <a:rPr lang="en-GB" b="1" cap="all"/>
              <a:t>RESULTS: </a:t>
            </a:r>
            <a:r>
              <a:rPr lang="en-GB"/>
              <a:t>At baseline, the mean (±SD) age of the patients was 45.1±12.0 years, the mean weight was 106.2±21.4 kg, and the mean BMI was 38.3±6.4; a total of 78.5% of the patients were women and 61.2% had prediabetes. At week 56, patients in the liraglutide group had lost a mean of 8.4±7.3 kg of body weight, and those in the placebo group had lost a mean of 2.8±6.5 kg (a difference of -5.6 kg; 95% confidence interval, -6.0 to -5.1; P&lt;0.001, with last-observation-carried-forward imputation). A total of 63.2% of the patients in the liraglutide group as compared with 27.1% in the placebo group lost at least 5% of their body weight (P&lt;0.001), and 33.1% and 10.6%, respectively, lost more than 10% of their body weight (P&lt;0.001). The most frequently reported adverse events with liraglutide were mild or moderate nausea and diarrhea. Serious events occurred in 6.2% of the patients in the liraglutide group and in 5.0% of the patients in the placebo group.</a:t>
            </a:r>
          </a:p>
          <a:p>
            <a:r>
              <a:rPr lang="en-GB" b="1" cap="all"/>
              <a:t>CONCLUSIONS: </a:t>
            </a:r>
            <a:r>
              <a:rPr lang="en-GB"/>
              <a:t>In this study, 3.0 mg of liraglutide, as an adjunct to diet and exercise, was associated with reduced body weight and improved metabolic control. (Funded by Novo Nordisk; SCALE Obesity and Prediabetes NN8022-1839 ClinicalTrials.gov number, </a:t>
            </a:r>
            <a:r>
              <a:rPr lang="en-GB" u="sng">
                <a:hlinkClick r:id="rId3" tooltip="See in ClincalTrials.gov"/>
              </a:rPr>
              <a:t>NCT01272219</a:t>
            </a:r>
            <a:r>
              <a:rPr lang="en-GB"/>
              <a:t>.)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47861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u="sng" dirty="0"/>
              <a:t>Pi-Sunyer </a:t>
            </a:r>
            <a:r>
              <a:rPr lang="en-GB" i="1" u="sng" dirty="0"/>
              <a:t>et al. N Engl J Med </a:t>
            </a:r>
            <a:r>
              <a:rPr lang="en-GB" u="sng" dirty="0"/>
              <a:t>2015;373:11–22</a:t>
            </a:r>
          </a:p>
          <a:p>
            <a:r>
              <a:rPr lang="en-GB" b="1" dirty="0"/>
              <a:t>Abstract</a:t>
            </a:r>
          </a:p>
          <a:p>
            <a:r>
              <a:rPr lang="en-GB" b="1" cap="all"/>
              <a:t>BACKGROUND: </a:t>
            </a:r>
            <a:r>
              <a:rPr lang="en-GB"/>
              <a:t>Obesity is a chronic disease with serious health consequences, but weight loss is difficult to maintain through lifestyle intervention alone. Liraglutide, a glucagon-like peptide-1 analogue, has been shown to have potential benefit for weight management at a once-daily dose of 3.0 mg, injected subcutaneously.</a:t>
            </a:r>
          </a:p>
          <a:p>
            <a:r>
              <a:rPr lang="en-GB" b="1" cap="all"/>
              <a:t>METHODS: </a:t>
            </a:r>
            <a:r>
              <a:rPr lang="en-GB"/>
              <a:t>We conducted a 56-week, double-blind trial involving 3731 patients who did not have type 2 diabetes and who had a body-mass index (BMI; the weight in kilograms divided by the square of the height in meters) of at least 30 or a BMI of at least 27 if they had treated or untreated dyslipidemia or hypertension. We randomly assigned patients in a 2:1 ratio to receive once-daily subcutaneous injections of liraglutide at a dose of 3.0 mg (2487 patients) or placebo (1244 patients); both groups received counseling on lifestyle modification. The coprimary end points were the change in body weight and the proportions of patients losing at least 5% and more than 10% of their initial body weight.</a:t>
            </a:r>
          </a:p>
          <a:p>
            <a:r>
              <a:rPr lang="en-GB" b="1" cap="all"/>
              <a:t>RESULTS: </a:t>
            </a:r>
            <a:r>
              <a:rPr lang="en-GB"/>
              <a:t>At baseline, the mean (±SD) age of the patients was 45.1±12.0 years, the mean weight was 106.2±21.4 kg, and the mean BMI was 38.3±6.4; a total of 78.5% of the patients were women and 61.2% had prediabetes. At week 56, patients in the liraglutide group had lost a mean of 8.4±7.3 kg of body weight, and those in the placebo group had lost a mean of 2.8±6.5 kg (a difference of -5.6 kg; 95% confidence interval, -6.0 to -5.1; P&lt;0.001, with last-observation-carried-forward imputation). A total of 63.2% of the patients in the liraglutide group as compared with 27.1% in the placebo group lost at least 5% of their body weight (P&lt;0.001), and 33.1% and 10.6%, respectively, lost more than 10% of their body weight (P&lt;0.001). The most frequently reported adverse events with liraglutide were mild or moderate nausea and diarrhea. Serious events occurred in 6.2% of the patients in the liraglutide group and in 5.0% of the patients in the placebo group.</a:t>
            </a:r>
          </a:p>
          <a:p>
            <a:r>
              <a:rPr lang="en-GB" b="1" cap="all"/>
              <a:t>CONCLUSIONS: </a:t>
            </a:r>
            <a:r>
              <a:rPr lang="en-GB"/>
              <a:t>In this study, 3.0 mg of liraglutide, as an adjunct to diet and exercise, was associated with reduced body weight and improved metabolic control. (Funded by Novo Nordisk; SCALE Obesity and Prediabetes NN8022-1839 ClinicalTrials.gov number, </a:t>
            </a:r>
            <a:r>
              <a:rPr lang="en-GB" u="sng">
                <a:hlinkClick r:id="rId3" tooltip="See in ClincalTrials.gov"/>
              </a:rPr>
              <a:t>NCT01272219</a:t>
            </a:r>
            <a:r>
              <a:rPr lang="en-GB"/>
              <a:t>.).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BAD52E-1D6A-43F7-88AC-109F45434CB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687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09144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3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24757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01973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algn="l">
              <a:buNone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05640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algn="l"/>
            <a:r>
              <a:rPr lang="en-GB" sz="1800" b="0" i="0" u="none" strike="noStrike" baseline="0" dirty="0">
                <a:latin typeface="AdvOTdc5ff126"/>
              </a:rPr>
              <a:t>Bioimpedance with the InBody270</a:t>
            </a: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6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5416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algn="l"/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At 16 weeks median percentage weight loss was 7.1% (IQR 5.1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BtlhflAdvTT3713a231+20"/>
              </a:rPr>
              <a:t>–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12.2%), and at 28 weeks 9.7% (IQR 7.8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BtlhflAdvTT3713a231+20"/>
              </a:rPr>
              <a:t>–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13.9%).</a:t>
            </a:r>
          </a:p>
          <a:p>
            <a:pPr algn="l"/>
            <a:endParaRPr lang="en-GB" sz="1800" b="0" i="0" u="none" strike="noStrike" baseline="0" dirty="0">
              <a:solidFill>
                <a:srgbClr val="131413"/>
              </a:solidFill>
              <a:latin typeface="LfggdkAdvTT3713a231"/>
            </a:endParaRPr>
          </a:p>
          <a:p>
            <a:pPr algn="l"/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At 28 weeks, early responders achieved a median 12.2% weight loss (IQR 8.7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BtlhflAdvTT3713a231+20"/>
              </a:rPr>
              <a:t>–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15.5%) and a median BMI change of 4.9 kg/m2 (IQR 4.1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BtlhflAdvTT3713a231+20"/>
              </a:rPr>
              <a:t>–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5.7 kg/m2). </a:t>
            </a:r>
          </a:p>
          <a:p>
            <a:pPr algn="l"/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Early non-responders achieved a median weight loss of only 6.4% (IQR 3.6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BtlhflAdvTT3713a231+20"/>
              </a:rPr>
              <a:t>–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7.7%) and a median BMI change of 2.0 kg/m2 (IQR 1.6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FlvjnrAdvTT3713a231+22"/>
              </a:rPr>
              <a:t>−</a:t>
            </a:r>
            <a:r>
              <a:rPr lang="en-GB" sz="1800" b="0" i="0" u="none" strike="noStrike" baseline="0" dirty="0">
                <a:solidFill>
                  <a:srgbClr val="131413"/>
                </a:solidFill>
                <a:latin typeface="LfggdkAdvTT3713a231"/>
              </a:rPr>
              <a:t>4.1 kg/m2).</a:t>
            </a:r>
          </a:p>
          <a:p>
            <a:pPr algn="l"/>
            <a:endParaRPr lang="en-GB" sz="1800" b="0" i="0" u="none" strike="noStrike" baseline="0" dirty="0">
              <a:solidFill>
                <a:srgbClr val="131413"/>
              </a:solidFill>
              <a:latin typeface="LfggdkAdvTT3713a231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0456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algn="l">
              <a:buNone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652492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algn="l">
              <a:buNone/>
            </a:pPr>
            <a:r>
              <a:rPr lang="it-IT" b="1" i="0" dirty="0">
                <a:solidFill>
                  <a:srgbClr val="212121"/>
                </a:solidFill>
                <a:effectLst/>
                <a:latin typeface="BlinkMacSystemFont"/>
              </a:rPr>
              <a:t> 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Participant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with BMI &gt; 30 kg/m</a:t>
            </a:r>
            <a:r>
              <a:rPr lang="it-IT" b="0" i="0" baseline="30000" dirty="0">
                <a:solidFill>
                  <a:srgbClr val="212121"/>
                </a:solidFill>
                <a:effectLst/>
                <a:latin typeface="BlinkMacSystemFont"/>
              </a:rPr>
              <a:t>2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 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undergoing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LSG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wer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randomised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to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receiv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either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liraglutid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(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subcutaneou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) in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increasing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doe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of 0.6 mg/day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until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maximum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tolerated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dose of 3.0 mg (L-L group) or placebo (L-P group) from 6 weeks post-operative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until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6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month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. Weight, BMI, %TWL, %EWL, HbA1c,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fasting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plasma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glucos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, HOMA-IR,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resolution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of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typ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2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diabete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mellitu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,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hypertension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,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dyslipidaemia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,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sleep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apnea and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quality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of life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were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evaluated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.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Primary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end point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wa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%TWL and % EWL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at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 post-operative 6 </a:t>
            </a:r>
            <a:r>
              <a:rPr lang="it-IT" b="0" i="0" dirty="0" err="1">
                <a:solidFill>
                  <a:srgbClr val="212121"/>
                </a:solidFill>
                <a:effectLst/>
                <a:latin typeface="BlinkMacSystemFont"/>
              </a:rPr>
              <a:t>months</a:t>
            </a:r>
            <a:r>
              <a:rPr lang="it-IT" b="0" i="0" dirty="0">
                <a:solidFill>
                  <a:srgbClr val="212121"/>
                </a:solidFill>
                <a:effectLst/>
                <a:latin typeface="BlinkMacSystemFont"/>
              </a:rPr>
              <a:t>.</a:t>
            </a:r>
          </a:p>
          <a:p>
            <a:pPr algn="l"/>
            <a:r>
              <a:rPr lang="en-US" b="1" i="0" dirty="0">
                <a:solidFill>
                  <a:srgbClr val="212121"/>
                </a:solidFill>
                <a:effectLst/>
                <a:latin typeface="BlinkMacSystemFont"/>
              </a:rPr>
              <a:t>Results: 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Thirty participants underwent LSG, and 23 were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randomised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 to receive liraglutide (n = 12) or placebo (n = 11).The mean dose of liraglutide in L-L group was 1.41 ± 0.49 mg/day. Patients in L-L group had %TWL of 28.2 ± 5.7 and %EWL of 58.7 ± 14.3 as compared with 23.2 ± 6.2 (p = 0.116) and 44.5 ± 8.6 (p = 0.043) in L-P group at 24 weeks, respectively. BMI decreased by 11.7 ± 3.5 in L-L group compared with 9.5 ± 4.0 in L-P group (p = 0.287). All patients with diabetes or pre-diabetes had resolution of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dysglycemia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 in the L-L group as compared with 50% in L-P group. However, there was no significant difference in resolution of other obesity-related comorbidities between two groups at 24-week follow-up.</a:t>
            </a:r>
          </a:p>
          <a:p>
            <a:pPr algn="l"/>
            <a:r>
              <a:rPr lang="en-US" b="1" i="0">
                <a:solidFill>
                  <a:srgbClr val="212121"/>
                </a:solidFill>
                <a:effectLst/>
                <a:latin typeface="BlinkMacSystemFont"/>
              </a:rPr>
              <a:t>Conclusion: </a:t>
            </a:r>
            <a:r>
              <a:rPr lang="en-US" b="0" i="0">
                <a:solidFill>
                  <a:srgbClr val="212121"/>
                </a:solidFill>
                <a:effectLst/>
                <a:latin typeface="BlinkMacSystemFont"/>
              </a:rPr>
              <a:t>Liraglutide added early after LSG significantly augments weight loss from LSG in obese individuals.</a:t>
            </a:r>
          </a:p>
          <a:p>
            <a:pPr algn="l">
              <a:buNone/>
            </a:pP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80308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buFont typeface="Arial" panose="020B0604020202020204" pitchFamily="34" charset="0"/>
              <a:buNone/>
              <a:defRPr/>
            </a:pPr>
            <a:r>
              <a:rPr lang="en-GB" sz="1000" b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ootnotes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1000" dirty="0" err="1"/>
              <a:t>Nordmo</a:t>
            </a:r>
            <a:r>
              <a:rPr lang="en-GB" sz="1000" dirty="0"/>
              <a:t> et al. </a:t>
            </a:r>
            <a:r>
              <a:rPr lang="en-GB" sz="1000" i="1" dirty="0" err="1"/>
              <a:t>Obes</a:t>
            </a:r>
            <a:r>
              <a:rPr lang="en-GB" sz="1000" i="1" dirty="0"/>
              <a:t> Rev</a:t>
            </a:r>
            <a:r>
              <a:rPr lang="en-GB" sz="1000" dirty="0"/>
              <a:t> 2019. </a:t>
            </a:r>
            <a:r>
              <a:rPr lang="en-GB" sz="1000" dirty="0" err="1"/>
              <a:t>doi</a:t>
            </a:r>
            <a:r>
              <a:rPr lang="en-GB" sz="1000" dirty="0"/>
              <a:t>: 10.1111/obr.12949.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800" dirty="0">
                <a:solidFill>
                  <a:schemeClr val="accent6"/>
                </a:solidFill>
              </a:rPr>
              <a:t>Fothergill E, Guo J, Howard L, et al. Obesity (Silver Spring). 2016;24:1612– 1619;</a:t>
            </a:r>
          </a:p>
          <a:p>
            <a:pPr marL="228600" marR="0" lvl="0" indent="-228600" algn="l" defTabSz="685273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en-GB" sz="800" dirty="0">
                <a:solidFill>
                  <a:schemeClr val="accent6"/>
                </a:solidFill>
              </a:rPr>
              <a:t> </a:t>
            </a:r>
            <a:r>
              <a:rPr lang="en-GB" sz="800" dirty="0" err="1">
                <a:solidFill>
                  <a:schemeClr val="accent6"/>
                </a:solidFill>
              </a:rPr>
              <a:t>Sumithran</a:t>
            </a:r>
            <a:r>
              <a:rPr lang="en-GB" sz="800" dirty="0">
                <a:solidFill>
                  <a:schemeClr val="accent6"/>
                </a:solidFill>
              </a:rPr>
              <a:t> P, Prendergast LA, </a:t>
            </a:r>
            <a:r>
              <a:rPr lang="en-GB" sz="800" dirty="0" err="1">
                <a:solidFill>
                  <a:schemeClr val="accent6"/>
                </a:solidFill>
              </a:rPr>
              <a:t>Delbridge</a:t>
            </a:r>
            <a:r>
              <a:rPr lang="en-GB" sz="800" dirty="0">
                <a:solidFill>
                  <a:schemeClr val="accent6"/>
                </a:solidFill>
              </a:rPr>
              <a:t> E, et al. N </a:t>
            </a:r>
            <a:r>
              <a:rPr lang="en-GB" sz="800" dirty="0" err="1">
                <a:solidFill>
                  <a:schemeClr val="accent6"/>
                </a:solidFill>
              </a:rPr>
              <a:t>Engl</a:t>
            </a:r>
            <a:r>
              <a:rPr lang="en-GB" sz="800" dirty="0">
                <a:solidFill>
                  <a:schemeClr val="accent6"/>
                </a:solidFill>
              </a:rPr>
              <a:t> J Med. 2011;365:1597–1604.</a:t>
            </a:r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5274C7-3C95-4AD2-8A35-8F8F3ED7272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900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Based on these data, preoperative weight loss of ≥8% excess weight, while following a 4-week LCD, is associated with a significantly greater rate of postoperative EWL over 1 year, as well as shorter operative duration and hospital length of stay.</a:t>
            </a:r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90058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The classic approach to obesity treatment is a treat to failure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All patients should receive lifestyle management, but if patients fail to lose weight or regain lost weight, they progressively escalate in a stepwise fashion to more intensive therapies  </a:t>
            </a:r>
          </a:p>
          <a:p>
            <a:endParaRPr lang="en-US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  <a:p>
            <a:r>
              <a:rPr lang="en-US" sz="10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</a:rPr>
              <a:t>References:</a:t>
            </a:r>
          </a:p>
          <a:p>
            <a:r>
              <a:rPr lang="en-CA" sz="1000" dirty="0"/>
              <a:t>Wharton S et al. CMAJ 2020;192:E875–91.</a:t>
            </a:r>
          </a:p>
          <a:p>
            <a:endParaRPr lang="en-US" sz="10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16305D-9B0C-4B3C-9451-99634E067ACB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1677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7863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NUL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NUL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image" Target="../media/image7.pn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0" Type="http://schemas.openxmlformats.org/officeDocument/2006/relationships/image" Target="../media/image10.png"/><Relationship Id="rId11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.png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2.emf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png"/><Relationship Id="rId3" Type="http://schemas.openxmlformats.org/officeDocument/2006/relationships/image" Target="NUL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7" Type="http://schemas.openxmlformats.org/officeDocument/2006/relationships/image" Target="../media/image7.png"/><Relationship Id="rId8" Type="http://schemas.openxmlformats.org/officeDocument/2006/relationships/image" Target="../media/image8.png"/><Relationship Id="rId9" Type="http://schemas.openxmlformats.org/officeDocument/2006/relationships/image" Target="../media/image9.png"/><Relationship Id="rId10" Type="http://schemas.openxmlformats.org/officeDocument/2006/relationships/image" Target="../media/image10.png"/><Relationship Id="rId11" Type="http://schemas.openxmlformats.org/officeDocument/2006/relationships/image" Target="../media/image11.png"/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.png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Relationship Id="rId3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Relationship Id="rId3" Type="http://schemas.openxmlformats.org/officeDocument/2006/relationships/image" Target="../media/image2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NULL"/><Relationship Id="rId3" Type="http://schemas.openxmlformats.org/officeDocument/2006/relationships/image" Target="../media/image2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NUL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xmlns="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787337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1D45D42-854E-4C84-97D0-32BC92F0AC0A}"/>
              </a:ext>
            </a:extLst>
          </p:cNvPr>
          <p:cNvSpPr/>
          <p:nvPr userDrawn="1"/>
        </p:nvSpPr>
        <p:spPr>
          <a:xfrm>
            <a:off x="2" y="-44330"/>
            <a:ext cx="12191998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xmlns="" id="{945D42C1-5D9C-4488-BF7A-233A8B4C7A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xmlns="" id="{7177761D-1175-494C-82D3-0190C4B30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3954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F9B268CC-DB2D-4A68-8657-B85B526D258B}"/>
              </a:ext>
            </a:extLst>
          </p:cNvPr>
          <p:cNvSpPr/>
          <p:nvPr userDrawn="1"/>
        </p:nvSpPr>
        <p:spPr>
          <a:xfrm>
            <a:off x="2" y="0"/>
            <a:ext cx="12202065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algn="ctr"/>
            <a:endParaRPr lang="en-GB" sz="1283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2629" y="3429060"/>
            <a:ext cx="3258979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5" name="Footer Placeholder 7">
            <a:extLst>
              <a:ext uri="{FF2B5EF4-FFF2-40B4-BE49-F238E27FC236}">
                <a16:creationId xmlns:a16="http://schemas.microsoft.com/office/drawing/2014/main" xmlns="" id="{E6977B30-2FF6-4FB9-B037-3196013979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26" name="Slide Number Placeholder 8">
            <a:extLst>
              <a:ext uri="{FF2B5EF4-FFF2-40B4-BE49-F238E27FC236}">
                <a16:creationId xmlns:a16="http://schemas.microsoft.com/office/drawing/2014/main" xmlns="" id="{733349C6-BDCC-4B55-B10D-C96D646FE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9728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547C1BA-0129-447F-AAC5-F3AAD8D9599B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EEE5BB8C-3249-41B2-94D8-2815F7F85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A1F8ACA8-A23F-49A4-BB78-079C486AD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2349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98C1FCE-9CC4-4F51-8F38-690B01C20B20}"/>
              </a:ext>
            </a:extLst>
          </p:cNvPr>
          <p:cNvSpPr/>
          <p:nvPr userDrawn="1"/>
        </p:nvSpPr>
        <p:spPr>
          <a:xfrm>
            <a:off x="2" y="0"/>
            <a:ext cx="12191998" cy="6858001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17209F4F-BB4A-49EB-A46F-9374F52F98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26D54DDB-261E-44FF-B4D0-45C0021D8D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27447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7B5088E-8E8D-45E2-B607-49288F900A63}"/>
              </a:ext>
            </a:extLst>
          </p:cNvPr>
          <p:cNvSpPr/>
          <p:nvPr userDrawn="1"/>
        </p:nvSpPr>
        <p:spPr>
          <a:xfrm>
            <a:off x="2" y="0"/>
            <a:ext cx="12191998" cy="6858001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FCA557DD-2AAD-4828-A747-1FF146CBA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B428E336-C4DC-4178-BFE8-3E139C039D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6551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4BD48920-C97D-4E2C-A35C-593501FFA1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763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4D6C171-7A36-4FCA-BE73-0EC7676F5B27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71190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119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49FAB9E8-5847-4D9A-89FB-61C26873B9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537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75A23169-A6B5-4FE3-98FF-BA1BE476C961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8A18D6DB-2DBB-48C7-A8A1-00B62FAF75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271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8BB2656-9C17-4E58-BD88-37CA74CEB40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AFEE2A84-0CF9-465D-9A9E-E32E360DF7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959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DAD6BB09-AE95-485E-84C0-574BBF3B1E75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7540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54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CB84F117-C4CD-4EDD-80DE-F4ABFF2EC9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63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892057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41C8F667-2919-4F82-AAFB-665CD3ED6C1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8" y="842833"/>
            <a:ext cx="528951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B6885AF-65CA-4A5B-92E9-9DAE4FC812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629" y="1427043"/>
            <a:ext cx="5291109" cy="176317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CFDE117-AD0C-44FE-BFCD-E810E5332BE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52177" y="1424363"/>
            <a:ext cx="5289515" cy="17658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4239" y="3321272"/>
            <a:ext cx="527790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127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63351" y="3321272"/>
            <a:ext cx="247993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4239" y="4269572"/>
            <a:ext cx="5277905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8" y="256602"/>
            <a:ext cx="5292076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6AB38EF1-106E-497C-9B3C-8E04C23EE27A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CB12C3D7-7FC8-4689-BE46-5FB5D1EC45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4507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3138">
          <p15:clr>
            <a:srgbClr val="FBAE40"/>
          </p15:clr>
        </p15:guide>
        <p15:guide id="4" orient="horz" pos="3261">
          <p15:clr>
            <a:srgbClr val="FBAE40"/>
          </p15:clr>
        </p15:guide>
        <p15:guide id="5" orient="horz" pos="4076">
          <p15:clr>
            <a:srgbClr val="FBAE40"/>
          </p15:clr>
        </p15:guide>
        <p15:guide id="6" orient="horz" pos="4191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5">
          <p15:clr>
            <a:srgbClr val="FBAE40"/>
          </p15:clr>
        </p15:guide>
        <p15:guide id="9" orient="horz" pos="5923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1" pos="3412">
          <p15:clr>
            <a:srgbClr val="FBAE40"/>
          </p15:clr>
        </p15:guide>
        <p15:guide id="12" pos="353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8809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8809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839D6835-A98F-415C-AB29-6E83B25AD0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998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015FA1D-A04C-406A-B4FB-658C12C42F6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71881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1881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590FB2D2-D9AA-4307-9D64-04A696610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524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755D4E67-3662-4369-BF55-28DAFDC08326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7555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555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6D3C3CE5-BCF3-4E33-888A-79D289FDE7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753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2B25207C-ADAC-443C-AE4D-A6FEDB6451E3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9572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9572"/>
            <a:ext cx="2478905" cy="44885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C191654A-EE91-43A6-95B1-6FF56F97BA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6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0518F002-EFCD-4883-8EA7-E48C9C36DE3C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6125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125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513CADD7-7829-4CE8-83AD-ED3DB7D6B1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009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8099CE7-FF39-4452-817B-498E2FDF0377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09E315E0-CE8E-4839-ADBB-2EFCBA18218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49500" y="1427043"/>
            <a:ext cx="528439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9071" y="1427043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2627" y="2358773"/>
            <a:ext cx="5296873" cy="8314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56973" y="2358773"/>
            <a:ext cx="528631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500" y="3320384"/>
            <a:ext cx="5289999" cy="8345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3317072"/>
            <a:ext cx="2484953" cy="83790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8519"/>
            <a:ext cx="2484953" cy="83645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499" y="4266521"/>
            <a:ext cx="52942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521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xmlns="" id="{940C1C48-E4A7-4D08-A356-A7F8CFDCD908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90171A37-7695-4A8E-8B63-CCA53EACC2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605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1">
          <p15:clr>
            <a:srgbClr val="FBAE40"/>
          </p15:clr>
        </p15:guide>
        <p15:guide id="2" orient="horz" pos="1401">
          <p15:clr>
            <a:srgbClr val="FBAE40"/>
          </p15:clr>
        </p15:guide>
        <p15:guide id="3" orient="horz" pos="2214">
          <p15:clr>
            <a:srgbClr val="FBAE40"/>
          </p15:clr>
        </p15:guide>
        <p15:guide id="4" orient="horz" pos="2316">
          <p15:clr>
            <a:srgbClr val="FBAE40"/>
          </p15:clr>
        </p15:guide>
        <p15:guide id="5" orient="horz" pos="3134">
          <p15:clr>
            <a:srgbClr val="FBAE40"/>
          </p15:clr>
        </p15:guide>
        <p15:guide id="6" orient="horz" pos="3260">
          <p15:clr>
            <a:srgbClr val="FBAE40"/>
          </p15:clr>
        </p15:guide>
        <p15:guide id="7" orient="horz" pos="4082">
          <p15:clr>
            <a:srgbClr val="FBAE40"/>
          </p15:clr>
        </p15:guide>
        <p15:guide id="8" orient="horz" pos="4190">
          <p15:clr>
            <a:srgbClr val="FBAE40"/>
          </p15:clr>
        </p15:guide>
        <p15:guide id="9" orient="horz" pos="5002">
          <p15:clr>
            <a:srgbClr val="FBAE40"/>
          </p15:clr>
        </p15:guide>
        <p15:guide id="10" orient="horz" pos="5120">
          <p15:clr>
            <a:srgbClr val="FBAE40"/>
          </p15:clr>
        </p15:guide>
        <p15:guide id="11" orient="horz" pos="5936">
          <p15:clr>
            <a:srgbClr val="FBAE40"/>
          </p15:clr>
        </p15:guide>
        <p15:guide id="12" orient="horz" pos="6034">
          <p15:clr>
            <a:srgbClr val="FBAE40"/>
          </p15:clr>
        </p15:guide>
        <p15:guide id="13" pos="3412">
          <p15:clr>
            <a:srgbClr val="FBAE40"/>
          </p15:clr>
        </p15:guide>
        <p15:guide id="14" pos="353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2266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xmlns="" id="{A4BF4A68-07AF-466F-AEFB-CED35AF945B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229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C1F5544-4B5B-4706-A48D-789FEC5B1AC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772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771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8BC9B22F-937C-4B65-928A-E9C43F73C5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1123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ED57F8A-BD88-4926-A8CD-345064B598FC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36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36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xmlns="" id="{47151EC5-4919-4459-9ECC-446D9D2306B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574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1720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E413F03-FBF4-49F7-8150-4C77E0F8036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02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021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781FE8F3-4A35-44AA-A2F0-4C29A1EA27C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016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56158A9-A089-46A0-B5EE-CCFE71F3FE88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6202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620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xmlns="" id="{B6CA0CB3-6B69-43E6-9847-8FDB46044D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3983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0607215D-A8EF-4963-AB6B-2AD4A98FDD5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8655" y="842833"/>
            <a:ext cx="5300847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265" y="1427043"/>
            <a:ext cx="10893019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9858" y="2364550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5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9858" y="3320258"/>
            <a:ext cx="5283427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9742" y="4255361"/>
            <a:ext cx="5282401" cy="454490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360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0267" y="256602"/>
            <a:ext cx="5281877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26224203-A862-4739-9AB9-31966AD83F1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88625C66-F2EB-4BDE-8378-E2C777310DF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776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3">
          <p15:clr>
            <a:srgbClr val="FBAE40"/>
          </p15:clr>
        </p15:guide>
        <p15:guide id="2" orient="horz" pos="1402">
          <p15:clr>
            <a:srgbClr val="FBAE40"/>
          </p15:clr>
        </p15:guide>
        <p15:guide id="3" orient="horz" pos="2210">
          <p15:clr>
            <a:srgbClr val="FBAE40"/>
          </p15:clr>
        </p15:guide>
        <p15:guide id="4" orient="horz" pos="2320">
          <p15:clr>
            <a:srgbClr val="FBAE40"/>
          </p15:clr>
        </p15:guide>
        <p15:guide id="5" orient="horz" pos="3135">
          <p15:clr>
            <a:srgbClr val="FBAE40"/>
          </p15:clr>
        </p15:guide>
        <p15:guide id="6" orient="horz" pos="3259">
          <p15:clr>
            <a:srgbClr val="FBAE40"/>
          </p15:clr>
        </p15:guide>
        <p15:guide id="7" orient="horz" pos="4074">
          <p15:clr>
            <a:srgbClr val="FBAE40"/>
          </p15:clr>
        </p15:guide>
        <p15:guide id="8" orient="horz" pos="4176">
          <p15:clr>
            <a:srgbClr val="FBAE40"/>
          </p15:clr>
        </p15:guide>
        <p15:guide id="9" orient="horz" pos="4989">
          <p15:clr>
            <a:srgbClr val="FBAE40"/>
          </p15:clr>
        </p15:guide>
        <p15:guide id="10" orient="horz" pos="5105">
          <p15:clr>
            <a:srgbClr val="FBAE40"/>
          </p15:clr>
        </p15:guide>
        <p15:guide id="11" orient="horz" pos="5920">
          <p15:clr>
            <a:srgbClr val="FBAE40"/>
          </p15:clr>
        </p15:guide>
        <p15:guide id="12" orient="horz" pos="6037">
          <p15:clr>
            <a:srgbClr val="FBAE40"/>
          </p15:clr>
        </p15:guide>
        <p15:guide id="13" pos="3412">
          <p15:clr>
            <a:srgbClr val="FBAE40"/>
          </p15:clr>
        </p15:guide>
        <p15:guide id="14" pos="354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8871"/>
            <a:ext cx="5296873" cy="449014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8872"/>
            <a:ext cx="2478905" cy="4490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2C1FC102-104E-4EB5-9FB8-BA4C82C426E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9278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283F46BC-7187-48FC-8F93-5CC840FEADAD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4980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4980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9B2B14CF-F9D7-488F-8020-E8911FEA92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77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E95F1F34-31C9-4FD8-B030-E76034100C83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7016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7017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BEF6CA03-737F-4C98-B988-92C0057C53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1195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6EA1244-500C-4837-8141-B092A1B6E9E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4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1AE4DD15-6F9F-4B14-B54D-53275EB3E3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4625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BA3C9699-33F2-4F43-A1DB-D5D4775ECF6B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4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03AE87E6-38D3-4901-8740-DD9BB8AE54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10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A02C4AA5-0C0F-4254-ABCA-E3AEC9A26F05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1428408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1428408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2382079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2382079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2629" y="3317277"/>
            <a:ext cx="809557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3317277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475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475"/>
            <a:ext cx="2478905" cy="45028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FFF57540-3B72-4505-AE11-0EE4388A33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2670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1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4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5000">
          <p15:clr>
            <a:srgbClr val="FBAE40"/>
          </p15:clr>
        </p15:guide>
        <p15:guide id="9" orient="horz" pos="5114">
          <p15:clr>
            <a:srgbClr val="FBAE40"/>
          </p15:clr>
        </p15:guide>
        <p15:guide id="10" orient="horz" pos="5567">
          <p15:clr>
            <a:srgbClr val="FBAE40"/>
          </p15:clr>
        </p15:guide>
        <p15:guide id="11" orient="horz" pos="5664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  <p15:guide id="14" orient="horz" pos="1394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843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842"/>
            <a:ext cx="2478905" cy="4502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AC3E503C-D407-4FF1-892F-E1D2B75AC1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1326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5245504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57165FC-4A3E-4D33-A874-6E5B11A98074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0281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2"/>
            <a:ext cx="2478905" cy="4502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F3F7FAE0-0109-4016-891A-DDC662B6C9B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576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400095BD-238F-4353-8A3F-BF34FCDD6784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992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992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7C3B62B4-3C20-4A81-AD98-F0833931D40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9518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2C1DA8F5-07E0-43EA-ACA6-F62A1E06B65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E2A87039-A9FF-41E6-ACD7-34C644E3DA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096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C75301F0-4E0C-43B4-85C2-0D2B0BC00034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6370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371"/>
            <a:ext cx="2478905" cy="44885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FF815EF0-8DD0-4546-BA8F-20293446F48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2578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4A2D315-96CD-4F63-B983-DAED8E2965BF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1427043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3322339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3322339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3322339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xmlns="" id="{0FCCB1BF-F4AA-4C37-B6CD-BCD175FFE9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1162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75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5005">
          <p15:clr>
            <a:srgbClr val="FBAE40"/>
          </p15:clr>
        </p15:guide>
        <p15:guide id="8" orient="horz" pos="5107">
          <p15:clr>
            <a:srgbClr val="FBAE40"/>
          </p15:clr>
        </p15:guide>
        <p15:guide id="9" orient="horz" pos="5920">
          <p15:clr>
            <a:srgbClr val="FBAE40"/>
          </p15:clr>
        </p15:guide>
        <p15:guide id="10" orient="horz" pos="603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1512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151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151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724"/>
            <a:ext cx="5289999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724"/>
            <a:ext cx="2479934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4676"/>
            <a:ext cx="5296873" cy="443208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4675"/>
            <a:ext cx="2478905" cy="44580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724"/>
            <a:ext cx="2486020" cy="846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351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28EB959-B3AB-4052-8E35-E093F16EA46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0042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004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0042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72542"/>
            <a:ext cx="5296873" cy="434925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6946"/>
            <a:ext cx="2478905" cy="4435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195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BBEB793-95B3-44E2-843D-8AE2A1C3AE2E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55815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41964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70004"/>
            <a:ext cx="2478905" cy="4374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762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BA20F2A-89E9-460E-A57E-4E89B50E1722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60081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6008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6008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5503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5504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35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8B25D0EF-EBAB-48F8-8DB6-22451543F2B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75266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75266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75266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07251"/>
            <a:ext cx="528999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07251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53995"/>
            <a:ext cx="5296873" cy="453472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3996"/>
            <a:ext cx="2478905" cy="44885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7932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48FFF4D6-02AF-4EB3-9320-1AFBABD4B2D2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9501" y="842833"/>
            <a:ext cx="5289999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499" y="1429427"/>
            <a:ext cx="5283426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52176" y="1429427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4056" y="1429427"/>
            <a:ext cx="245922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49497" y="2355815"/>
            <a:ext cx="5281679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2F2E44A7-5F2B-4835-82A9-BA9FDDA4A54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52176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xmlns="" id="{E7CF3810-63C4-46B0-8498-D53C1368A12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9063351" y="2355815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xmlns="" id="{5826F61F-93F1-4E35-97C1-140A5EDBD42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2629" y="3321106"/>
            <a:ext cx="5289999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xmlns="" id="{6BA3D413-FECF-427E-9FD4-3EFCA192967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2176" y="3321106"/>
            <a:ext cx="2479934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6" y="4267025"/>
            <a:ext cx="5296873" cy="443459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67025"/>
            <a:ext cx="2478905" cy="438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8F98EC9-4CA8-4E48-BE36-D241039AA8FA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9060792" y="3321106"/>
            <a:ext cx="2486020" cy="8466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414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2">
          <p15:clr>
            <a:srgbClr val="FBAE40"/>
          </p15:clr>
        </p15:guide>
        <p15:guide id="2" orient="horz" pos="1400">
          <p15:clr>
            <a:srgbClr val="FBAE40"/>
          </p15:clr>
        </p15:guide>
        <p15:guide id="3" orient="horz" pos="3131">
          <p15:clr>
            <a:srgbClr val="FBAE40"/>
          </p15:clr>
        </p15:guide>
        <p15:guide id="4" orient="horz" pos="3259">
          <p15:clr>
            <a:srgbClr val="FBAE40"/>
          </p15:clr>
        </p15:guide>
        <p15:guide id="5" orient="horz" pos="4093">
          <p15:clr>
            <a:srgbClr val="FBAE40"/>
          </p15:clr>
        </p15:guide>
        <p15:guide id="6" orient="horz" pos="4189">
          <p15:clr>
            <a:srgbClr val="FBAE40"/>
          </p15:clr>
        </p15:guide>
        <p15:guide id="7" orient="horz" pos="4626">
          <p15:clr>
            <a:srgbClr val="FBAE40"/>
          </p15:clr>
        </p15:guide>
        <p15:guide id="8" orient="horz" pos="4745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5073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507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6B768AF4-68E6-4C73-8A7A-EBE41CB391E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1558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6C48195E-B2C1-4EE1-A3A0-CB09BE96359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1927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1926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38E85F57-147A-47B6-89AF-060D09F8E78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65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632CB1A6-9B02-48DB-B225-2AE0B2047A98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3833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3833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CE9CEC7F-21BF-43A4-915E-887A328A0B0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009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214EEF6-7ACE-4FA2-ABC6-BFEBC84EE945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4642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4642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5241FD66-98E6-4A15-908A-BEC02BCF276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0135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B0AA4B9-94A2-4D4D-97EC-FBDAE8E70966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1118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1118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xmlns="" id="{8AF05853-550B-409D-8B65-56675A08854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4036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EB26EC9F-40DA-4745-A580-6E0C552D9CD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2629" y="842833"/>
            <a:ext cx="5296873" cy="461826"/>
          </a:xfrm>
        </p:spPr>
        <p:txBody>
          <a:bodyPr/>
          <a:lstStyle>
            <a:lvl1pPr>
              <a:defRPr sz="898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FD1D2BE-9A0C-4FE5-AE9F-59E873B806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2176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31E4A7F0-8529-4B83-A125-BED7A2CAB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3351" y="842833"/>
            <a:ext cx="2479147" cy="461826"/>
          </a:xfrm>
        </p:spPr>
        <p:txBody>
          <a:bodyPr/>
          <a:lstStyle>
            <a:lvl1pPr>
              <a:defRPr sz="57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8704C73C-7A6E-4A88-917B-F95C0A440D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629" y="1427043"/>
            <a:ext cx="10900657" cy="822051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xmlns="" id="{A49CCF19-3FFB-451A-BA40-7BC8D1CD0B4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267" y="2364550"/>
            <a:ext cx="8081055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xmlns="" id="{3A641091-5F22-4D49-AAFD-050A1478DA2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063351" y="2364550"/>
            <a:ext cx="2479934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xmlns="" id="{61AEEF62-5410-46BE-B868-4AFF4BEDA0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50267" y="3318222"/>
            <a:ext cx="8087932" cy="8266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xmlns="" id="{9E0648F6-2C2D-49FC-ADF1-33E660F88A0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063351" y="3318222"/>
            <a:ext cx="2479934" cy="8266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xmlns="" id="{8E65787D-A003-4799-8BF3-F80690A81D7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42627" y="4252266"/>
            <a:ext cx="5296873" cy="448853"/>
          </a:xfrm>
        </p:spPr>
        <p:txBody>
          <a:bodyPr/>
          <a:lstStyle>
            <a:lvl1pPr>
              <a:defRPr sz="64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xmlns="" id="{E58EAE19-0CCE-4051-A4A2-172D48A7F9D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63351" y="4252265"/>
            <a:ext cx="2478905" cy="4534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7686" y="256602"/>
            <a:ext cx="5271815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2865DEAD-19D8-4922-913E-D1A3890C2D53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xmlns="" id="{9CBB560E-047F-4EFA-A639-13F287A631C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9500" y="4837205"/>
            <a:ext cx="10893785" cy="1763174"/>
          </a:xfrm>
        </p:spPr>
        <p:txBody>
          <a:bodyPr numCol="2" spcCol="180000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9204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80">
          <p15:clr>
            <a:srgbClr val="FBAE40"/>
          </p15:clr>
        </p15:guide>
        <p15:guide id="2" orient="horz" pos="2210">
          <p15:clr>
            <a:srgbClr val="FBAE40"/>
          </p15:clr>
        </p15:guide>
        <p15:guide id="3" orient="horz" pos="2324">
          <p15:clr>
            <a:srgbClr val="FBAE40"/>
          </p15:clr>
        </p15:guide>
        <p15:guide id="4" orient="horz" pos="3131">
          <p15:clr>
            <a:srgbClr val="FBAE40"/>
          </p15:clr>
        </p15:guide>
        <p15:guide id="5" orient="horz" pos="3259">
          <p15:clr>
            <a:srgbClr val="FBAE40"/>
          </p15:clr>
        </p15:guide>
        <p15:guide id="6" orient="horz" pos="4072">
          <p15:clr>
            <a:srgbClr val="FBAE40"/>
          </p15:clr>
        </p15:guide>
        <p15:guide id="7" orient="horz" pos="4176">
          <p15:clr>
            <a:srgbClr val="FBAE40"/>
          </p15:clr>
        </p15:guide>
        <p15:guide id="8" orient="horz" pos="4990">
          <p15:clr>
            <a:srgbClr val="FBAE40"/>
          </p15:clr>
        </p15:guide>
        <p15:guide id="9" orient="horz" pos="5106">
          <p15:clr>
            <a:srgbClr val="FBAE40"/>
          </p15:clr>
        </p15:guide>
        <p15:guide id="10" orient="horz" pos="5920">
          <p15:clr>
            <a:srgbClr val="FBAE40"/>
          </p15:clr>
        </p15:guide>
        <p15:guide id="11" orient="horz" pos="6037">
          <p15:clr>
            <a:srgbClr val="FBAE40"/>
          </p15:clr>
        </p15:guide>
        <p15:guide id="12" pos="3413">
          <p15:clr>
            <a:srgbClr val="FBAE40"/>
          </p15:clr>
        </p15:guide>
        <p15:guide id="13" pos="353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2594" y="718065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0" name="Footer Placeholder 7">
            <a:extLst>
              <a:ext uri="{FF2B5EF4-FFF2-40B4-BE49-F238E27FC236}">
                <a16:creationId xmlns:a16="http://schemas.microsoft.com/office/drawing/2014/main" xmlns="" id="{9373A990-3859-4655-A85D-78FEB2383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D0FE5DD5-B43D-4F5B-A2AA-B3D65BAD70CD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2934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E3B72386-0F26-49AD-AB1D-ED480CB82E49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8" name="Footer Placeholder 7">
            <a:extLst>
              <a:ext uri="{FF2B5EF4-FFF2-40B4-BE49-F238E27FC236}">
                <a16:creationId xmlns:a16="http://schemas.microsoft.com/office/drawing/2014/main" xmlns="" id="{E912FF3C-2660-46E5-944E-6AEF0A085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xmlns="" id="{928ECBD9-DF04-4B44-9E29-223339C1B88C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36569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B7825CC-20F0-42B3-941C-07B8704DDD4A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50" name="Footer Placeholder 7">
            <a:extLst>
              <a:ext uri="{FF2B5EF4-FFF2-40B4-BE49-F238E27FC236}">
                <a16:creationId xmlns:a16="http://schemas.microsoft.com/office/drawing/2014/main" xmlns="" id="{D5C3D42E-7C81-4116-9AF1-7671078EE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xmlns="" id="{7B1E8F94-3C95-4AEC-8441-9D3E31CAC364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309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910165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971A6ED3-3419-4171-9F26-3D283491D0BA}"/>
              </a:ext>
            </a:extLst>
          </p:cNvPr>
          <p:cNvSpPr/>
          <p:nvPr userDrawn="1"/>
        </p:nvSpPr>
        <p:spPr>
          <a:xfrm>
            <a:off x="1" y="2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xmlns="" id="{9E4E57DC-61EF-417B-A2F4-490342A0C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xmlns="" id="{767CF500-0E28-44D2-A83E-562C4FB83C44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77461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6B1D9604-C8CD-47CF-AD1C-9D4C7E74D60A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xmlns="" id="{61D575C7-05CF-42B9-AD3F-7342CA979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xmlns="" id="{9AA01CCC-71E4-4904-861E-96880673514B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0930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AB6739C-B06A-45CF-A821-79726E10B388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A9B686D-8ABA-4F51-AE9C-499FC6521E37}"/>
              </a:ext>
            </a:extLst>
          </p:cNvPr>
          <p:cNvSpPr/>
          <p:nvPr userDrawn="1"/>
        </p:nvSpPr>
        <p:spPr>
          <a:xfrm>
            <a:off x="325155" y="719084"/>
            <a:ext cx="11541692" cy="6010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183" tIns="23091" rIns="46183" bIns="23091" rtlCol="0" anchor="ctr"/>
          <a:lstStyle/>
          <a:p>
            <a:pPr marL="0" marR="0" lvl="0" indent="0" algn="ctr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83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8" name="Date Placeholder 6">
            <a:extLst>
              <a:ext uri="{FF2B5EF4-FFF2-40B4-BE49-F238E27FC236}">
                <a16:creationId xmlns:a16="http://schemas.microsoft.com/office/drawing/2014/main" xmlns="" id="{4187BDC4-86CB-440A-B2BC-9229DDF63A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endParaRPr lang="en-GB" dirty="0"/>
          </a:p>
        </p:txBody>
      </p:sp>
      <p:sp>
        <p:nvSpPr>
          <p:cNvPr id="39" name="Slide Number Placeholder 8">
            <a:extLst>
              <a:ext uri="{FF2B5EF4-FFF2-40B4-BE49-F238E27FC236}">
                <a16:creationId xmlns:a16="http://schemas.microsoft.com/office/drawing/2014/main" xmlns="" id="{B2AAD739-671B-4BC1-9EF7-EE7500B85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27394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9" name="Footer Placeholder 7">
            <a:extLst>
              <a:ext uri="{FF2B5EF4-FFF2-40B4-BE49-F238E27FC236}">
                <a16:creationId xmlns:a16="http://schemas.microsoft.com/office/drawing/2014/main" xmlns="" id="{9A4CE43A-0141-4EA3-B1FB-A05761F38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42627" y="256602"/>
            <a:ext cx="5296874" cy="410737"/>
          </a:xfrm>
        </p:spPr>
        <p:txBody>
          <a:bodyPr/>
          <a:lstStyle>
            <a:lvl1pPr algn="l">
              <a:defRPr sz="770"/>
            </a:lvl1pPr>
          </a:lstStyle>
          <a:p>
            <a:endParaRPr lang="en-GB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xmlns="" id="{72ADB54F-4C2A-4D7B-A478-DFB6A2877D6B}"/>
              </a:ext>
            </a:extLst>
          </p:cNvPr>
          <p:cNvSpPr/>
          <p:nvPr userDrawn="1"/>
        </p:nvSpPr>
        <p:spPr>
          <a:xfrm>
            <a:off x="10718122" y="256602"/>
            <a:ext cx="825877" cy="23415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5864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9462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302554" y="2130429"/>
            <a:ext cx="6439505" cy="1470025"/>
          </a:xfrm>
        </p:spPr>
        <p:txBody>
          <a:bodyPr/>
          <a:lstStyle>
            <a:lvl1pPr algn="r">
              <a:defRPr sz="4263" smtClean="0">
                <a:ea typeface="ＭＳ Ｐゴシック" pitchFamily="-106" charset="-128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437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341271" y="3886231"/>
            <a:ext cx="6434639" cy="1752600"/>
          </a:xfrm>
        </p:spPr>
        <p:txBody>
          <a:bodyPr/>
          <a:lstStyle>
            <a:lvl1pPr marL="0" indent="0" algn="r">
              <a:buFontTx/>
              <a:buNone/>
              <a:defRPr smtClean="0">
                <a:ea typeface="ＭＳ Ｐゴシック" pitchFamily="-106" charset="-128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61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04592" y="1763763"/>
            <a:ext cx="7235917" cy="1522797"/>
          </a:xfrm>
        </p:spPr>
        <p:txBody>
          <a:bodyPr anchor="b"/>
          <a:lstStyle>
            <a:lvl1pPr algn="l">
              <a:lnSpc>
                <a:spcPct val="85000"/>
              </a:lnSpc>
              <a:defRPr sz="3197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602485" y="3366071"/>
            <a:ext cx="7237795" cy="166019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l">
              <a:buFontTx/>
              <a:buNone/>
              <a:defRPr sz="1865"/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0E7A6806-46ED-4E82-9B19-5A8701E476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13439226"/>
      </p:ext>
    </p:extLst>
  </p:cSld>
  <p:clrMapOvr>
    <a:masterClrMapping/>
  </p:clrMapOvr>
  <p:transition spd="slow">
    <p:wip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4648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6616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794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514567"/>
            <a:ext cx="11347200" cy="17152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>
              <a:buFontTx/>
              <a:buNone/>
              <a:defRPr sz="1465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408A715F-FB62-479F-9BF9-1E2CDAF25A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836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32"/>
            <a:ext cx="11347200" cy="2663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0" tIns="0" rIns="0" bIns="0" anchor="ctr" anchorCtr="0"/>
          <a:lstStyle>
            <a:lvl1pPr marL="0" indent="0" algn="l">
              <a:buFontTx/>
              <a:buNone/>
              <a:defRPr sz="1465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197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51"/>
            <a:ext cx="11347200" cy="3941052"/>
          </a:xfrm>
          <a:prstGeom prst="rect">
            <a:avLst/>
          </a:prstGeom>
        </p:spPr>
        <p:txBody>
          <a:bodyPr lIns="0" tIns="0" rIns="0" bIns="0"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EBD329CA-FB7F-4C7E-B413-784353322B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2573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327126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102" y="687249"/>
            <a:ext cx="8923332" cy="5006607"/>
          </a:xfrm>
          <a:prstGeom prst="rect">
            <a:avLst/>
          </a:prstGeom>
        </p:spPr>
        <p:txBody>
          <a:bodyPr tIns="57599" anchor="t"/>
          <a:lstStyle>
            <a:lvl1pPr>
              <a:lnSpc>
                <a:spcPct val="90000"/>
              </a:lnSpc>
              <a:defRPr sz="7993" spc="-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DF9A397C-CDB0-4028-9029-480CBE7F6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9913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54624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EEA18F9B-7B27-4050-9B78-B356333C0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4746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53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27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096F561A-61A1-4921-9CC1-9677D362A6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4854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9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51"/>
            <a:ext cx="3497667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4E806115-BD0B-45BB-A0D4-4FD38DF4AF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977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422408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3362457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6302523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9251973" y="1749651"/>
            <a:ext cx="2517649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060B6413-5E5C-4962-A709-F5D3123A02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5772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307200" y="1749653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422401" y="1749653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6306016" y="3831330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421217" y="3831330"/>
            <a:ext cx="54624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137EF225-77AD-4C47-9270-DAE3D66AEC2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5947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422401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4347169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8271933" y="1749653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422401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4347169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8271933" y="3831330"/>
            <a:ext cx="3497667" cy="18625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5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599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65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19C50808-7710-478D-9C7D-461A7C1DFD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3714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3C993EE0-288F-4DA1-9D62-3E186A5E24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5362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20"/>
            <a:ext cx="12192000" cy="3531909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422400" y="3831327"/>
            <a:ext cx="11347200" cy="186252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55DB77C2-5635-41FF-8EEF-0A5F7E36ACB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95735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749633"/>
            <a:ext cx="12192000" cy="3941051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42FA9A6-26AD-44DD-AA90-DB70862ED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2046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5998940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6088520" cy="6858000"/>
          </a:xfrm>
          <a:prstGeom prst="rect">
            <a:avLst/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97932" y="687229"/>
            <a:ext cx="5271673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497932" y="1749651"/>
            <a:ext cx="5271673" cy="39410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399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2131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865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599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65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928" y="138544"/>
            <a:ext cx="2933165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A07B0F50-C4D3-4D82-B45F-3C2E112441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9721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2400" y="1749633"/>
            <a:ext cx="11347200" cy="3941051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0906B41C-32C7-4B0B-AD2B-627AE70DFF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422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08548" y="1749633"/>
            <a:ext cx="5458357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422401" y="1749651"/>
            <a:ext cx="54624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AF422059-6901-41DE-A02F-D6A5E8166E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8887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425098" y="1749651"/>
            <a:ext cx="7419508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8269706" y="1749633"/>
            <a:ext cx="3499903" cy="3941051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F1E48AFD-11C4-4FB5-90EE-C9A23F28FF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3822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425098" y="1749651"/>
            <a:ext cx="8411849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95633C67-5B50-4AED-BA67-E9934BBE8F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387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425104" y="1749651"/>
            <a:ext cx="5466201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51303E9E-DBF3-4F76-BFFF-C91D7AA6E2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4671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3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336244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22400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E3430997-53FE-4A1A-A846-5A08802D04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3249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425099" y="1749651"/>
            <a:ext cx="3898204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4770833" y="1746591"/>
            <a:ext cx="7011760" cy="3944113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16/9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D9076596-F456-4BE4-9005-7D871C52D0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3603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6522052" y="1746591"/>
            <a:ext cx="5260541" cy="3944113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4/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425096" y="1749651"/>
            <a:ext cx="5668789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3197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7BA013E-F680-4525-9075-C9392DA73F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7804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22"/>
            <a:ext cx="12192000" cy="6857999"/>
          </a:xfrm>
          <a:prstGeom prst="rect">
            <a:avLst/>
          </a:prstGeo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2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media size 16:9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FFFFFF"/>
                </a:solidFill>
              </a:rPr>
              <a:t>ACTION IO - Local publications briefing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29 Jan 2019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4E040E5F-17E7-4BD9-A89F-45152FDBA83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27018570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22400" y="412075"/>
            <a:ext cx="11347200" cy="5278631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5911" tIns="95911" rIns="95911" bIns="95911" numCol="1" rtlCol="0" anchor="ctr" anchorCtr="0" compatLnSpc="1">
            <a:prstTxWarp prst="textNoShape">
              <a:avLst/>
            </a:prstTxWarp>
          </a:bodyPr>
          <a:lstStyle/>
          <a:p>
            <a:pPr algn="ctr" defTabSz="1624014">
              <a:spcBef>
                <a:spcPct val="50000"/>
              </a:spcBef>
            </a:pPr>
            <a:endParaRPr lang="en-GB" sz="3197" dirty="0">
              <a:solidFill>
                <a:srgbClr val="001965"/>
              </a:solidFill>
              <a:latin typeface="Verdana"/>
              <a:cs typeface="+mn-cs"/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425097" y="769746"/>
            <a:ext cx="11357499" cy="521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sz="3197" dirty="0"/>
              <a:t>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665080" y="3366050"/>
            <a:ext cx="4844499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algn="ctr"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25098" y="1749632"/>
            <a:ext cx="11357500" cy="49219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defTabSz="1218012" fontAlgn="auto">
              <a:spcBef>
                <a:spcPts val="0"/>
              </a:spcBef>
              <a:spcAft>
                <a:spcPts val="0"/>
              </a:spcAft>
            </a:pPr>
            <a:endParaRPr lang="en-GB" sz="2399" b="0" dirty="0">
              <a:solidFill>
                <a:srgbClr val="001965"/>
              </a:solidFill>
              <a:latin typeface="Verdan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422406" y="1749651"/>
            <a:ext cx="11347201" cy="3941052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59482" indent="-359482" defTabSz="1624014">
              <a:spcBef>
                <a:spcPct val="50000"/>
              </a:spcBef>
              <a:buClr>
                <a:srgbClr val="009FDA"/>
              </a:buClr>
              <a:buFont typeface="Arial" pitchFamily="34" charset="0"/>
              <a:buChar char="•"/>
            </a:pPr>
            <a:r>
              <a:rPr lang="en-GB" sz="2399" b="0" dirty="0">
                <a:solidFill>
                  <a:srgbClr val="001965"/>
                </a:solidFill>
                <a:latin typeface="Verdana"/>
                <a:cs typeface="+mn-cs"/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422401" y="1285948"/>
            <a:ext cx="6096011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Keep all titles, </a:t>
            </a:r>
            <a:r>
              <a:rPr lang="en-GB" sz="1599" b="0" dirty="0" err="1">
                <a:solidFill>
                  <a:srgbClr val="E64A0E"/>
                </a:solidFill>
                <a:latin typeface="Verdana"/>
                <a:cs typeface="+mn-cs"/>
              </a:rPr>
              <a:t>trompets</a:t>
            </a:r>
            <a:r>
              <a:rPr lang="en-GB" sz="1599" b="0" dirty="0">
                <a:solidFill>
                  <a:srgbClr val="E64A0E"/>
                </a:solidFill>
                <a:latin typeface="Verdana"/>
                <a:cs typeface="+mn-cs"/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559752" y="439676"/>
            <a:ext cx="5212253" cy="369089"/>
          </a:xfrm>
          <a:prstGeom prst="rect">
            <a:avLst/>
          </a:prstGeom>
          <a:noFill/>
        </p:spPr>
        <p:txBody>
          <a:bodyPr wrap="square" lIns="121805" tIns="60903" rIns="121805" bIns="60903" rtlCol="0">
            <a:spAutoFit/>
          </a:bodyPr>
          <a:lstStyle/>
          <a:p>
            <a:pPr algn="r" defTabSz="1218012" fontAlgn="auto">
              <a:spcBef>
                <a:spcPts val="0"/>
              </a:spcBef>
              <a:spcAft>
                <a:spcPts val="0"/>
              </a:spcAft>
            </a:pPr>
            <a:r>
              <a:rPr lang="en-GB" sz="1599" b="0">
                <a:solidFill>
                  <a:srgbClr val="E64A0E"/>
                </a:solidFill>
                <a:latin typeface="Verdana"/>
                <a:cs typeface="+mn-cs"/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5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</a:rPr>
              <a:t>ACTION IO - Local publications briefing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752" eaLnBrk="1" hangingPunct="1">
              <a:spcBef>
                <a:spcPct val="0"/>
              </a:spcBef>
              <a:defRPr sz="799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29 Jan 2019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69376" eaLnBrk="1" hangingPunct="1">
              <a:defRPr sz="799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726959C9-25E9-4B6D-80F5-3FD6FB9708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2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4419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563941-CE9C-4BBF-BB4C-C4FCB7C79F24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24/02/2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2BECCC-7FA3-4EA5-B875-825EB84B07D4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85473"/>
      </p:ext>
    </p:extLst>
  </p:cSld>
  <p:clrMapOvr>
    <a:masterClrMapping/>
  </p:clrMapOvr>
  <p:transition>
    <p:strips dir="rd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96281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xmlns="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941233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xmlns="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974329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229591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em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oup 199">
            <a:extLst>
              <a:ext uri="{FF2B5EF4-FFF2-40B4-BE49-F238E27FC236}">
                <a16:creationId xmlns:a16="http://schemas.microsoft.com/office/drawing/2014/main" xmlns="" id="{205CDF6F-2ADC-48D6-AC02-A4CA37C721CF}"/>
              </a:ext>
            </a:extLst>
          </p:cNvPr>
          <p:cNvGrpSpPr/>
          <p:nvPr userDrawn="1"/>
        </p:nvGrpSpPr>
        <p:grpSpPr>
          <a:xfrm>
            <a:off x="-12697" y="-2481"/>
            <a:ext cx="12204697" cy="5603480"/>
            <a:chOff x="-9523" y="-1861"/>
            <a:chExt cx="9153523" cy="4202610"/>
          </a:xfrm>
        </p:grpSpPr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xmlns="" id="{BE5A0D24-1E00-4A53-A361-E06BF4A5A2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42" t="25704" r="14433" b="22875"/>
            <a:stretch/>
          </p:blipFill>
          <p:spPr>
            <a:xfrm>
              <a:off x="-9523" y="-1861"/>
              <a:ext cx="9153523" cy="4178075"/>
            </a:xfrm>
            <a:prstGeom prst="rect">
              <a:avLst/>
            </a:prstGeom>
          </p:spPr>
        </p:pic>
        <p:pic>
          <p:nvPicPr>
            <p:cNvPr id="202" name="Picture 201">
              <a:extLst>
                <a:ext uri="{FF2B5EF4-FFF2-40B4-BE49-F238E27FC236}">
                  <a16:creationId xmlns:a16="http://schemas.microsoft.com/office/drawing/2014/main" xmlns="" id="{C2B8021B-8BCD-4E2A-96B3-2DE01FFA0B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8862" y="841628"/>
              <a:ext cx="2807879" cy="2320799"/>
            </a:xfrm>
            <a:prstGeom prst="rect">
              <a:avLst/>
            </a:prstGeom>
            <a:effectLst>
              <a:glow rad="228600">
                <a:srgbClr val="FFFFFF"/>
              </a:glow>
            </a:effectLst>
          </p:spPr>
        </p:pic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xmlns="" id="{66E221BC-12BA-44DC-8968-67717CEDA60A}"/>
                </a:ext>
              </a:extLst>
            </p:cNvPr>
            <p:cNvGrpSpPr/>
            <p:nvPr userDrawn="1"/>
          </p:nvGrpSpPr>
          <p:grpSpPr>
            <a:xfrm>
              <a:off x="4519433" y="3221494"/>
              <a:ext cx="721220" cy="555175"/>
              <a:chOff x="5343975" y="4058097"/>
              <a:chExt cx="1102766" cy="848878"/>
            </a:xfrm>
            <a:solidFill>
              <a:srgbClr val="FFFFFF"/>
            </a:solidFill>
          </p:grpSpPr>
          <p:sp>
            <p:nvSpPr>
              <p:cNvPr id="358" name="Freeform 179">
                <a:extLst>
                  <a:ext uri="{FF2B5EF4-FFF2-40B4-BE49-F238E27FC236}">
                    <a16:creationId xmlns:a16="http://schemas.microsoft.com/office/drawing/2014/main" xmlns="" id="{0DD8BCE8-6D0C-4AA2-8CCE-B8848EF69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9" name="Freeform 180">
                <a:extLst>
                  <a:ext uri="{FF2B5EF4-FFF2-40B4-BE49-F238E27FC236}">
                    <a16:creationId xmlns:a16="http://schemas.microsoft.com/office/drawing/2014/main" xmlns="" id="{28563B2E-E192-467E-A5F0-C4E72EEE3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0" name="Freeform 181">
                <a:extLst>
                  <a:ext uri="{FF2B5EF4-FFF2-40B4-BE49-F238E27FC236}">
                    <a16:creationId xmlns:a16="http://schemas.microsoft.com/office/drawing/2014/main" xmlns="" id="{037E6DCF-651C-4E3A-86C1-0D06E8CA4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1" name="Freeform 182">
                <a:extLst>
                  <a:ext uri="{FF2B5EF4-FFF2-40B4-BE49-F238E27FC236}">
                    <a16:creationId xmlns:a16="http://schemas.microsoft.com/office/drawing/2014/main" xmlns="" id="{7CE49889-797A-49DB-8C2B-71425B593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2" name="Freeform 183">
                <a:extLst>
                  <a:ext uri="{FF2B5EF4-FFF2-40B4-BE49-F238E27FC236}">
                    <a16:creationId xmlns:a16="http://schemas.microsoft.com/office/drawing/2014/main" xmlns="" id="{260B3637-984A-4EA3-A36E-6AF44ECF9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3" name="Freeform 184">
                <a:extLst>
                  <a:ext uri="{FF2B5EF4-FFF2-40B4-BE49-F238E27FC236}">
                    <a16:creationId xmlns:a16="http://schemas.microsoft.com/office/drawing/2014/main" xmlns="" id="{6DC13DBA-22BF-43B8-95D8-33E4BA2C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4" name="Freeform 185">
                <a:extLst>
                  <a:ext uri="{FF2B5EF4-FFF2-40B4-BE49-F238E27FC236}">
                    <a16:creationId xmlns:a16="http://schemas.microsoft.com/office/drawing/2014/main" xmlns="" id="{46EC7B5F-AD38-4FF9-A502-E2EE5B9CB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5" name="Freeform 186">
                <a:extLst>
                  <a:ext uri="{FF2B5EF4-FFF2-40B4-BE49-F238E27FC236}">
                    <a16:creationId xmlns:a16="http://schemas.microsoft.com/office/drawing/2014/main" xmlns="" id="{66AC351E-67AA-4241-BA8A-81B35184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6" name="Freeform 187">
                <a:extLst>
                  <a:ext uri="{FF2B5EF4-FFF2-40B4-BE49-F238E27FC236}">
                    <a16:creationId xmlns:a16="http://schemas.microsoft.com/office/drawing/2014/main" xmlns="" id="{07011B3A-9CAE-4C8F-836B-7976EC427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7" name="Freeform 188">
                <a:extLst>
                  <a:ext uri="{FF2B5EF4-FFF2-40B4-BE49-F238E27FC236}">
                    <a16:creationId xmlns:a16="http://schemas.microsoft.com/office/drawing/2014/main" xmlns="" id="{C48C343C-D0E8-4542-BF25-A60A5531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8" name="Freeform 189">
                <a:extLst>
                  <a:ext uri="{FF2B5EF4-FFF2-40B4-BE49-F238E27FC236}">
                    <a16:creationId xmlns:a16="http://schemas.microsoft.com/office/drawing/2014/main" xmlns="" id="{3B3A52E4-ABAB-421E-A786-2BE375DE5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9" name="Freeform 190">
                <a:extLst>
                  <a:ext uri="{FF2B5EF4-FFF2-40B4-BE49-F238E27FC236}">
                    <a16:creationId xmlns:a16="http://schemas.microsoft.com/office/drawing/2014/main" xmlns="" id="{413CAB41-D788-424C-9E7A-53B2DB86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0" name="Freeform 191">
                <a:extLst>
                  <a:ext uri="{FF2B5EF4-FFF2-40B4-BE49-F238E27FC236}">
                    <a16:creationId xmlns:a16="http://schemas.microsoft.com/office/drawing/2014/main" xmlns="" id="{3C20290A-83EF-44AC-9356-BB2D1A3F1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1" name="Freeform 192">
                <a:extLst>
                  <a:ext uri="{FF2B5EF4-FFF2-40B4-BE49-F238E27FC236}">
                    <a16:creationId xmlns:a16="http://schemas.microsoft.com/office/drawing/2014/main" xmlns="" id="{B79A57E3-2AFC-4AA1-A133-DD2C03BCD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2" name="Freeform 193">
                <a:extLst>
                  <a:ext uri="{FF2B5EF4-FFF2-40B4-BE49-F238E27FC236}">
                    <a16:creationId xmlns:a16="http://schemas.microsoft.com/office/drawing/2014/main" xmlns="" id="{DE819656-3E6A-4E0F-B665-562DA731C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3" name="Freeform 194">
                <a:extLst>
                  <a:ext uri="{FF2B5EF4-FFF2-40B4-BE49-F238E27FC236}">
                    <a16:creationId xmlns:a16="http://schemas.microsoft.com/office/drawing/2014/main" xmlns="" id="{E0D08782-5006-41D5-BC1B-BD0168DCE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4" name="Freeform 195">
                <a:extLst>
                  <a:ext uri="{FF2B5EF4-FFF2-40B4-BE49-F238E27FC236}">
                    <a16:creationId xmlns:a16="http://schemas.microsoft.com/office/drawing/2014/main" xmlns="" id="{275CF134-8F74-4F96-98AF-139509FA2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5" name="Freeform 196">
                <a:extLst>
                  <a:ext uri="{FF2B5EF4-FFF2-40B4-BE49-F238E27FC236}">
                    <a16:creationId xmlns:a16="http://schemas.microsoft.com/office/drawing/2014/main" xmlns="" id="{147B8036-0219-49D1-9D2B-796ABFC67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6" name="Freeform 197">
                <a:extLst>
                  <a:ext uri="{FF2B5EF4-FFF2-40B4-BE49-F238E27FC236}">
                    <a16:creationId xmlns:a16="http://schemas.microsoft.com/office/drawing/2014/main" xmlns="" id="{19C65CA1-779C-4783-9DA8-B5DD27F26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7" name="Freeform 198">
                <a:extLst>
                  <a:ext uri="{FF2B5EF4-FFF2-40B4-BE49-F238E27FC236}">
                    <a16:creationId xmlns:a16="http://schemas.microsoft.com/office/drawing/2014/main" xmlns="" id="{72312AE6-8B12-441A-9968-8459502F7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8" name="Freeform 199">
                <a:extLst>
                  <a:ext uri="{FF2B5EF4-FFF2-40B4-BE49-F238E27FC236}">
                    <a16:creationId xmlns:a16="http://schemas.microsoft.com/office/drawing/2014/main" xmlns="" id="{B62658C9-D981-4E0A-B567-D22E27778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9" name="Freeform 200">
                <a:extLst>
                  <a:ext uri="{FF2B5EF4-FFF2-40B4-BE49-F238E27FC236}">
                    <a16:creationId xmlns:a16="http://schemas.microsoft.com/office/drawing/2014/main" xmlns="" id="{7D391CD3-C5F4-4919-9DAE-B1654A497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0" name="Freeform 201">
                <a:extLst>
                  <a:ext uri="{FF2B5EF4-FFF2-40B4-BE49-F238E27FC236}">
                    <a16:creationId xmlns:a16="http://schemas.microsoft.com/office/drawing/2014/main" xmlns="" id="{676A7B10-6F21-41CA-88EC-ED9423E7AB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1" name="Freeform 202">
                <a:extLst>
                  <a:ext uri="{FF2B5EF4-FFF2-40B4-BE49-F238E27FC236}">
                    <a16:creationId xmlns:a16="http://schemas.microsoft.com/office/drawing/2014/main" xmlns="" id="{AC3281B3-4911-4EED-8F3F-BB7C8B6E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2" name="Freeform 203">
                <a:extLst>
                  <a:ext uri="{FF2B5EF4-FFF2-40B4-BE49-F238E27FC236}">
                    <a16:creationId xmlns:a16="http://schemas.microsoft.com/office/drawing/2014/main" xmlns="" id="{A976F93E-7F98-4FBD-86FE-94AA92581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3" name="Freeform 204">
                <a:extLst>
                  <a:ext uri="{FF2B5EF4-FFF2-40B4-BE49-F238E27FC236}">
                    <a16:creationId xmlns:a16="http://schemas.microsoft.com/office/drawing/2014/main" xmlns="" id="{1580D61C-C0FD-4937-A8FA-432989E6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4" name="Freeform 206">
                <a:extLst>
                  <a:ext uri="{FF2B5EF4-FFF2-40B4-BE49-F238E27FC236}">
                    <a16:creationId xmlns:a16="http://schemas.microsoft.com/office/drawing/2014/main" xmlns="" id="{254DDD62-2CAB-48EA-9EB5-56AE281A6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5" name="Freeform 207">
                <a:extLst>
                  <a:ext uri="{FF2B5EF4-FFF2-40B4-BE49-F238E27FC236}">
                    <a16:creationId xmlns:a16="http://schemas.microsoft.com/office/drawing/2014/main" xmlns="" id="{130487DF-308B-4478-AF8B-43F5BF42F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6" name="Freeform 208">
                <a:extLst>
                  <a:ext uri="{FF2B5EF4-FFF2-40B4-BE49-F238E27FC236}">
                    <a16:creationId xmlns:a16="http://schemas.microsoft.com/office/drawing/2014/main" xmlns="" id="{84E95565-4662-427C-8B8C-BEDAA360C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xmlns="" id="{3F5A8F9E-A8E6-4522-B200-E3F525031977}"/>
                </a:ext>
              </a:extLst>
            </p:cNvPr>
            <p:cNvGrpSpPr/>
            <p:nvPr userDrawn="1"/>
          </p:nvGrpSpPr>
          <p:grpSpPr>
            <a:xfrm>
              <a:off x="4158491" y="49664"/>
              <a:ext cx="640155" cy="492774"/>
              <a:chOff x="5343975" y="4058097"/>
              <a:chExt cx="1102766" cy="848878"/>
            </a:xfrm>
            <a:solidFill>
              <a:srgbClr val="FFFFFF">
                <a:alpha val="26000"/>
              </a:srgbClr>
            </a:solidFill>
          </p:grpSpPr>
          <p:sp>
            <p:nvSpPr>
              <p:cNvPr id="329" name="Freeform 179">
                <a:extLst>
                  <a:ext uri="{FF2B5EF4-FFF2-40B4-BE49-F238E27FC236}">
                    <a16:creationId xmlns:a16="http://schemas.microsoft.com/office/drawing/2014/main" xmlns="" id="{C2C05BBF-6048-416D-8BC8-37703A1F9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0" name="Freeform 180">
                <a:extLst>
                  <a:ext uri="{FF2B5EF4-FFF2-40B4-BE49-F238E27FC236}">
                    <a16:creationId xmlns:a16="http://schemas.microsoft.com/office/drawing/2014/main" xmlns="" id="{5CCFF21D-9DFD-4771-97EB-24FE5AFE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1" name="Freeform 181">
                <a:extLst>
                  <a:ext uri="{FF2B5EF4-FFF2-40B4-BE49-F238E27FC236}">
                    <a16:creationId xmlns:a16="http://schemas.microsoft.com/office/drawing/2014/main" xmlns="" id="{3E9AE88C-48E5-450A-88DD-3C7C7847F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2" name="Freeform 182">
                <a:extLst>
                  <a:ext uri="{FF2B5EF4-FFF2-40B4-BE49-F238E27FC236}">
                    <a16:creationId xmlns:a16="http://schemas.microsoft.com/office/drawing/2014/main" xmlns="" id="{566EBD64-7A71-4B43-9A3A-F8FC814E1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3" name="Freeform 183">
                <a:extLst>
                  <a:ext uri="{FF2B5EF4-FFF2-40B4-BE49-F238E27FC236}">
                    <a16:creationId xmlns:a16="http://schemas.microsoft.com/office/drawing/2014/main" xmlns="" id="{D17E9053-5ABD-4D36-AA98-CA4B29347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4" name="Freeform 184">
                <a:extLst>
                  <a:ext uri="{FF2B5EF4-FFF2-40B4-BE49-F238E27FC236}">
                    <a16:creationId xmlns:a16="http://schemas.microsoft.com/office/drawing/2014/main" xmlns="" id="{02815817-CC9A-498F-AE4B-AFCCFC044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5" name="Freeform 185">
                <a:extLst>
                  <a:ext uri="{FF2B5EF4-FFF2-40B4-BE49-F238E27FC236}">
                    <a16:creationId xmlns:a16="http://schemas.microsoft.com/office/drawing/2014/main" xmlns="" id="{ACEC8D9E-85FD-45A7-8B7E-234E39C3F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6" name="Freeform 186">
                <a:extLst>
                  <a:ext uri="{FF2B5EF4-FFF2-40B4-BE49-F238E27FC236}">
                    <a16:creationId xmlns:a16="http://schemas.microsoft.com/office/drawing/2014/main" xmlns="" id="{EACFFB87-2225-49FC-9F2B-08AF52C48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7" name="Freeform 187">
                <a:extLst>
                  <a:ext uri="{FF2B5EF4-FFF2-40B4-BE49-F238E27FC236}">
                    <a16:creationId xmlns:a16="http://schemas.microsoft.com/office/drawing/2014/main" xmlns="" id="{C9459BEA-60FD-4DE3-B964-FC8B11B9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8" name="Freeform 188">
                <a:extLst>
                  <a:ext uri="{FF2B5EF4-FFF2-40B4-BE49-F238E27FC236}">
                    <a16:creationId xmlns:a16="http://schemas.microsoft.com/office/drawing/2014/main" xmlns="" id="{EA7FECEC-EAF7-447E-AA2B-D2BDB3084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9" name="Freeform 189">
                <a:extLst>
                  <a:ext uri="{FF2B5EF4-FFF2-40B4-BE49-F238E27FC236}">
                    <a16:creationId xmlns:a16="http://schemas.microsoft.com/office/drawing/2014/main" xmlns="" id="{F9B98DD7-EA0A-4DE3-A7AA-9CD9EBEA8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0" name="Freeform 190">
                <a:extLst>
                  <a:ext uri="{FF2B5EF4-FFF2-40B4-BE49-F238E27FC236}">
                    <a16:creationId xmlns:a16="http://schemas.microsoft.com/office/drawing/2014/main" xmlns="" id="{B0980F86-5BED-4B71-8A80-DC0DC87AF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1" name="Freeform 191">
                <a:extLst>
                  <a:ext uri="{FF2B5EF4-FFF2-40B4-BE49-F238E27FC236}">
                    <a16:creationId xmlns:a16="http://schemas.microsoft.com/office/drawing/2014/main" xmlns="" id="{D89D0555-4248-404A-BAAD-2AED415C0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2" name="Freeform 192">
                <a:extLst>
                  <a:ext uri="{FF2B5EF4-FFF2-40B4-BE49-F238E27FC236}">
                    <a16:creationId xmlns:a16="http://schemas.microsoft.com/office/drawing/2014/main" xmlns="" id="{94EFFB06-1CAE-4D1E-BFDF-092993070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3" name="Freeform 193">
                <a:extLst>
                  <a:ext uri="{FF2B5EF4-FFF2-40B4-BE49-F238E27FC236}">
                    <a16:creationId xmlns:a16="http://schemas.microsoft.com/office/drawing/2014/main" xmlns="" id="{B3C8CC02-1201-416B-911D-B6F3E697C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4" name="Freeform 194">
                <a:extLst>
                  <a:ext uri="{FF2B5EF4-FFF2-40B4-BE49-F238E27FC236}">
                    <a16:creationId xmlns:a16="http://schemas.microsoft.com/office/drawing/2014/main" xmlns="" id="{CC77B92A-E89C-419F-AF16-D68596E87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5" name="Freeform 195">
                <a:extLst>
                  <a:ext uri="{FF2B5EF4-FFF2-40B4-BE49-F238E27FC236}">
                    <a16:creationId xmlns:a16="http://schemas.microsoft.com/office/drawing/2014/main" xmlns="" id="{FECA5A4A-51CC-40F1-8549-F0DAB6AFB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6" name="Freeform 196">
                <a:extLst>
                  <a:ext uri="{FF2B5EF4-FFF2-40B4-BE49-F238E27FC236}">
                    <a16:creationId xmlns:a16="http://schemas.microsoft.com/office/drawing/2014/main" xmlns="" id="{E3C01515-CA64-4D37-8CAA-AA6915CD2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7" name="Freeform 197">
                <a:extLst>
                  <a:ext uri="{FF2B5EF4-FFF2-40B4-BE49-F238E27FC236}">
                    <a16:creationId xmlns:a16="http://schemas.microsoft.com/office/drawing/2014/main" xmlns="" id="{49811822-FFF8-46AB-B50B-66B422D44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8" name="Freeform 198">
                <a:extLst>
                  <a:ext uri="{FF2B5EF4-FFF2-40B4-BE49-F238E27FC236}">
                    <a16:creationId xmlns:a16="http://schemas.microsoft.com/office/drawing/2014/main" xmlns="" id="{70A1C37D-40B8-4EA4-894F-84F0C2A01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9" name="Freeform 199">
                <a:extLst>
                  <a:ext uri="{FF2B5EF4-FFF2-40B4-BE49-F238E27FC236}">
                    <a16:creationId xmlns:a16="http://schemas.microsoft.com/office/drawing/2014/main" xmlns="" id="{C2098D39-55F4-4E1A-934C-E43E3F01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0" name="Freeform 200">
                <a:extLst>
                  <a:ext uri="{FF2B5EF4-FFF2-40B4-BE49-F238E27FC236}">
                    <a16:creationId xmlns:a16="http://schemas.microsoft.com/office/drawing/2014/main" xmlns="" id="{A8E34F5A-F362-4C08-A4C7-201295BE7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1" name="Freeform 201">
                <a:extLst>
                  <a:ext uri="{FF2B5EF4-FFF2-40B4-BE49-F238E27FC236}">
                    <a16:creationId xmlns:a16="http://schemas.microsoft.com/office/drawing/2014/main" xmlns="" id="{26F523F1-DE15-453D-91ED-6770A19D5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2" name="Freeform 202">
                <a:extLst>
                  <a:ext uri="{FF2B5EF4-FFF2-40B4-BE49-F238E27FC236}">
                    <a16:creationId xmlns:a16="http://schemas.microsoft.com/office/drawing/2014/main" xmlns="" id="{3B622776-B143-4D7B-8133-3B1A2B3E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3" name="Freeform 203">
                <a:extLst>
                  <a:ext uri="{FF2B5EF4-FFF2-40B4-BE49-F238E27FC236}">
                    <a16:creationId xmlns:a16="http://schemas.microsoft.com/office/drawing/2014/main" xmlns="" id="{D09B8233-B62B-4CE4-A5A6-DA31D11F7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4" name="Freeform 204">
                <a:extLst>
                  <a:ext uri="{FF2B5EF4-FFF2-40B4-BE49-F238E27FC236}">
                    <a16:creationId xmlns:a16="http://schemas.microsoft.com/office/drawing/2014/main" xmlns="" id="{C664B4D2-5E06-42AD-A78B-24960AB0C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5" name="Freeform 206">
                <a:extLst>
                  <a:ext uri="{FF2B5EF4-FFF2-40B4-BE49-F238E27FC236}">
                    <a16:creationId xmlns:a16="http://schemas.microsoft.com/office/drawing/2014/main" xmlns="" id="{E2FC8ABA-4467-4010-A824-1CCC5A437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6" name="Freeform 207">
                <a:extLst>
                  <a:ext uri="{FF2B5EF4-FFF2-40B4-BE49-F238E27FC236}">
                    <a16:creationId xmlns:a16="http://schemas.microsoft.com/office/drawing/2014/main" xmlns="" id="{D4F759FB-7078-4FAB-B6D2-FC7CD87D9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7" name="Freeform 208">
                <a:extLst>
                  <a:ext uri="{FF2B5EF4-FFF2-40B4-BE49-F238E27FC236}">
                    <a16:creationId xmlns:a16="http://schemas.microsoft.com/office/drawing/2014/main" xmlns="" id="{E4ED3796-8490-41E3-ADF5-402DBDBA6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xmlns="" id="{452B9F3B-1E77-430F-833E-E3E3A2EBF10F}"/>
                </a:ext>
              </a:extLst>
            </p:cNvPr>
            <p:cNvGrpSpPr/>
            <p:nvPr userDrawn="1"/>
          </p:nvGrpSpPr>
          <p:grpSpPr>
            <a:xfrm>
              <a:off x="7354923" y="3729924"/>
              <a:ext cx="311633" cy="438363"/>
              <a:chOff x="2370963" y="2220799"/>
              <a:chExt cx="581424" cy="817868"/>
            </a:xfrm>
            <a:solidFill>
              <a:srgbClr val="FFFFFF"/>
            </a:solidFill>
          </p:grpSpPr>
          <p:sp>
            <p:nvSpPr>
              <p:cNvPr id="320" name="Rectangle 58">
                <a:extLst>
                  <a:ext uri="{FF2B5EF4-FFF2-40B4-BE49-F238E27FC236}">
                    <a16:creationId xmlns:a16="http://schemas.microsoft.com/office/drawing/2014/main" xmlns="" id="{8C7E3443-145F-4BBF-9D84-FB62C4549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1" name="Freeform 59">
                <a:extLst>
                  <a:ext uri="{FF2B5EF4-FFF2-40B4-BE49-F238E27FC236}">
                    <a16:creationId xmlns:a16="http://schemas.microsoft.com/office/drawing/2014/main" xmlns="" id="{8F4C86E4-9217-46D2-8F0D-563C4C53D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2" name="Freeform 60">
                <a:extLst>
                  <a:ext uri="{FF2B5EF4-FFF2-40B4-BE49-F238E27FC236}">
                    <a16:creationId xmlns:a16="http://schemas.microsoft.com/office/drawing/2014/main" xmlns="" id="{8A043486-F578-4381-A03B-270441791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3" name="Freeform 61">
                <a:extLst>
                  <a:ext uri="{FF2B5EF4-FFF2-40B4-BE49-F238E27FC236}">
                    <a16:creationId xmlns:a16="http://schemas.microsoft.com/office/drawing/2014/main" xmlns="" id="{DB126426-D577-464D-8294-302D9205E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4" name="Freeform 62">
                <a:extLst>
                  <a:ext uri="{FF2B5EF4-FFF2-40B4-BE49-F238E27FC236}">
                    <a16:creationId xmlns:a16="http://schemas.microsoft.com/office/drawing/2014/main" xmlns="" id="{06AACD2D-790D-4C3F-AD7A-1373DBF0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5" name="Freeform 63">
                <a:extLst>
                  <a:ext uri="{FF2B5EF4-FFF2-40B4-BE49-F238E27FC236}">
                    <a16:creationId xmlns:a16="http://schemas.microsoft.com/office/drawing/2014/main" xmlns="" id="{E1DF3A7E-282D-4404-A752-97CE6CAD0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6" name="Freeform 64">
                <a:extLst>
                  <a:ext uri="{FF2B5EF4-FFF2-40B4-BE49-F238E27FC236}">
                    <a16:creationId xmlns:a16="http://schemas.microsoft.com/office/drawing/2014/main" xmlns="" id="{FD4C4619-891E-48E0-B13E-48010789A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7" name="Freeform 65">
                <a:extLst>
                  <a:ext uri="{FF2B5EF4-FFF2-40B4-BE49-F238E27FC236}">
                    <a16:creationId xmlns:a16="http://schemas.microsoft.com/office/drawing/2014/main" xmlns="" id="{B4A81EFD-CB8B-45DF-8004-670BFAE4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8" name="Freeform 66">
                <a:extLst>
                  <a:ext uri="{FF2B5EF4-FFF2-40B4-BE49-F238E27FC236}">
                    <a16:creationId xmlns:a16="http://schemas.microsoft.com/office/drawing/2014/main" xmlns="" id="{F748E56A-02C0-49CE-AF7D-CFD77B5238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xmlns="" id="{0098DF35-25A8-405E-A0C5-70F56DB54794}"/>
                </a:ext>
              </a:extLst>
            </p:cNvPr>
            <p:cNvGrpSpPr/>
            <p:nvPr userDrawn="1"/>
          </p:nvGrpSpPr>
          <p:grpSpPr>
            <a:xfrm>
              <a:off x="6509582" y="575413"/>
              <a:ext cx="234011" cy="329175"/>
              <a:chOff x="2370963" y="2220799"/>
              <a:chExt cx="581424" cy="817868"/>
            </a:xfrm>
            <a:solidFill>
              <a:srgbClr val="FFFFFF">
                <a:alpha val="26000"/>
              </a:srgbClr>
            </a:solidFill>
          </p:grpSpPr>
          <p:sp>
            <p:nvSpPr>
              <p:cNvPr id="311" name="Rectangle 58">
                <a:extLst>
                  <a:ext uri="{FF2B5EF4-FFF2-40B4-BE49-F238E27FC236}">
                    <a16:creationId xmlns:a16="http://schemas.microsoft.com/office/drawing/2014/main" xmlns="" id="{F1E19927-6C44-4316-8E16-0732B819B7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2" name="Freeform 59">
                <a:extLst>
                  <a:ext uri="{FF2B5EF4-FFF2-40B4-BE49-F238E27FC236}">
                    <a16:creationId xmlns:a16="http://schemas.microsoft.com/office/drawing/2014/main" xmlns="" id="{83CE7323-6032-48EE-8CA3-3D1DC2741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3" name="Freeform 60">
                <a:extLst>
                  <a:ext uri="{FF2B5EF4-FFF2-40B4-BE49-F238E27FC236}">
                    <a16:creationId xmlns:a16="http://schemas.microsoft.com/office/drawing/2014/main" xmlns="" id="{89095F0B-7AB9-4554-B8F9-935B1BAD4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4" name="Freeform 61">
                <a:extLst>
                  <a:ext uri="{FF2B5EF4-FFF2-40B4-BE49-F238E27FC236}">
                    <a16:creationId xmlns:a16="http://schemas.microsoft.com/office/drawing/2014/main" xmlns="" id="{D2CC33B1-8F4E-41DD-A1BA-F57EDE447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5" name="Freeform 62">
                <a:extLst>
                  <a:ext uri="{FF2B5EF4-FFF2-40B4-BE49-F238E27FC236}">
                    <a16:creationId xmlns:a16="http://schemas.microsoft.com/office/drawing/2014/main" xmlns="" id="{4443698B-EA6C-453A-91A8-D92481C1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6" name="Freeform 63">
                <a:extLst>
                  <a:ext uri="{FF2B5EF4-FFF2-40B4-BE49-F238E27FC236}">
                    <a16:creationId xmlns:a16="http://schemas.microsoft.com/office/drawing/2014/main" xmlns="" id="{E201FD75-85B7-4743-A3B1-3B148BC55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7" name="Freeform 64">
                <a:extLst>
                  <a:ext uri="{FF2B5EF4-FFF2-40B4-BE49-F238E27FC236}">
                    <a16:creationId xmlns:a16="http://schemas.microsoft.com/office/drawing/2014/main" xmlns="" id="{D66D4AE7-CD76-44E0-8BBD-3A2358EAE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8" name="Freeform 65">
                <a:extLst>
                  <a:ext uri="{FF2B5EF4-FFF2-40B4-BE49-F238E27FC236}">
                    <a16:creationId xmlns:a16="http://schemas.microsoft.com/office/drawing/2014/main" xmlns="" id="{36571A25-2AAB-4043-A59C-CF30710C2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9" name="Freeform 66">
                <a:extLst>
                  <a:ext uri="{FF2B5EF4-FFF2-40B4-BE49-F238E27FC236}">
                    <a16:creationId xmlns:a16="http://schemas.microsoft.com/office/drawing/2014/main" xmlns="" id="{3991C0A6-92BB-4DAA-BFE2-65DAF47EE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xmlns="" id="{CB943D87-0094-4CE6-A058-9C9A9D650400}"/>
                </a:ext>
              </a:extLst>
            </p:cNvPr>
            <p:cNvGrpSpPr/>
            <p:nvPr userDrawn="1"/>
          </p:nvGrpSpPr>
          <p:grpSpPr>
            <a:xfrm>
              <a:off x="4075920" y="1374980"/>
              <a:ext cx="383372" cy="352926"/>
              <a:chOff x="2019301" y="4184651"/>
              <a:chExt cx="979488" cy="901700"/>
            </a:xfrm>
            <a:solidFill>
              <a:srgbClr val="FFFFFF">
                <a:alpha val="22000"/>
              </a:srgbClr>
            </a:solidFill>
          </p:grpSpPr>
          <p:sp>
            <p:nvSpPr>
              <p:cNvPr id="304" name="Freeform 152">
                <a:extLst>
                  <a:ext uri="{FF2B5EF4-FFF2-40B4-BE49-F238E27FC236}">
                    <a16:creationId xmlns:a16="http://schemas.microsoft.com/office/drawing/2014/main" xmlns="" id="{71F3BD7F-A264-4433-9792-1F507804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1" y="4256088"/>
                <a:ext cx="639763" cy="192088"/>
              </a:xfrm>
              <a:custGeom>
                <a:avLst/>
                <a:gdLst>
                  <a:gd name="T0" fmla="*/ 437 w 437"/>
                  <a:gd name="T1" fmla="*/ 0 h 132"/>
                  <a:gd name="T2" fmla="*/ 437 w 437"/>
                  <a:gd name="T3" fmla="*/ 132 h 132"/>
                  <a:gd name="T4" fmla="*/ 189 w 437"/>
                  <a:gd name="T5" fmla="*/ 132 h 132"/>
                  <a:gd name="T6" fmla="*/ 189 w 437"/>
                  <a:gd name="T7" fmla="*/ 36 h 132"/>
                  <a:gd name="T8" fmla="*/ 0 w 437"/>
                  <a:gd name="T9" fmla="*/ 36 h 132"/>
                  <a:gd name="T10" fmla="*/ 0 w 437"/>
                  <a:gd name="T11" fmla="*/ 21 h 132"/>
                  <a:gd name="T12" fmla="*/ 7 w 437"/>
                  <a:gd name="T13" fmla="*/ 2 h 132"/>
                  <a:gd name="T14" fmla="*/ 8 w 437"/>
                  <a:gd name="T15" fmla="*/ 0 h 132"/>
                  <a:gd name="T16" fmla="*/ 383 w 437"/>
                  <a:gd name="T17" fmla="*/ 0 h 132"/>
                  <a:gd name="T18" fmla="*/ 437 w 437"/>
                  <a:gd name="T1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7" h="132">
                    <a:moveTo>
                      <a:pt x="437" y="0"/>
                    </a:moveTo>
                    <a:cubicBezTo>
                      <a:pt x="437" y="132"/>
                      <a:pt x="437" y="132"/>
                      <a:pt x="437" y="132"/>
                    </a:cubicBezTo>
                    <a:cubicBezTo>
                      <a:pt x="189" y="132"/>
                      <a:pt x="189" y="132"/>
                      <a:pt x="189" y="132"/>
                    </a:cubicBezTo>
                    <a:cubicBezTo>
                      <a:pt x="189" y="36"/>
                      <a:pt x="189" y="36"/>
                      <a:pt x="189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1"/>
                      <a:pt x="0" y="26"/>
                      <a:pt x="0" y="21"/>
                    </a:cubicBezTo>
                    <a:cubicBezTo>
                      <a:pt x="0" y="14"/>
                      <a:pt x="4" y="6"/>
                      <a:pt x="7" y="2"/>
                    </a:cubicBezTo>
                    <a:cubicBezTo>
                      <a:pt x="7" y="1"/>
                      <a:pt x="8" y="0"/>
                      <a:pt x="8" y="0"/>
                    </a:cubicBezTo>
                    <a:cubicBezTo>
                      <a:pt x="383" y="0"/>
                      <a:pt x="383" y="0"/>
                      <a:pt x="383" y="0"/>
                    </a:cubicBezTo>
                    <a:lnTo>
                      <a:pt x="4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5" name="Freeform 153">
                <a:extLst>
                  <a:ext uri="{FF2B5EF4-FFF2-40B4-BE49-F238E27FC236}">
                    <a16:creationId xmlns:a16="http://schemas.microsoft.com/office/drawing/2014/main" xmlns="" id="{94EF63D5-7F81-4416-A057-9B6AB22AB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901" y="4535488"/>
                <a:ext cx="169863" cy="263525"/>
              </a:xfrm>
              <a:custGeom>
                <a:avLst/>
                <a:gdLst>
                  <a:gd name="T0" fmla="*/ 28 w 116"/>
                  <a:gd name="T1" fmla="*/ 9 h 180"/>
                  <a:gd name="T2" fmla="*/ 58 w 116"/>
                  <a:gd name="T3" fmla="*/ 0 h 180"/>
                  <a:gd name="T4" fmla="*/ 88 w 116"/>
                  <a:gd name="T5" fmla="*/ 9 h 180"/>
                  <a:gd name="T6" fmla="*/ 106 w 116"/>
                  <a:gd name="T7" fmla="*/ 35 h 180"/>
                  <a:gd name="T8" fmla="*/ 109 w 116"/>
                  <a:gd name="T9" fmla="*/ 50 h 180"/>
                  <a:gd name="T10" fmla="*/ 109 w 116"/>
                  <a:gd name="T11" fmla="*/ 70 h 180"/>
                  <a:gd name="T12" fmla="*/ 109 w 116"/>
                  <a:gd name="T13" fmla="*/ 109 h 180"/>
                  <a:gd name="T14" fmla="*/ 116 w 116"/>
                  <a:gd name="T15" fmla="*/ 114 h 180"/>
                  <a:gd name="T16" fmla="*/ 116 w 116"/>
                  <a:gd name="T17" fmla="*/ 153 h 180"/>
                  <a:gd name="T18" fmla="*/ 116 w 116"/>
                  <a:gd name="T19" fmla="*/ 154 h 180"/>
                  <a:gd name="T20" fmla="*/ 115 w 116"/>
                  <a:gd name="T21" fmla="*/ 155 h 180"/>
                  <a:gd name="T22" fmla="*/ 114 w 116"/>
                  <a:gd name="T23" fmla="*/ 158 h 180"/>
                  <a:gd name="T24" fmla="*/ 110 w 116"/>
                  <a:gd name="T25" fmla="*/ 163 h 180"/>
                  <a:gd name="T26" fmla="*/ 99 w 116"/>
                  <a:gd name="T27" fmla="*/ 170 h 180"/>
                  <a:gd name="T28" fmla="*/ 90 w 116"/>
                  <a:gd name="T29" fmla="*/ 173 h 180"/>
                  <a:gd name="T30" fmla="*/ 82 w 116"/>
                  <a:gd name="T31" fmla="*/ 170 h 180"/>
                  <a:gd name="T32" fmla="*/ 72 w 116"/>
                  <a:gd name="T33" fmla="*/ 170 h 180"/>
                  <a:gd name="T34" fmla="*/ 61 w 116"/>
                  <a:gd name="T35" fmla="*/ 180 h 180"/>
                  <a:gd name="T36" fmla="*/ 55 w 116"/>
                  <a:gd name="T37" fmla="*/ 180 h 180"/>
                  <a:gd name="T38" fmla="*/ 55 w 116"/>
                  <a:gd name="T39" fmla="*/ 180 h 180"/>
                  <a:gd name="T40" fmla="*/ 44 w 116"/>
                  <a:gd name="T41" fmla="*/ 169 h 180"/>
                  <a:gd name="T42" fmla="*/ 34 w 116"/>
                  <a:gd name="T43" fmla="*/ 169 h 180"/>
                  <a:gd name="T44" fmla="*/ 26 w 116"/>
                  <a:gd name="T45" fmla="*/ 173 h 180"/>
                  <a:gd name="T46" fmla="*/ 17 w 116"/>
                  <a:gd name="T47" fmla="*/ 170 h 180"/>
                  <a:gd name="T48" fmla="*/ 5 w 116"/>
                  <a:gd name="T49" fmla="*/ 163 h 180"/>
                  <a:gd name="T50" fmla="*/ 2 w 116"/>
                  <a:gd name="T51" fmla="*/ 158 h 180"/>
                  <a:gd name="T52" fmla="*/ 0 w 116"/>
                  <a:gd name="T53" fmla="*/ 155 h 180"/>
                  <a:gd name="T54" fmla="*/ 0 w 116"/>
                  <a:gd name="T55" fmla="*/ 154 h 180"/>
                  <a:gd name="T56" fmla="*/ 0 w 116"/>
                  <a:gd name="T57" fmla="*/ 153 h 180"/>
                  <a:gd name="T58" fmla="*/ 0 w 116"/>
                  <a:gd name="T59" fmla="*/ 114 h 180"/>
                  <a:gd name="T60" fmla="*/ 7 w 116"/>
                  <a:gd name="T61" fmla="*/ 109 h 180"/>
                  <a:gd name="T62" fmla="*/ 7 w 116"/>
                  <a:gd name="T63" fmla="*/ 70 h 180"/>
                  <a:gd name="T64" fmla="*/ 7 w 116"/>
                  <a:gd name="T65" fmla="*/ 50 h 180"/>
                  <a:gd name="T66" fmla="*/ 9 w 116"/>
                  <a:gd name="T67" fmla="*/ 35 h 180"/>
                  <a:gd name="T68" fmla="*/ 28 w 116"/>
                  <a:gd name="T69" fmla="*/ 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6" h="180">
                    <a:moveTo>
                      <a:pt x="28" y="9"/>
                    </a:moveTo>
                    <a:cubicBezTo>
                      <a:pt x="37" y="3"/>
                      <a:pt x="47" y="0"/>
                      <a:pt x="58" y="0"/>
                    </a:cubicBezTo>
                    <a:cubicBezTo>
                      <a:pt x="69" y="0"/>
                      <a:pt x="79" y="3"/>
                      <a:pt x="88" y="9"/>
                    </a:cubicBezTo>
                    <a:cubicBezTo>
                      <a:pt x="96" y="16"/>
                      <a:pt x="103" y="25"/>
                      <a:pt x="106" y="35"/>
                    </a:cubicBezTo>
                    <a:cubicBezTo>
                      <a:pt x="108" y="40"/>
                      <a:pt x="109" y="45"/>
                      <a:pt x="109" y="5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11"/>
                      <a:pt x="112" y="113"/>
                      <a:pt x="116" y="114"/>
                    </a:cubicBezTo>
                    <a:cubicBezTo>
                      <a:pt x="116" y="153"/>
                      <a:pt x="116" y="153"/>
                      <a:pt x="116" y="153"/>
                    </a:cubicBezTo>
                    <a:cubicBezTo>
                      <a:pt x="116" y="154"/>
                      <a:pt x="116" y="154"/>
                      <a:pt x="116" y="154"/>
                    </a:cubicBezTo>
                    <a:cubicBezTo>
                      <a:pt x="115" y="155"/>
                      <a:pt x="115" y="155"/>
                      <a:pt x="115" y="155"/>
                    </a:cubicBezTo>
                    <a:cubicBezTo>
                      <a:pt x="115" y="156"/>
                      <a:pt x="114" y="157"/>
                      <a:pt x="114" y="158"/>
                    </a:cubicBezTo>
                    <a:cubicBezTo>
                      <a:pt x="113" y="160"/>
                      <a:pt x="112" y="162"/>
                      <a:pt x="110" y="163"/>
                    </a:cubicBezTo>
                    <a:cubicBezTo>
                      <a:pt x="107" y="166"/>
                      <a:pt x="103" y="169"/>
                      <a:pt x="99" y="170"/>
                    </a:cubicBezTo>
                    <a:cubicBezTo>
                      <a:pt x="96" y="172"/>
                      <a:pt x="93" y="172"/>
                      <a:pt x="90" y="173"/>
                    </a:cubicBezTo>
                    <a:cubicBezTo>
                      <a:pt x="88" y="171"/>
                      <a:pt x="85" y="170"/>
                      <a:pt x="8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66" y="170"/>
                      <a:pt x="61" y="175"/>
                      <a:pt x="61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74"/>
                      <a:pt x="50" y="169"/>
                      <a:pt x="44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0" y="169"/>
                      <a:pt x="28" y="171"/>
                      <a:pt x="26" y="173"/>
                    </a:cubicBezTo>
                    <a:cubicBezTo>
                      <a:pt x="23" y="172"/>
                      <a:pt x="20" y="171"/>
                      <a:pt x="17" y="170"/>
                    </a:cubicBezTo>
                    <a:cubicBezTo>
                      <a:pt x="12" y="168"/>
                      <a:pt x="8" y="166"/>
                      <a:pt x="5" y="163"/>
                    </a:cubicBezTo>
                    <a:cubicBezTo>
                      <a:pt x="4" y="161"/>
                      <a:pt x="3" y="159"/>
                      <a:pt x="2" y="158"/>
                    </a:cubicBezTo>
                    <a:cubicBezTo>
                      <a:pt x="1" y="157"/>
                      <a:pt x="1" y="156"/>
                      <a:pt x="0" y="155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4" y="113"/>
                      <a:pt x="7" y="111"/>
                      <a:pt x="7" y="109"/>
                    </a:cubicBezTo>
                    <a:cubicBezTo>
                      <a:pt x="7" y="70"/>
                      <a:pt x="7" y="70"/>
                      <a:pt x="7" y="70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45"/>
                      <a:pt x="8" y="40"/>
                      <a:pt x="9" y="35"/>
                    </a:cubicBezTo>
                    <a:cubicBezTo>
                      <a:pt x="13" y="25"/>
                      <a:pt x="19" y="16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6" name="Freeform 154">
                <a:extLst>
                  <a:ext uri="{FF2B5EF4-FFF2-40B4-BE49-F238E27FC236}">
                    <a16:creationId xmlns:a16="http://schemas.microsoft.com/office/drawing/2014/main" xmlns="" id="{2645DF8B-4444-4424-B12C-87DFBC0BC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439" y="4184651"/>
                <a:ext cx="109538" cy="298450"/>
              </a:xfrm>
              <a:custGeom>
                <a:avLst/>
                <a:gdLst>
                  <a:gd name="T0" fmla="*/ 18 w 75"/>
                  <a:gd name="T1" fmla="*/ 7 h 203"/>
                  <a:gd name="T2" fmla="*/ 55 w 75"/>
                  <a:gd name="T3" fmla="*/ 6 h 203"/>
                  <a:gd name="T4" fmla="*/ 75 w 75"/>
                  <a:gd name="T5" fmla="*/ 37 h 203"/>
                  <a:gd name="T6" fmla="*/ 75 w 75"/>
                  <a:gd name="T7" fmla="*/ 70 h 203"/>
                  <a:gd name="T8" fmla="*/ 75 w 75"/>
                  <a:gd name="T9" fmla="*/ 203 h 203"/>
                  <a:gd name="T10" fmla="*/ 65 w 75"/>
                  <a:gd name="T11" fmla="*/ 203 h 203"/>
                  <a:gd name="T12" fmla="*/ 65 w 75"/>
                  <a:gd name="T13" fmla="*/ 70 h 203"/>
                  <a:gd name="T14" fmla="*/ 65 w 75"/>
                  <a:gd name="T15" fmla="*/ 37 h 203"/>
                  <a:gd name="T16" fmla="*/ 50 w 75"/>
                  <a:gd name="T17" fmla="*/ 15 h 203"/>
                  <a:gd name="T18" fmla="*/ 24 w 75"/>
                  <a:gd name="T19" fmla="*/ 16 h 203"/>
                  <a:gd name="T20" fmla="*/ 11 w 75"/>
                  <a:gd name="T21" fmla="*/ 39 h 203"/>
                  <a:gd name="T22" fmla="*/ 0 w 75"/>
                  <a:gd name="T23" fmla="*/ 39 h 203"/>
                  <a:gd name="T24" fmla="*/ 18 w 75"/>
                  <a:gd name="T25" fmla="*/ 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3">
                    <a:moveTo>
                      <a:pt x="18" y="7"/>
                    </a:moveTo>
                    <a:cubicBezTo>
                      <a:pt x="30" y="0"/>
                      <a:pt x="44" y="0"/>
                      <a:pt x="55" y="6"/>
                    </a:cubicBezTo>
                    <a:cubicBezTo>
                      <a:pt x="67" y="12"/>
                      <a:pt x="75" y="24"/>
                      <a:pt x="75" y="37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5" y="203"/>
                      <a:pt x="75" y="203"/>
                      <a:pt x="75" y="203"/>
                    </a:cubicBezTo>
                    <a:cubicBezTo>
                      <a:pt x="65" y="203"/>
                      <a:pt x="65" y="203"/>
                      <a:pt x="65" y="203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4" y="28"/>
                      <a:pt x="59" y="19"/>
                      <a:pt x="50" y="15"/>
                    </a:cubicBezTo>
                    <a:cubicBezTo>
                      <a:pt x="42" y="10"/>
                      <a:pt x="32" y="11"/>
                      <a:pt x="24" y="16"/>
                    </a:cubicBezTo>
                    <a:cubicBezTo>
                      <a:pt x="16" y="20"/>
                      <a:pt x="11" y="29"/>
                      <a:pt x="11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6"/>
                      <a:pt x="7" y="13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7" name="Rectangle 155">
                <a:extLst>
                  <a:ext uri="{FF2B5EF4-FFF2-40B4-BE49-F238E27FC236}">
                    <a16:creationId xmlns:a16="http://schemas.microsoft.com/office/drawing/2014/main" xmlns="" id="{A282E18B-9D56-42E8-9CE8-C1A47B3B8D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3851" y="4256088"/>
                <a:ext cx="82550" cy="1920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xmlns="" id="{CA3C51E7-D6B7-49B0-999B-8AA8D58F4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6926" y="4214813"/>
                <a:ext cx="327025" cy="449263"/>
              </a:xfrm>
              <a:custGeom>
                <a:avLst/>
                <a:gdLst>
                  <a:gd name="T0" fmla="*/ 91 w 224"/>
                  <a:gd name="T1" fmla="*/ 273 h 307"/>
                  <a:gd name="T2" fmla="*/ 62 w 224"/>
                  <a:gd name="T3" fmla="*/ 285 h 307"/>
                  <a:gd name="T4" fmla="*/ 34 w 224"/>
                  <a:gd name="T5" fmla="*/ 273 h 307"/>
                  <a:gd name="T6" fmla="*/ 22 w 224"/>
                  <a:gd name="T7" fmla="*/ 245 h 307"/>
                  <a:gd name="T8" fmla="*/ 34 w 224"/>
                  <a:gd name="T9" fmla="*/ 216 h 307"/>
                  <a:gd name="T10" fmla="*/ 57 w 224"/>
                  <a:gd name="T11" fmla="*/ 205 h 307"/>
                  <a:gd name="T12" fmla="*/ 57 w 224"/>
                  <a:gd name="T13" fmla="*/ 194 h 307"/>
                  <a:gd name="T14" fmla="*/ 27 w 224"/>
                  <a:gd name="T15" fmla="*/ 209 h 307"/>
                  <a:gd name="T16" fmla="*/ 12 w 224"/>
                  <a:gd name="T17" fmla="*/ 245 h 307"/>
                  <a:gd name="T18" fmla="*/ 27 w 224"/>
                  <a:gd name="T19" fmla="*/ 280 h 307"/>
                  <a:gd name="T20" fmla="*/ 62 w 224"/>
                  <a:gd name="T21" fmla="*/ 295 h 307"/>
                  <a:gd name="T22" fmla="*/ 98 w 224"/>
                  <a:gd name="T23" fmla="*/ 280 h 307"/>
                  <a:gd name="T24" fmla="*/ 113 w 224"/>
                  <a:gd name="T25" fmla="*/ 245 h 307"/>
                  <a:gd name="T26" fmla="*/ 98 w 224"/>
                  <a:gd name="T27" fmla="*/ 209 h 307"/>
                  <a:gd name="T28" fmla="*/ 68 w 224"/>
                  <a:gd name="T29" fmla="*/ 194 h 307"/>
                  <a:gd name="T30" fmla="*/ 68 w 224"/>
                  <a:gd name="T31" fmla="*/ 205 h 307"/>
                  <a:gd name="T32" fmla="*/ 91 w 224"/>
                  <a:gd name="T33" fmla="*/ 216 h 307"/>
                  <a:gd name="T34" fmla="*/ 103 w 224"/>
                  <a:gd name="T35" fmla="*/ 245 h 307"/>
                  <a:gd name="T36" fmla="*/ 91 w 224"/>
                  <a:gd name="T37" fmla="*/ 273 h 307"/>
                  <a:gd name="T38" fmla="*/ 61 w 224"/>
                  <a:gd name="T39" fmla="*/ 30 h 307"/>
                  <a:gd name="T40" fmla="*/ 79 w 224"/>
                  <a:gd name="T41" fmla="*/ 8 h 307"/>
                  <a:gd name="T42" fmla="*/ 103 w 224"/>
                  <a:gd name="T43" fmla="*/ 0 h 307"/>
                  <a:gd name="T44" fmla="*/ 103 w 224"/>
                  <a:gd name="T45" fmla="*/ 0 h 307"/>
                  <a:gd name="T46" fmla="*/ 107 w 224"/>
                  <a:gd name="T47" fmla="*/ 0 h 307"/>
                  <a:gd name="T48" fmla="*/ 107 w 224"/>
                  <a:gd name="T49" fmla="*/ 1 h 307"/>
                  <a:gd name="T50" fmla="*/ 224 w 224"/>
                  <a:gd name="T51" fmla="*/ 19 h 307"/>
                  <a:gd name="T52" fmla="*/ 150 w 224"/>
                  <a:gd name="T53" fmla="*/ 19 h 307"/>
                  <a:gd name="T54" fmla="*/ 103 w 224"/>
                  <a:gd name="T55" fmla="*/ 12 h 307"/>
                  <a:gd name="T56" fmla="*/ 75 w 224"/>
                  <a:gd name="T57" fmla="*/ 28 h 307"/>
                  <a:gd name="T58" fmla="*/ 71 w 224"/>
                  <a:gd name="T59" fmla="*/ 34 h 307"/>
                  <a:gd name="T60" fmla="*/ 68 w 224"/>
                  <a:gd name="T61" fmla="*/ 45 h 307"/>
                  <a:gd name="T62" fmla="*/ 68 w 224"/>
                  <a:gd name="T63" fmla="*/ 50 h 307"/>
                  <a:gd name="T64" fmla="*/ 68 w 224"/>
                  <a:gd name="T65" fmla="*/ 57 h 307"/>
                  <a:gd name="T66" fmla="*/ 68 w 224"/>
                  <a:gd name="T67" fmla="*/ 82 h 307"/>
                  <a:gd name="T68" fmla="*/ 68 w 224"/>
                  <a:gd name="T69" fmla="*/ 180 h 307"/>
                  <a:gd name="T70" fmla="*/ 68 w 224"/>
                  <a:gd name="T71" fmla="*/ 180 h 307"/>
                  <a:gd name="T72" fmla="*/ 68 w 224"/>
                  <a:gd name="T73" fmla="*/ 183 h 307"/>
                  <a:gd name="T74" fmla="*/ 86 w 224"/>
                  <a:gd name="T75" fmla="*/ 187 h 307"/>
                  <a:gd name="T76" fmla="*/ 106 w 224"/>
                  <a:gd name="T77" fmla="*/ 201 h 307"/>
                  <a:gd name="T78" fmla="*/ 120 w 224"/>
                  <a:gd name="T79" fmla="*/ 221 h 307"/>
                  <a:gd name="T80" fmla="*/ 124 w 224"/>
                  <a:gd name="T81" fmla="*/ 245 h 307"/>
                  <a:gd name="T82" fmla="*/ 120 w 224"/>
                  <a:gd name="T83" fmla="*/ 268 h 307"/>
                  <a:gd name="T84" fmla="*/ 106 w 224"/>
                  <a:gd name="T85" fmla="*/ 288 h 307"/>
                  <a:gd name="T86" fmla="*/ 86 w 224"/>
                  <a:gd name="T87" fmla="*/ 302 h 307"/>
                  <a:gd name="T88" fmla="*/ 62 w 224"/>
                  <a:gd name="T89" fmla="*/ 307 h 307"/>
                  <a:gd name="T90" fmla="*/ 39 w 224"/>
                  <a:gd name="T91" fmla="*/ 302 h 307"/>
                  <a:gd name="T92" fmla="*/ 18 w 224"/>
                  <a:gd name="T93" fmla="*/ 288 h 307"/>
                  <a:gd name="T94" fmla="*/ 5 w 224"/>
                  <a:gd name="T95" fmla="*/ 268 h 307"/>
                  <a:gd name="T96" fmla="*/ 0 w 224"/>
                  <a:gd name="T97" fmla="*/ 245 h 307"/>
                  <a:gd name="T98" fmla="*/ 5 w 224"/>
                  <a:gd name="T99" fmla="*/ 221 h 307"/>
                  <a:gd name="T100" fmla="*/ 18 w 224"/>
                  <a:gd name="T101" fmla="*/ 201 h 307"/>
                  <a:gd name="T102" fmla="*/ 39 w 224"/>
                  <a:gd name="T103" fmla="*/ 187 h 307"/>
                  <a:gd name="T104" fmla="*/ 57 w 224"/>
                  <a:gd name="T105" fmla="*/ 183 h 307"/>
                  <a:gd name="T106" fmla="*/ 57 w 224"/>
                  <a:gd name="T107" fmla="*/ 180 h 307"/>
                  <a:gd name="T108" fmla="*/ 57 w 224"/>
                  <a:gd name="T109" fmla="*/ 180 h 307"/>
                  <a:gd name="T110" fmla="*/ 57 w 224"/>
                  <a:gd name="T111" fmla="*/ 165 h 307"/>
                  <a:gd name="T112" fmla="*/ 57 w 224"/>
                  <a:gd name="T113" fmla="*/ 82 h 307"/>
                  <a:gd name="T114" fmla="*/ 57 w 224"/>
                  <a:gd name="T115" fmla="*/ 57 h 307"/>
                  <a:gd name="T116" fmla="*/ 57 w 224"/>
                  <a:gd name="T117" fmla="*/ 50 h 307"/>
                  <a:gd name="T118" fmla="*/ 57 w 224"/>
                  <a:gd name="T119" fmla="*/ 43 h 307"/>
                  <a:gd name="T120" fmla="*/ 61 w 224"/>
                  <a:gd name="T121" fmla="*/ 3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4" h="307">
                    <a:moveTo>
                      <a:pt x="91" y="273"/>
                    </a:moveTo>
                    <a:cubicBezTo>
                      <a:pt x="83" y="281"/>
                      <a:pt x="73" y="285"/>
                      <a:pt x="62" y="285"/>
                    </a:cubicBezTo>
                    <a:cubicBezTo>
                      <a:pt x="52" y="285"/>
                      <a:pt x="41" y="281"/>
                      <a:pt x="34" y="273"/>
                    </a:cubicBezTo>
                    <a:cubicBezTo>
                      <a:pt x="26" y="266"/>
                      <a:pt x="22" y="255"/>
                      <a:pt x="22" y="245"/>
                    </a:cubicBezTo>
                    <a:cubicBezTo>
                      <a:pt x="22" y="234"/>
                      <a:pt x="26" y="223"/>
                      <a:pt x="34" y="216"/>
                    </a:cubicBezTo>
                    <a:cubicBezTo>
                      <a:pt x="40" y="210"/>
                      <a:pt x="48" y="206"/>
                      <a:pt x="57" y="205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45" y="196"/>
                      <a:pt x="35" y="201"/>
                      <a:pt x="27" y="209"/>
                    </a:cubicBezTo>
                    <a:cubicBezTo>
                      <a:pt x="17" y="218"/>
                      <a:pt x="12" y="231"/>
                      <a:pt x="12" y="245"/>
                    </a:cubicBezTo>
                    <a:cubicBezTo>
                      <a:pt x="12" y="258"/>
                      <a:pt x="17" y="271"/>
                      <a:pt x="27" y="280"/>
                    </a:cubicBezTo>
                    <a:cubicBezTo>
                      <a:pt x="36" y="290"/>
                      <a:pt x="49" y="295"/>
                      <a:pt x="62" y="295"/>
                    </a:cubicBezTo>
                    <a:cubicBezTo>
                      <a:pt x="76" y="295"/>
                      <a:pt x="89" y="290"/>
                      <a:pt x="98" y="280"/>
                    </a:cubicBezTo>
                    <a:cubicBezTo>
                      <a:pt x="107" y="271"/>
                      <a:pt x="113" y="258"/>
                      <a:pt x="113" y="245"/>
                    </a:cubicBezTo>
                    <a:cubicBezTo>
                      <a:pt x="113" y="231"/>
                      <a:pt x="107" y="218"/>
                      <a:pt x="98" y="209"/>
                    </a:cubicBezTo>
                    <a:cubicBezTo>
                      <a:pt x="90" y="201"/>
                      <a:pt x="79" y="196"/>
                      <a:pt x="68" y="194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77" y="206"/>
                      <a:pt x="85" y="210"/>
                      <a:pt x="91" y="216"/>
                    </a:cubicBezTo>
                    <a:cubicBezTo>
                      <a:pt x="98" y="223"/>
                      <a:pt x="103" y="234"/>
                      <a:pt x="103" y="245"/>
                    </a:cubicBezTo>
                    <a:cubicBezTo>
                      <a:pt x="103" y="255"/>
                      <a:pt x="98" y="266"/>
                      <a:pt x="91" y="273"/>
                    </a:cubicBezTo>
                    <a:close/>
                    <a:moveTo>
                      <a:pt x="61" y="30"/>
                    </a:moveTo>
                    <a:cubicBezTo>
                      <a:pt x="65" y="21"/>
                      <a:pt x="71" y="13"/>
                      <a:pt x="79" y="8"/>
                    </a:cubicBezTo>
                    <a:cubicBezTo>
                      <a:pt x="86" y="3"/>
                      <a:pt x="95" y="1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4" y="0"/>
                      <a:pt x="105" y="0"/>
                      <a:pt x="107" y="0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224" y="19"/>
                      <a:pt x="224" y="19"/>
                      <a:pt x="22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03" y="12"/>
                      <a:pt x="103" y="12"/>
                      <a:pt x="103" y="12"/>
                    </a:cubicBezTo>
                    <a:cubicBezTo>
                      <a:pt x="92" y="13"/>
                      <a:pt x="82" y="19"/>
                      <a:pt x="75" y="28"/>
                    </a:cubicBezTo>
                    <a:cubicBezTo>
                      <a:pt x="74" y="30"/>
                      <a:pt x="72" y="32"/>
                      <a:pt x="71" y="34"/>
                    </a:cubicBezTo>
                    <a:cubicBezTo>
                      <a:pt x="70" y="38"/>
                      <a:pt x="69" y="41"/>
                      <a:pt x="68" y="45"/>
                    </a:cubicBezTo>
                    <a:cubicBezTo>
                      <a:pt x="68" y="47"/>
                      <a:pt x="68" y="48"/>
                      <a:pt x="68" y="50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3"/>
                      <a:pt x="68" y="183"/>
                      <a:pt x="68" y="183"/>
                    </a:cubicBezTo>
                    <a:cubicBezTo>
                      <a:pt x="74" y="183"/>
                      <a:pt x="80" y="185"/>
                      <a:pt x="86" y="187"/>
                    </a:cubicBezTo>
                    <a:cubicBezTo>
                      <a:pt x="94" y="190"/>
                      <a:pt x="100" y="195"/>
                      <a:pt x="106" y="201"/>
                    </a:cubicBezTo>
                    <a:cubicBezTo>
                      <a:pt x="112" y="206"/>
                      <a:pt x="117" y="213"/>
                      <a:pt x="120" y="221"/>
                    </a:cubicBezTo>
                    <a:cubicBezTo>
                      <a:pt x="123" y="228"/>
                      <a:pt x="124" y="236"/>
                      <a:pt x="124" y="245"/>
                    </a:cubicBezTo>
                    <a:cubicBezTo>
                      <a:pt x="124" y="253"/>
                      <a:pt x="123" y="261"/>
                      <a:pt x="120" y="268"/>
                    </a:cubicBezTo>
                    <a:cubicBezTo>
                      <a:pt x="117" y="276"/>
                      <a:pt x="112" y="283"/>
                      <a:pt x="106" y="288"/>
                    </a:cubicBezTo>
                    <a:cubicBezTo>
                      <a:pt x="100" y="294"/>
                      <a:pt x="94" y="299"/>
                      <a:pt x="86" y="302"/>
                    </a:cubicBezTo>
                    <a:cubicBezTo>
                      <a:pt x="79" y="305"/>
                      <a:pt x="70" y="307"/>
                      <a:pt x="62" y="307"/>
                    </a:cubicBezTo>
                    <a:cubicBezTo>
                      <a:pt x="54" y="307"/>
                      <a:pt x="46" y="305"/>
                      <a:pt x="39" y="302"/>
                    </a:cubicBezTo>
                    <a:cubicBezTo>
                      <a:pt x="31" y="299"/>
                      <a:pt x="24" y="294"/>
                      <a:pt x="18" y="288"/>
                    </a:cubicBezTo>
                    <a:cubicBezTo>
                      <a:pt x="13" y="283"/>
                      <a:pt x="8" y="276"/>
                      <a:pt x="5" y="268"/>
                    </a:cubicBezTo>
                    <a:cubicBezTo>
                      <a:pt x="2" y="261"/>
                      <a:pt x="0" y="253"/>
                      <a:pt x="0" y="245"/>
                    </a:cubicBezTo>
                    <a:cubicBezTo>
                      <a:pt x="0" y="236"/>
                      <a:pt x="2" y="228"/>
                      <a:pt x="5" y="221"/>
                    </a:cubicBezTo>
                    <a:cubicBezTo>
                      <a:pt x="8" y="213"/>
                      <a:pt x="13" y="206"/>
                      <a:pt x="18" y="201"/>
                    </a:cubicBezTo>
                    <a:cubicBezTo>
                      <a:pt x="24" y="195"/>
                      <a:pt x="31" y="190"/>
                      <a:pt x="39" y="187"/>
                    </a:cubicBezTo>
                    <a:cubicBezTo>
                      <a:pt x="44" y="185"/>
                      <a:pt x="50" y="183"/>
                      <a:pt x="57" y="183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65"/>
                      <a:pt x="57" y="165"/>
                      <a:pt x="57" y="165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7" y="48"/>
                      <a:pt x="57" y="46"/>
                      <a:pt x="57" y="43"/>
                    </a:cubicBezTo>
                    <a:cubicBezTo>
                      <a:pt x="58" y="39"/>
                      <a:pt x="59" y="34"/>
                      <a:pt x="61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9" name="Freeform 157">
                <a:extLst>
                  <a:ext uri="{FF2B5EF4-FFF2-40B4-BE49-F238E27FC236}">
                    <a16:creationId xmlns:a16="http://schemas.microsoft.com/office/drawing/2014/main" xmlns="" id="{FA7D1D1A-5C25-40A6-913D-485F64812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9301" y="4346576"/>
                <a:ext cx="979488" cy="739775"/>
              </a:xfrm>
              <a:custGeom>
                <a:avLst/>
                <a:gdLst>
                  <a:gd name="T0" fmla="*/ 302 w 670"/>
                  <a:gd name="T1" fmla="*/ 247 h 506"/>
                  <a:gd name="T2" fmla="*/ 226 w 670"/>
                  <a:gd name="T3" fmla="*/ 314 h 506"/>
                  <a:gd name="T4" fmla="*/ 302 w 670"/>
                  <a:gd name="T5" fmla="*/ 389 h 506"/>
                  <a:gd name="T6" fmla="*/ 369 w 670"/>
                  <a:gd name="T7" fmla="*/ 314 h 506"/>
                  <a:gd name="T8" fmla="*/ 444 w 670"/>
                  <a:gd name="T9" fmla="*/ 247 h 506"/>
                  <a:gd name="T10" fmla="*/ 369 w 670"/>
                  <a:gd name="T11" fmla="*/ 172 h 506"/>
                  <a:gd name="T12" fmla="*/ 271 w 670"/>
                  <a:gd name="T13" fmla="*/ 99 h 506"/>
                  <a:gd name="T14" fmla="*/ 557 w 670"/>
                  <a:gd name="T15" fmla="*/ 105 h 506"/>
                  <a:gd name="T16" fmla="*/ 518 w 670"/>
                  <a:gd name="T17" fmla="*/ 119 h 506"/>
                  <a:gd name="T18" fmla="*/ 487 w 670"/>
                  <a:gd name="T19" fmla="*/ 179 h 506"/>
                  <a:gd name="T20" fmla="*/ 487 w 670"/>
                  <a:gd name="T21" fmla="*/ 238 h 506"/>
                  <a:gd name="T22" fmla="*/ 493 w 670"/>
                  <a:gd name="T23" fmla="*/ 282 h 506"/>
                  <a:gd name="T24" fmla="*/ 494 w 670"/>
                  <a:gd name="T25" fmla="*/ 285 h 506"/>
                  <a:gd name="T26" fmla="*/ 496 w 670"/>
                  <a:gd name="T27" fmla="*/ 292 h 506"/>
                  <a:gd name="T28" fmla="*/ 517 w 670"/>
                  <a:gd name="T29" fmla="*/ 309 h 506"/>
                  <a:gd name="T30" fmla="*/ 538 w 670"/>
                  <a:gd name="T31" fmla="*/ 319 h 506"/>
                  <a:gd name="T32" fmla="*/ 559 w 670"/>
                  <a:gd name="T33" fmla="*/ 309 h 506"/>
                  <a:gd name="T34" fmla="*/ 576 w 670"/>
                  <a:gd name="T35" fmla="*/ 320 h 506"/>
                  <a:gd name="T36" fmla="*/ 596 w 670"/>
                  <a:gd name="T37" fmla="*/ 313 h 506"/>
                  <a:gd name="T38" fmla="*/ 622 w 670"/>
                  <a:gd name="T39" fmla="*/ 300 h 506"/>
                  <a:gd name="T40" fmla="*/ 629 w 670"/>
                  <a:gd name="T41" fmla="*/ 288 h 506"/>
                  <a:gd name="T42" fmla="*/ 630 w 670"/>
                  <a:gd name="T43" fmla="*/ 284 h 506"/>
                  <a:gd name="T44" fmla="*/ 630 w 670"/>
                  <a:gd name="T45" fmla="*/ 243 h 506"/>
                  <a:gd name="T46" fmla="*/ 637 w 670"/>
                  <a:gd name="T47" fmla="*/ 199 h 506"/>
                  <a:gd name="T48" fmla="*/ 633 w 670"/>
                  <a:gd name="T49" fmla="*/ 156 h 506"/>
                  <a:gd name="T50" fmla="*/ 570 w 670"/>
                  <a:gd name="T51" fmla="*/ 105 h 506"/>
                  <a:gd name="T52" fmla="*/ 567 w 670"/>
                  <a:gd name="T53" fmla="*/ 99 h 506"/>
                  <a:gd name="T54" fmla="*/ 670 w 670"/>
                  <a:gd name="T55" fmla="*/ 506 h 506"/>
                  <a:gd name="T56" fmla="*/ 0 w 670"/>
                  <a:gd name="T57" fmla="*/ 0 h 506"/>
                  <a:gd name="T58" fmla="*/ 77 w 670"/>
                  <a:gd name="T59" fmla="*/ 75 h 506"/>
                  <a:gd name="T60" fmla="*/ 95 w 670"/>
                  <a:gd name="T61" fmla="*/ 233 h 506"/>
                  <a:gd name="T62" fmla="*/ 113 w 670"/>
                  <a:gd name="T63" fmla="*/ 75 h 506"/>
                  <a:gd name="T64" fmla="*/ 271 w 670"/>
                  <a:gd name="T65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0" h="506">
                    <a:moveTo>
                      <a:pt x="302" y="172"/>
                    </a:moveTo>
                    <a:cubicBezTo>
                      <a:pt x="302" y="247"/>
                      <a:pt x="302" y="247"/>
                      <a:pt x="302" y="247"/>
                    </a:cubicBezTo>
                    <a:cubicBezTo>
                      <a:pt x="226" y="247"/>
                      <a:pt x="226" y="247"/>
                      <a:pt x="226" y="247"/>
                    </a:cubicBezTo>
                    <a:cubicBezTo>
                      <a:pt x="226" y="314"/>
                      <a:pt x="226" y="314"/>
                      <a:pt x="226" y="314"/>
                    </a:cubicBezTo>
                    <a:cubicBezTo>
                      <a:pt x="302" y="314"/>
                      <a:pt x="302" y="314"/>
                      <a:pt x="302" y="314"/>
                    </a:cubicBezTo>
                    <a:cubicBezTo>
                      <a:pt x="302" y="389"/>
                      <a:pt x="302" y="389"/>
                      <a:pt x="302" y="389"/>
                    </a:cubicBezTo>
                    <a:cubicBezTo>
                      <a:pt x="369" y="389"/>
                      <a:pt x="369" y="389"/>
                      <a:pt x="369" y="389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444" y="314"/>
                      <a:pt x="444" y="314"/>
                      <a:pt x="444" y="314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369" y="247"/>
                      <a:pt x="369" y="247"/>
                      <a:pt x="369" y="247"/>
                    </a:cubicBezTo>
                    <a:cubicBezTo>
                      <a:pt x="369" y="172"/>
                      <a:pt x="369" y="172"/>
                      <a:pt x="369" y="172"/>
                    </a:cubicBezTo>
                    <a:lnTo>
                      <a:pt x="302" y="172"/>
                    </a:lnTo>
                    <a:close/>
                    <a:moveTo>
                      <a:pt x="271" y="99"/>
                    </a:moveTo>
                    <a:cubicBezTo>
                      <a:pt x="557" y="99"/>
                      <a:pt x="557" y="99"/>
                      <a:pt x="557" y="99"/>
                    </a:cubicBezTo>
                    <a:cubicBezTo>
                      <a:pt x="557" y="105"/>
                      <a:pt x="557" y="105"/>
                      <a:pt x="557" y="105"/>
                    </a:cubicBezTo>
                    <a:cubicBezTo>
                      <a:pt x="554" y="105"/>
                      <a:pt x="554" y="105"/>
                      <a:pt x="554" y="105"/>
                    </a:cubicBezTo>
                    <a:cubicBezTo>
                      <a:pt x="541" y="106"/>
                      <a:pt x="528" y="111"/>
                      <a:pt x="518" y="119"/>
                    </a:cubicBezTo>
                    <a:cubicBezTo>
                      <a:pt x="505" y="128"/>
                      <a:pt x="495" y="141"/>
                      <a:pt x="490" y="156"/>
                    </a:cubicBezTo>
                    <a:cubicBezTo>
                      <a:pt x="488" y="163"/>
                      <a:pt x="487" y="171"/>
                      <a:pt x="487" y="179"/>
                    </a:cubicBezTo>
                    <a:cubicBezTo>
                      <a:pt x="487" y="199"/>
                      <a:pt x="487" y="199"/>
                      <a:pt x="487" y="199"/>
                    </a:cubicBezTo>
                    <a:cubicBezTo>
                      <a:pt x="487" y="238"/>
                      <a:pt x="487" y="238"/>
                      <a:pt x="487" y="238"/>
                    </a:cubicBezTo>
                    <a:cubicBezTo>
                      <a:pt x="487" y="240"/>
                      <a:pt x="489" y="242"/>
                      <a:pt x="493" y="243"/>
                    </a:cubicBezTo>
                    <a:cubicBezTo>
                      <a:pt x="493" y="282"/>
                      <a:pt x="493" y="282"/>
                      <a:pt x="493" y="282"/>
                    </a:cubicBezTo>
                    <a:cubicBezTo>
                      <a:pt x="493" y="283"/>
                      <a:pt x="493" y="283"/>
                      <a:pt x="494" y="284"/>
                    </a:cubicBezTo>
                    <a:cubicBezTo>
                      <a:pt x="494" y="284"/>
                      <a:pt x="494" y="285"/>
                      <a:pt x="494" y="285"/>
                    </a:cubicBezTo>
                    <a:cubicBezTo>
                      <a:pt x="494" y="286"/>
                      <a:pt x="494" y="287"/>
                      <a:pt x="494" y="287"/>
                    </a:cubicBezTo>
                    <a:cubicBezTo>
                      <a:pt x="495" y="289"/>
                      <a:pt x="496" y="290"/>
                      <a:pt x="496" y="292"/>
                    </a:cubicBezTo>
                    <a:cubicBezTo>
                      <a:pt x="498" y="294"/>
                      <a:pt x="500" y="297"/>
                      <a:pt x="502" y="299"/>
                    </a:cubicBezTo>
                    <a:cubicBezTo>
                      <a:pt x="506" y="303"/>
                      <a:pt x="511" y="306"/>
                      <a:pt x="517" y="309"/>
                    </a:cubicBezTo>
                    <a:cubicBezTo>
                      <a:pt x="520" y="310"/>
                      <a:pt x="524" y="311"/>
                      <a:pt x="528" y="312"/>
                    </a:cubicBezTo>
                    <a:cubicBezTo>
                      <a:pt x="529" y="316"/>
                      <a:pt x="533" y="319"/>
                      <a:pt x="538" y="319"/>
                    </a:cubicBezTo>
                    <a:cubicBezTo>
                      <a:pt x="548" y="319"/>
                      <a:pt x="548" y="319"/>
                      <a:pt x="548" y="319"/>
                    </a:cubicBezTo>
                    <a:cubicBezTo>
                      <a:pt x="554" y="319"/>
                      <a:pt x="558" y="315"/>
                      <a:pt x="559" y="309"/>
                    </a:cubicBezTo>
                    <a:cubicBezTo>
                      <a:pt x="565" y="309"/>
                      <a:pt x="565" y="309"/>
                      <a:pt x="565" y="309"/>
                    </a:cubicBezTo>
                    <a:cubicBezTo>
                      <a:pt x="565" y="315"/>
                      <a:pt x="570" y="320"/>
                      <a:pt x="576" y="320"/>
                    </a:cubicBezTo>
                    <a:cubicBezTo>
                      <a:pt x="586" y="320"/>
                      <a:pt x="586" y="320"/>
                      <a:pt x="586" y="320"/>
                    </a:cubicBezTo>
                    <a:cubicBezTo>
                      <a:pt x="591" y="320"/>
                      <a:pt x="595" y="317"/>
                      <a:pt x="596" y="313"/>
                    </a:cubicBezTo>
                    <a:cubicBezTo>
                      <a:pt x="600" y="312"/>
                      <a:pt x="603" y="311"/>
                      <a:pt x="607" y="309"/>
                    </a:cubicBezTo>
                    <a:cubicBezTo>
                      <a:pt x="612" y="307"/>
                      <a:pt x="617" y="304"/>
                      <a:pt x="622" y="300"/>
                    </a:cubicBezTo>
                    <a:cubicBezTo>
                      <a:pt x="624" y="297"/>
                      <a:pt x="626" y="295"/>
                      <a:pt x="627" y="292"/>
                    </a:cubicBezTo>
                    <a:cubicBezTo>
                      <a:pt x="628" y="291"/>
                      <a:pt x="629" y="290"/>
                      <a:pt x="629" y="288"/>
                    </a:cubicBezTo>
                    <a:cubicBezTo>
                      <a:pt x="629" y="287"/>
                      <a:pt x="630" y="286"/>
                      <a:pt x="630" y="286"/>
                    </a:cubicBezTo>
                    <a:cubicBezTo>
                      <a:pt x="630" y="285"/>
                      <a:pt x="630" y="285"/>
                      <a:pt x="630" y="284"/>
                    </a:cubicBezTo>
                    <a:cubicBezTo>
                      <a:pt x="630" y="284"/>
                      <a:pt x="630" y="283"/>
                      <a:pt x="630" y="282"/>
                    </a:cubicBezTo>
                    <a:cubicBezTo>
                      <a:pt x="630" y="243"/>
                      <a:pt x="630" y="243"/>
                      <a:pt x="630" y="243"/>
                    </a:cubicBezTo>
                    <a:cubicBezTo>
                      <a:pt x="634" y="242"/>
                      <a:pt x="637" y="240"/>
                      <a:pt x="637" y="238"/>
                    </a:cubicBezTo>
                    <a:cubicBezTo>
                      <a:pt x="637" y="199"/>
                      <a:pt x="637" y="199"/>
                      <a:pt x="637" y="199"/>
                    </a:cubicBezTo>
                    <a:cubicBezTo>
                      <a:pt x="637" y="179"/>
                      <a:pt x="637" y="179"/>
                      <a:pt x="637" y="179"/>
                    </a:cubicBezTo>
                    <a:cubicBezTo>
                      <a:pt x="637" y="171"/>
                      <a:pt x="636" y="163"/>
                      <a:pt x="633" y="156"/>
                    </a:cubicBezTo>
                    <a:cubicBezTo>
                      <a:pt x="628" y="141"/>
                      <a:pt x="618" y="128"/>
                      <a:pt x="606" y="119"/>
                    </a:cubicBezTo>
                    <a:cubicBezTo>
                      <a:pt x="595" y="111"/>
                      <a:pt x="583" y="106"/>
                      <a:pt x="570" y="105"/>
                    </a:cubicBezTo>
                    <a:cubicBezTo>
                      <a:pt x="567" y="105"/>
                      <a:pt x="567" y="105"/>
                      <a:pt x="567" y="105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670" y="99"/>
                      <a:pt x="670" y="99"/>
                      <a:pt x="670" y="99"/>
                    </a:cubicBezTo>
                    <a:cubicBezTo>
                      <a:pt x="670" y="506"/>
                      <a:pt x="670" y="506"/>
                      <a:pt x="670" y="506"/>
                    </a:cubicBezTo>
                    <a:cubicBezTo>
                      <a:pt x="0" y="506"/>
                      <a:pt x="0" y="506"/>
                      <a:pt x="0" y="50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75"/>
                      <a:pt x="77" y="75"/>
                      <a:pt x="77" y="75"/>
                    </a:cubicBezTo>
                    <a:cubicBezTo>
                      <a:pt x="42" y="83"/>
                      <a:pt x="15" y="115"/>
                      <a:pt x="15" y="153"/>
                    </a:cubicBezTo>
                    <a:cubicBezTo>
                      <a:pt x="15" y="197"/>
                      <a:pt x="51" y="233"/>
                      <a:pt x="95" y="233"/>
                    </a:cubicBezTo>
                    <a:cubicBezTo>
                      <a:pt x="139" y="233"/>
                      <a:pt x="175" y="197"/>
                      <a:pt x="175" y="153"/>
                    </a:cubicBezTo>
                    <a:cubicBezTo>
                      <a:pt x="175" y="115"/>
                      <a:pt x="149" y="83"/>
                      <a:pt x="113" y="75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271" y="0"/>
                      <a:pt x="271" y="0"/>
                      <a:pt x="271" y="0"/>
                    </a:cubicBezTo>
                    <a:lnTo>
                      <a:pt x="27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0" name="Freeform 158">
                <a:extLst>
                  <a:ext uri="{FF2B5EF4-FFF2-40B4-BE49-F238E27FC236}">
                    <a16:creationId xmlns:a16="http://schemas.microsoft.com/office/drawing/2014/main" xmlns="" id="{E2D84283-A7D8-4B46-8286-A4B4BB3CD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276" y="4256088"/>
                <a:ext cx="68263" cy="52388"/>
              </a:xfrm>
              <a:custGeom>
                <a:avLst/>
                <a:gdLst>
                  <a:gd name="T0" fmla="*/ 0 w 46"/>
                  <a:gd name="T1" fmla="*/ 0 h 36"/>
                  <a:gd name="T2" fmla="*/ 46 w 46"/>
                  <a:gd name="T3" fmla="*/ 0 h 36"/>
                  <a:gd name="T4" fmla="*/ 42 w 46"/>
                  <a:gd name="T5" fmla="*/ 15 h 36"/>
                  <a:gd name="T6" fmla="*/ 42 w 46"/>
                  <a:gd name="T7" fmla="*/ 36 h 36"/>
                  <a:gd name="T8" fmla="*/ 0 w 46"/>
                  <a:gd name="T9" fmla="*/ 36 h 36"/>
                  <a:gd name="T10" fmla="*/ 0 w 46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36">
                    <a:moveTo>
                      <a:pt x="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4" y="4"/>
                      <a:pt x="42" y="10"/>
                      <a:pt x="42" y="15"/>
                    </a:cubicBezTo>
                    <a:cubicBezTo>
                      <a:pt x="42" y="21"/>
                      <a:pt x="42" y="30"/>
                      <a:pt x="42" y="36"/>
                    </a:cubicBezTo>
                    <a:cubicBezTo>
                      <a:pt x="0" y="36"/>
                      <a:pt x="0" y="36"/>
                      <a:pt x="0" y="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8" name="Group 40">
              <a:extLst>
                <a:ext uri="{FF2B5EF4-FFF2-40B4-BE49-F238E27FC236}">
                  <a16:creationId xmlns:a16="http://schemas.microsoft.com/office/drawing/2014/main" xmlns="" id="{CE74D16A-6EE2-4ECE-BCC5-1189E3EB7C4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306384" y="2099921"/>
              <a:ext cx="269552" cy="378776"/>
              <a:chOff x="1798" y="107"/>
              <a:chExt cx="2152" cy="3024"/>
            </a:xfrm>
            <a:solidFill>
              <a:srgbClr val="FFFFFF">
                <a:alpha val="28000"/>
              </a:srgbClr>
            </a:solidFill>
          </p:grpSpPr>
          <p:sp>
            <p:nvSpPr>
              <p:cNvPr id="300" name="Freeform 41">
                <a:extLst>
                  <a:ext uri="{FF2B5EF4-FFF2-40B4-BE49-F238E27FC236}">
                    <a16:creationId xmlns:a16="http://schemas.microsoft.com/office/drawing/2014/main" xmlns="" id="{21CF14CD-E2EF-4E67-BE02-227CBDEC3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8" y="443"/>
                <a:ext cx="2152" cy="2688"/>
              </a:xfrm>
              <a:custGeom>
                <a:avLst/>
                <a:gdLst>
                  <a:gd name="T0" fmla="*/ 462 w 1432"/>
                  <a:gd name="T1" fmla="*/ 191 h 1792"/>
                  <a:gd name="T2" fmla="*/ 427 w 1432"/>
                  <a:gd name="T3" fmla="*/ 191 h 1792"/>
                  <a:gd name="T4" fmla="*/ 337 w 1432"/>
                  <a:gd name="T5" fmla="*/ 95 h 1792"/>
                  <a:gd name="T6" fmla="*/ 429 w 1432"/>
                  <a:gd name="T7" fmla="*/ 0 h 1792"/>
                  <a:gd name="T8" fmla="*/ 947 w 1432"/>
                  <a:gd name="T9" fmla="*/ 0 h 1792"/>
                  <a:gd name="T10" fmla="*/ 1040 w 1432"/>
                  <a:gd name="T11" fmla="*/ 94 h 1792"/>
                  <a:gd name="T12" fmla="*/ 949 w 1432"/>
                  <a:gd name="T13" fmla="*/ 191 h 1792"/>
                  <a:gd name="T14" fmla="*/ 910 w 1432"/>
                  <a:gd name="T15" fmla="*/ 191 h 1792"/>
                  <a:gd name="T16" fmla="*/ 909 w 1432"/>
                  <a:gd name="T17" fmla="*/ 214 h 1792"/>
                  <a:gd name="T18" fmla="*/ 910 w 1432"/>
                  <a:gd name="T19" fmla="*/ 678 h 1792"/>
                  <a:gd name="T20" fmla="*/ 920 w 1432"/>
                  <a:gd name="T21" fmla="*/ 713 h 1792"/>
                  <a:gd name="T22" fmla="*/ 1404 w 1432"/>
                  <a:gd name="T23" fmla="*/ 1527 h 1792"/>
                  <a:gd name="T24" fmla="*/ 1419 w 1432"/>
                  <a:gd name="T25" fmla="*/ 1659 h 1792"/>
                  <a:gd name="T26" fmla="*/ 1307 w 1432"/>
                  <a:gd name="T27" fmla="*/ 1783 h 1792"/>
                  <a:gd name="T28" fmla="*/ 1266 w 1432"/>
                  <a:gd name="T29" fmla="*/ 1791 h 1792"/>
                  <a:gd name="T30" fmla="*/ 192 w 1432"/>
                  <a:gd name="T31" fmla="*/ 1792 h 1792"/>
                  <a:gd name="T32" fmla="*/ 53 w 1432"/>
                  <a:gd name="T33" fmla="*/ 1721 h 1792"/>
                  <a:gd name="T34" fmla="*/ 36 w 1432"/>
                  <a:gd name="T35" fmla="*/ 1526 h 1792"/>
                  <a:gd name="T36" fmla="*/ 456 w 1432"/>
                  <a:gd name="T37" fmla="*/ 709 h 1792"/>
                  <a:gd name="T38" fmla="*/ 462 w 1432"/>
                  <a:gd name="T39" fmla="*/ 684 h 1792"/>
                  <a:gd name="T40" fmla="*/ 464 w 1432"/>
                  <a:gd name="T41" fmla="*/ 204 h 1792"/>
                  <a:gd name="T42" fmla="*/ 462 w 1432"/>
                  <a:gd name="T43" fmla="*/ 191 h 1792"/>
                  <a:gd name="T44" fmla="*/ 528 w 1432"/>
                  <a:gd name="T45" fmla="*/ 128 h 1792"/>
                  <a:gd name="T46" fmla="*/ 528 w 1432"/>
                  <a:gd name="T47" fmla="*/ 155 h 1792"/>
                  <a:gd name="T48" fmla="*/ 527 w 1432"/>
                  <a:gd name="T49" fmla="*/ 677 h 1792"/>
                  <a:gd name="T50" fmla="*/ 518 w 1432"/>
                  <a:gd name="T51" fmla="*/ 715 h 1792"/>
                  <a:gd name="T52" fmla="*/ 88 w 1432"/>
                  <a:gd name="T53" fmla="*/ 1558 h 1792"/>
                  <a:gd name="T54" fmla="*/ 191 w 1432"/>
                  <a:gd name="T55" fmla="*/ 1727 h 1792"/>
                  <a:gd name="T56" fmla="*/ 1251 w 1432"/>
                  <a:gd name="T57" fmla="*/ 1727 h 1792"/>
                  <a:gd name="T58" fmla="*/ 1344 w 1432"/>
                  <a:gd name="T59" fmla="*/ 1668 h 1792"/>
                  <a:gd name="T60" fmla="*/ 1350 w 1432"/>
                  <a:gd name="T61" fmla="*/ 1556 h 1792"/>
                  <a:gd name="T62" fmla="*/ 871 w 1432"/>
                  <a:gd name="T63" fmla="*/ 733 h 1792"/>
                  <a:gd name="T64" fmla="*/ 849 w 1432"/>
                  <a:gd name="T65" fmla="*/ 652 h 1792"/>
                  <a:gd name="T66" fmla="*/ 849 w 1432"/>
                  <a:gd name="T67" fmla="*/ 148 h 1792"/>
                  <a:gd name="T68" fmla="*/ 849 w 1432"/>
                  <a:gd name="T69" fmla="*/ 128 h 1792"/>
                  <a:gd name="T70" fmla="*/ 946 w 1432"/>
                  <a:gd name="T71" fmla="*/ 127 h 1792"/>
                  <a:gd name="T72" fmla="*/ 976 w 1432"/>
                  <a:gd name="T73" fmla="*/ 97 h 1792"/>
                  <a:gd name="T74" fmla="*/ 945 w 1432"/>
                  <a:gd name="T75" fmla="*/ 64 h 1792"/>
                  <a:gd name="T76" fmla="*/ 933 w 1432"/>
                  <a:gd name="T77" fmla="*/ 64 h 1792"/>
                  <a:gd name="T78" fmla="*/ 445 w 1432"/>
                  <a:gd name="T79" fmla="*/ 64 h 1792"/>
                  <a:gd name="T80" fmla="*/ 427 w 1432"/>
                  <a:gd name="T81" fmla="*/ 65 h 1792"/>
                  <a:gd name="T82" fmla="*/ 403 w 1432"/>
                  <a:gd name="T83" fmla="*/ 106 h 1792"/>
                  <a:gd name="T84" fmla="*/ 437 w 1432"/>
                  <a:gd name="T85" fmla="*/ 128 h 1792"/>
                  <a:gd name="T86" fmla="*/ 528 w 1432"/>
                  <a:gd name="T87" fmla="*/ 128 h 1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2" h="1792">
                    <a:moveTo>
                      <a:pt x="462" y="191"/>
                    </a:moveTo>
                    <a:cubicBezTo>
                      <a:pt x="449" y="191"/>
                      <a:pt x="438" y="192"/>
                      <a:pt x="427" y="191"/>
                    </a:cubicBezTo>
                    <a:cubicBezTo>
                      <a:pt x="376" y="188"/>
                      <a:pt x="336" y="145"/>
                      <a:pt x="337" y="95"/>
                    </a:cubicBezTo>
                    <a:cubicBezTo>
                      <a:pt x="337" y="44"/>
                      <a:pt x="378" y="1"/>
                      <a:pt x="429" y="0"/>
                    </a:cubicBezTo>
                    <a:cubicBezTo>
                      <a:pt x="602" y="0"/>
                      <a:pt x="774" y="0"/>
                      <a:pt x="947" y="0"/>
                    </a:cubicBezTo>
                    <a:cubicBezTo>
                      <a:pt x="998" y="1"/>
                      <a:pt x="1039" y="44"/>
                      <a:pt x="1040" y="94"/>
                    </a:cubicBezTo>
                    <a:cubicBezTo>
                      <a:pt x="1041" y="146"/>
                      <a:pt x="1001" y="189"/>
                      <a:pt x="949" y="191"/>
                    </a:cubicBezTo>
                    <a:cubicBezTo>
                      <a:pt x="937" y="192"/>
                      <a:pt x="925" y="191"/>
                      <a:pt x="910" y="191"/>
                    </a:cubicBezTo>
                    <a:cubicBezTo>
                      <a:pt x="910" y="200"/>
                      <a:pt x="909" y="207"/>
                      <a:pt x="909" y="214"/>
                    </a:cubicBezTo>
                    <a:cubicBezTo>
                      <a:pt x="909" y="369"/>
                      <a:pt x="909" y="523"/>
                      <a:pt x="910" y="678"/>
                    </a:cubicBezTo>
                    <a:cubicBezTo>
                      <a:pt x="910" y="690"/>
                      <a:pt x="914" y="703"/>
                      <a:pt x="920" y="713"/>
                    </a:cubicBezTo>
                    <a:cubicBezTo>
                      <a:pt x="1081" y="985"/>
                      <a:pt x="1241" y="1256"/>
                      <a:pt x="1404" y="1527"/>
                    </a:cubicBezTo>
                    <a:cubicBezTo>
                      <a:pt x="1430" y="1570"/>
                      <a:pt x="1432" y="1614"/>
                      <a:pt x="1419" y="1659"/>
                    </a:cubicBezTo>
                    <a:cubicBezTo>
                      <a:pt x="1402" y="1718"/>
                      <a:pt x="1364" y="1761"/>
                      <a:pt x="1307" y="1783"/>
                    </a:cubicBezTo>
                    <a:cubicBezTo>
                      <a:pt x="1294" y="1788"/>
                      <a:pt x="1280" y="1791"/>
                      <a:pt x="1266" y="1791"/>
                    </a:cubicBezTo>
                    <a:cubicBezTo>
                      <a:pt x="908" y="1791"/>
                      <a:pt x="550" y="1791"/>
                      <a:pt x="192" y="1792"/>
                    </a:cubicBezTo>
                    <a:cubicBezTo>
                      <a:pt x="131" y="1792"/>
                      <a:pt x="86" y="1767"/>
                      <a:pt x="53" y="1721"/>
                    </a:cubicBezTo>
                    <a:cubicBezTo>
                      <a:pt x="9" y="1660"/>
                      <a:pt x="0" y="1596"/>
                      <a:pt x="36" y="1526"/>
                    </a:cubicBezTo>
                    <a:cubicBezTo>
                      <a:pt x="176" y="1254"/>
                      <a:pt x="316" y="981"/>
                      <a:pt x="456" y="709"/>
                    </a:cubicBezTo>
                    <a:cubicBezTo>
                      <a:pt x="459" y="701"/>
                      <a:pt x="462" y="693"/>
                      <a:pt x="462" y="684"/>
                    </a:cubicBezTo>
                    <a:cubicBezTo>
                      <a:pt x="463" y="524"/>
                      <a:pt x="463" y="364"/>
                      <a:pt x="464" y="204"/>
                    </a:cubicBezTo>
                    <a:cubicBezTo>
                      <a:pt x="464" y="201"/>
                      <a:pt x="463" y="198"/>
                      <a:pt x="462" y="191"/>
                    </a:cubicBezTo>
                    <a:close/>
                    <a:moveTo>
                      <a:pt x="528" y="128"/>
                    </a:moveTo>
                    <a:cubicBezTo>
                      <a:pt x="528" y="139"/>
                      <a:pt x="528" y="147"/>
                      <a:pt x="528" y="155"/>
                    </a:cubicBezTo>
                    <a:cubicBezTo>
                      <a:pt x="528" y="329"/>
                      <a:pt x="528" y="503"/>
                      <a:pt x="527" y="677"/>
                    </a:cubicBezTo>
                    <a:cubicBezTo>
                      <a:pt x="527" y="690"/>
                      <a:pt x="524" y="704"/>
                      <a:pt x="518" y="715"/>
                    </a:cubicBezTo>
                    <a:cubicBezTo>
                      <a:pt x="375" y="996"/>
                      <a:pt x="232" y="1277"/>
                      <a:pt x="88" y="1558"/>
                    </a:cubicBezTo>
                    <a:cubicBezTo>
                      <a:pt x="53" y="1628"/>
                      <a:pt x="113" y="1727"/>
                      <a:pt x="191" y="1727"/>
                    </a:cubicBezTo>
                    <a:cubicBezTo>
                      <a:pt x="545" y="1727"/>
                      <a:pt x="898" y="1727"/>
                      <a:pt x="1251" y="1727"/>
                    </a:cubicBezTo>
                    <a:cubicBezTo>
                      <a:pt x="1294" y="1727"/>
                      <a:pt x="1324" y="1703"/>
                      <a:pt x="1344" y="1668"/>
                    </a:cubicBezTo>
                    <a:cubicBezTo>
                      <a:pt x="1365" y="1633"/>
                      <a:pt x="1372" y="1594"/>
                      <a:pt x="1350" y="1556"/>
                    </a:cubicBezTo>
                    <a:cubicBezTo>
                      <a:pt x="1190" y="1282"/>
                      <a:pt x="1031" y="1007"/>
                      <a:pt x="871" y="733"/>
                    </a:cubicBezTo>
                    <a:cubicBezTo>
                      <a:pt x="856" y="707"/>
                      <a:pt x="849" y="681"/>
                      <a:pt x="849" y="652"/>
                    </a:cubicBezTo>
                    <a:cubicBezTo>
                      <a:pt x="849" y="484"/>
                      <a:pt x="849" y="316"/>
                      <a:pt x="849" y="148"/>
                    </a:cubicBezTo>
                    <a:cubicBezTo>
                      <a:pt x="848" y="142"/>
                      <a:pt x="849" y="135"/>
                      <a:pt x="849" y="128"/>
                    </a:cubicBezTo>
                    <a:cubicBezTo>
                      <a:pt x="883" y="128"/>
                      <a:pt x="914" y="128"/>
                      <a:pt x="946" y="127"/>
                    </a:cubicBezTo>
                    <a:cubicBezTo>
                      <a:pt x="964" y="127"/>
                      <a:pt x="976" y="113"/>
                      <a:pt x="976" y="97"/>
                    </a:cubicBezTo>
                    <a:cubicBezTo>
                      <a:pt x="977" y="80"/>
                      <a:pt x="963" y="66"/>
                      <a:pt x="945" y="64"/>
                    </a:cubicBezTo>
                    <a:cubicBezTo>
                      <a:pt x="941" y="64"/>
                      <a:pt x="937" y="64"/>
                      <a:pt x="933" y="64"/>
                    </a:cubicBezTo>
                    <a:cubicBezTo>
                      <a:pt x="770" y="64"/>
                      <a:pt x="608" y="64"/>
                      <a:pt x="445" y="64"/>
                    </a:cubicBezTo>
                    <a:cubicBezTo>
                      <a:pt x="439" y="64"/>
                      <a:pt x="433" y="64"/>
                      <a:pt x="427" y="65"/>
                    </a:cubicBezTo>
                    <a:cubicBezTo>
                      <a:pt x="408" y="68"/>
                      <a:pt x="396" y="88"/>
                      <a:pt x="403" y="106"/>
                    </a:cubicBezTo>
                    <a:cubicBezTo>
                      <a:pt x="408" y="122"/>
                      <a:pt x="420" y="128"/>
                      <a:pt x="437" y="128"/>
                    </a:cubicBezTo>
                    <a:cubicBezTo>
                      <a:pt x="466" y="128"/>
                      <a:pt x="496" y="128"/>
                      <a:pt x="528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1" name="Freeform 42">
                <a:extLst>
                  <a:ext uri="{FF2B5EF4-FFF2-40B4-BE49-F238E27FC236}">
                    <a16:creationId xmlns:a16="http://schemas.microsoft.com/office/drawing/2014/main" xmlns="" id="{D088B1E6-9DC6-443D-8C8A-232659017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107"/>
                <a:ext cx="194" cy="192"/>
              </a:xfrm>
              <a:custGeom>
                <a:avLst/>
                <a:gdLst>
                  <a:gd name="T0" fmla="*/ 65 w 129"/>
                  <a:gd name="T1" fmla="*/ 128 h 128"/>
                  <a:gd name="T2" fmla="*/ 1 w 129"/>
                  <a:gd name="T3" fmla="*/ 65 h 128"/>
                  <a:gd name="T4" fmla="*/ 64 w 129"/>
                  <a:gd name="T5" fmla="*/ 0 h 128"/>
                  <a:gd name="T6" fmla="*/ 128 w 129"/>
                  <a:gd name="T7" fmla="*/ 64 h 128"/>
                  <a:gd name="T8" fmla="*/ 65 w 129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8">
                    <a:moveTo>
                      <a:pt x="65" y="128"/>
                    </a:moveTo>
                    <a:cubicBezTo>
                      <a:pt x="30" y="128"/>
                      <a:pt x="1" y="101"/>
                      <a:pt x="1" y="65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99" y="0"/>
                      <a:pt x="128" y="29"/>
                      <a:pt x="128" y="64"/>
                    </a:cubicBezTo>
                    <a:cubicBezTo>
                      <a:pt x="129" y="98"/>
                      <a:pt x="100" y="127"/>
                      <a:pt x="65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2" name="Freeform 43">
                <a:extLst>
                  <a:ext uri="{FF2B5EF4-FFF2-40B4-BE49-F238E27FC236}">
                    <a16:creationId xmlns:a16="http://schemas.microsoft.com/office/drawing/2014/main" xmlns="" id="{463D57CE-6C01-44F6-99DC-70318E68C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03"/>
                <a:ext cx="193" cy="192"/>
              </a:xfrm>
              <a:custGeom>
                <a:avLst/>
                <a:gdLst>
                  <a:gd name="T0" fmla="*/ 63 w 128"/>
                  <a:gd name="T1" fmla="*/ 128 h 128"/>
                  <a:gd name="T2" fmla="*/ 0 w 128"/>
                  <a:gd name="T3" fmla="*/ 64 h 128"/>
                  <a:gd name="T4" fmla="*/ 63 w 128"/>
                  <a:gd name="T5" fmla="*/ 0 h 128"/>
                  <a:gd name="T6" fmla="*/ 127 w 128"/>
                  <a:gd name="T7" fmla="*/ 65 h 128"/>
                  <a:gd name="T8" fmla="*/ 63 w 128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28">
                    <a:moveTo>
                      <a:pt x="63" y="128"/>
                    </a:moveTo>
                    <a:cubicBezTo>
                      <a:pt x="28" y="128"/>
                      <a:pt x="0" y="100"/>
                      <a:pt x="0" y="64"/>
                    </a:cubicBezTo>
                    <a:cubicBezTo>
                      <a:pt x="0" y="29"/>
                      <a:pt x="28" y="0"/>
                      <a:pt x="63" y="0"/>
                    </a:cubicBezTo>
                    <a:cubicBezTo>
                      <a:pt x="98" y="0"/>
                      <a:pt x="128" y="30"/>
                      <a:pt x="127" y="65"/>
                    </a:cubicBezTo>
                    <a:cubicBezTo>
                      <a:pt x="127" y="100"/>
                      <a:pt x="98" y="128"/>
                      <a:pt x="63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3" name="Freeform 45">
                <a:extLst>
                  <a:ext uri="{FF2B5EF4-FFF2-40B4-BE49-F238E27FC236}">
                    <a16:creationId xmlns:a16="http://schemas.microsoft.com/office/drawing/2014/main" xmlns="" id="{F31D42CD-F82F-4179-98AA-CF92CCC75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3" y="1773"/>
                <a:ext cx="1771" cy="1172"/>
              </a:xfrm>
              <a:custGeom>
                <a:avLst/>
                <a:gdLst>
                  <a:gd name="T0" fmla="*/ 805 w 1178"/>
                  <a:gd name="T1" fmla="*/ 78 h 781"/>
                  <a:gd name="T2" fmla="*/ 936 w 1178"/>
                  <a:gd name="T3" fmla="*/ 306 h 781"/>
                  <a:gd name="T4" fmla="*/ 1154 w 1178"/>
                  <a:gd name="T5" fmla="*/ 685 h 781"/>
                  <a:gd name="T6" fmla="*/ 1098 w 1178"/>
                  <a:gd name="T7" fmla="*/ 781 h 781"/>
                  <a:gd name="T8" fmla="*/ 79 w 1178"/>
                  <a:gd name="T9" fmla="*/ 781 h 781"/>
                  <a:gd name="T10" fmla="*/ 21 w 1178"/>
                  <a:gd name="T11" fmla="*/ 689 h 781"/>
                  <a:gd name="T12" fmla="*/ 329 w 1178"/>
                  <a:gd name="T13" fmla="*/ 84 h 781"/>
                  <a:gd name="T14" fmla="*/ 502 w 1178"/>
                  <a:gd name="T15" fmla="*/ 33 h 781"/>
                  <a:gd name="T16" fmla="*/ 569 w 1178"/>
                  <a:gd name="T17" fmla="*/ 83 h 781"/>
                  <a:gd name="T18" fmla="*/ 655 w 1178"/>
                  <a:gd name="T19" fmla="*/ 132 h 781"/>
                  <a:gd name="T20" fmla="*/ 787 w 1178"/>
                  <a:gd name="T21" fmla="*/ 92 h 781"/>
                  <a:gd name="T22" fmla="*/ 802 w 1178"/>
                  <a:gd name="T23" fmla="*/ 79 h 781"/>
                  <a:gd name="T24" fmla="*/ 805 w 1178"/>
                  <a:gd name="T25" fmla="*/ 78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8" h="781">
                    <a:moveTo>
                      <a:pt x="805" y="78"/>
                    </a:moveTo>
                    <a:cubicBezTo>
                      <a:pt x="849" y="154"/>
                      <a:pt x="892" y="230"/>
                      <a:pt x="936" y="306"/>
                    </a:cubicBezTo>
                    <a:cubicBezTo>
                      <a:pt x="1008" y="433"/>
                      <a:pt x="1079" y="560"/>
                      <a:pt x="1154" y="685"/>
                    </a:cubicBezTo>
                    <a:cubicBezTo>
                      <a:pt x="1178" y="727"/>
                      <a:pt x="1146" y="781"/>
                      <a:pt x="1098" y="781"/>
                    </a:cubicBezTo>
                    <a:cubicBezTo>
                      <a:pt x="758" y="780"/>
                      <a:pt x="419" y="780"/>
                      <a:pt x="79" y="781"/>
                    </a:cubicBezTo>
                    <a:cubicBezTo>
                      <a:pt x="32" y="781"/>
                      <a:pt x="0" y="730"/>
                      <a:pt x="21" y="689"/>
                    </a:cubicBezTo>
                    <a:cubicBezTo>
                      <a:pt x="125" y="488"/>
                      <a:pt x="226" y="286"/>
                      <a:pt x="329" y="84"/>
                    </a:cubicBezTo>
                    <a:cubicBezTo>
                      <a:pt x="359" y="25"/>
                      <a:pt x="441" y="0"/>
                      <a:pt x="502" y="33"/>
                    </a:cubicBezTo>
                    <a:cubicBezTo>
                      <a:pt x="527" y="46"/>
                      <a:pt x="548" y="65"/>
                      <a:pt x="569" y="83"/>
                    </a:cubicBezTo>
                    <a:cubicBezTo>
                      <a:pt x="595" y="105"/>
                      <a:pt x="622" y="124"/>
                      <a:pt x="655" y="132"/>
                    </a:cubicBezTo>
                    <a:cubicBezTo>
                      <a:pt x="707" y="144"/>
                      <a:pt x="749" y="125"/>
                      <a:pt x="787" y="92"/>
                    </a:cubicBezTo>
                    <a:cubicBezTo>
                      <a:pt x="792" y="88"/>
                      <a:pt x="797" y="83"/>
                      <a:pt x="802" y="79"/>
                    </a:cubicBezTo>
                    <a:cubicBezTo>
                      <a:pt x="803" y="78"/>
                      <a:pt x="803" y="78"/>
                      <a:pt x="805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xmlns="" id="{6C51FD42-21B9-43D4-A8EC-538C27DA8AB0}"/>
                </a:ext>
              </a:extLst>
            </p:cNvPr>
            <p:cNvSpPr/>
            <p:nvPr userDrawn="1"/>
          </p:nvSpPr>
          <p:spPr>
            <a:xfrm rot="16200000" flipH="1">
              <a:off x="4544379" y="-398872"/>
              <a:ext cx="45719" cy="9153523"/>
            </a:xfrm>
            <a:prstGeom prst="rect">
              <a:avLst/>
            </a:prstGeom>
            <a:solidFill>
              <a:srgbClr val="009FDA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xmlns="" id="{14803907-D560-4C52-923A-1DF2E9E1A6F5}"/>
                </a:ext>
              </a:extLst>
            </p:cNvPr>
            <p:cNvGrpSpPr/>
            <p:nvPr userDrawn="1"/>
          </p:nvGrpSpPr>
          <p:grpSpPr>
            <a:xfrm>
              <a:off x="7503032" y="33559"/>
              <a:ext cx="698710" cy="623536"/>
              <a:chOff x="9190927" y="210961"/>
              <a:chExt cx="814733" cy="727076"/>
            </a:xfrm>
          </p:grpSpPr>
          <p:grpSp>
            <p:nvGrpSpPr>
              <p:cNvPr id="260" name="Group 4">
                <a:extLst>
                  <a:ext uri="{FF2B5EF4-FFF2-40B4-BE49-F238E27FC236}">
                    <a16:creationId xmlns:a16="http://schemas.microsoft.com/office/drawing/2014/main" xmlns="" id="{0CBE5023-0039-4304-BCDD-E27DA5F1600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6" name="Freeform 5">
                  <a:extLst>
                    <a:ext uri="{FF2B5EF4-FFF2-40B4-BE49-F238E27FC236}">
                      <a16:creationId xmlns:a16="http://schemas.microsoft.com/office/drawing/2014/main" xmlns="" id="{EDD31BE2-22C1-4BC5-922F-4CB72895F8A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7" name="Freeform 6">
                  <a:extLst>
                    <a:ext uri="{FF2B5EF4-FFF2-40B4-BE49-F238E27FC236}">
                      <a16:creationId xmlns:a16="http://schemas.microsoft.com/office/drawing/2014/main" xmlns="" id="{6BBE0D01-C90E-4D57-B4A9-6F4F707831F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8" name="Freeform 7">
                  <a:extLst>
                    <a:ext uri="{FF2B5EF4-FFF2-40B4-BE49-F238E27FC236}">
                      <a16:creationId xmlns:a16="http://schemas.microsoft.com/office/drawing/2014/main" xmlns="" id="{D676979B-2804-4F29-9C34-252EB50C195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9" name="Oval 8">
                  <a:extLst>
                    <a:ext uri="{FF2B5EF4-FFF2-40B4-BE49-F238E27FC236}">
                      <a16:creationId xmlns:a16="http://schemas.microsoft.com/office/drawing/2014/main" xmlns="" id="{CEB6A559-E6E6-41D4-BA0C-4607522E77A4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1" name="Group 4">
                <a:extLst>
                  <a:ext uri="{FF2B5EF4-FFF2-40B4-BE49-F238E27FC236}">
                    <a16:creationId xmlns:a16="http://schemas.microsoft.com/office/drawing/2014/main" xmlns="" id="{A3FE6F58-C31C-44B3-8BA5-F6BB172BE64C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2" name="Freeform 5">
                  <a:extLst>
                    <a:ext uri="{FF2B5EF4-FFF2-40B4-BE49-F238E27FC236}">
                      <a16:creationId xmlns:a16="http://schemas.microsoft.com/office/drawing/2014/main" xmlns="" id="{B7F56473-3D14-4ED1-A3EB-F4A7180B20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3" name="Freeform 6">
                  <a:extLst>
                    <a:ext uri="{FF2B5EF4-FFF2-40B4-BE49-F238E27FC236}">
                      <a16:creationId xmlns:a16="http://schemas.microsoft.com/office/drawing/2014/main" xmlns="" id="{72638918-AF3C-4AD8-B88E-72A978B5350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4" name="Freeform 7">
                  <a:extLst>
                    <a:ext uri="{FF2B5EF4-FFF2-40B4-BE49-F238E27FC236}">
                      <a16:creationId xmlns:a16="http://schemas.microsoft.com/office/drawing/2014/main" xmlns="" id="{EF4A916B-8649-409B-B1F6-6CF88B0474D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5" name="Oval 8">
                  <a:extLst>
                    <a:ext uri="{FF2B5EF4-FFF2-40B4-BE49-F238E27FC236}">
                      <a16:creationId xmlns:a16="http://schemas.microsoft.com/office/drawing/2014/main" xmlns="" id="{9AA4566B-D9AC-4695-A9F4-9A643383DC1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2" name="Group 4">
                <a:extLst>
                  <a:ext uri="{FF2B5EF4-FFF2-40B4-BE49-F238E27FC236}">
                    <a16:creationId xmlns:a16="http://schemas.microsoft.com/office/drawing/2014/main" xmlns="" id="{B0B2F3A2-BC34-454E-9C55-3C35D997374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8" name="Freeform 5">
                  <a:extLst>
                    <a:ext uri="{FF2B5EF4-FFF2-40B4-BE49-F238E27FC236}">
                      <a16:creationId xmlns:a16="http://schemas.microsoft.com/office/drawing/2014/main" xmlns="" id="{1ACDD0D5-65A5-4029-8B07-8E11EAF4320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9" name="Freeform 6">
                  <a:extLst>
                    <a:ext uri="{FF2B5EF4-FFF2-40B4-BE49-F238E27FC236}">
                      <a16:creationId xmlns:a16="http://schemas.microsoft.com/office/drawing/2014/main" xmlns="" id="{0147FADB-5CF5-40F2-84C0-BE04D21867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0" name="Freeform 7">
                  <a:extLst>
                    <a:ext uri="{FF2B5EF4-FFF2-40B4-BE49-F238E27FC236}">
                      <a16:creationId xmlns:a16="http://schemas.microsoft.com/office/drawing/2014/main" xmlns="" id="{BBFB1532-9FAC-4535-8AFB-2F1CA587270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1" name="Oval 8">
                  <a:extLst>
                    <a:ext uri="{FF2B5EF4-FFF2-40B4-BE49-F238E27FC236}">
                      <a16:creationId xmlns:a16="http://schemas.microsoft.com/office/drawing/2014/main" xmlns="" id="{FB0D6103-8662-459A-ACF3-33EFA6C9CC71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3" name="Group 4">
                <a:extLst>
                  <a:ext uri="{FF2B5EF4-FFF2-40B4-BE49-F238E27FC236}">
                    <a16:creationId xmlns:a16="http://schemas.microsoft.com/office/drawing/2014/main" xmlns="" id="{3DCF2843-CFBB-4FAD-90E5-79F019ED5AED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4" name="Freeform 5">
                  <a:extLst>
                    <a:ext uri="{FF2B5EF4-FFF2-40B4-BE49-F238E27FC236}">
                      <a16:creationId xmlns:a16="http://schemas.microsoft.com/office/drawing/2014/main" xmlns="" id="{2AE913A6-998B-49EF-89B8-F63A13A22BF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5" name="Freeform 6">
                  <a:extLst>
                    <a:ext uri="{FF2B5EF4-FFF2-40B4-BE49-F238E27FC236}">
                      <a16:creationId xmlns:a16="http://schemas.microsoft.com/office/drawing/2014/main" xmlns="" id="{65C8582C-E643-418C-A010-5F15F45C43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6" name="Freeform 7">
                  <a:extLst>
                    <a:ext uri="{FF2B5EF4-FFF2-40B4-BE49-F238E27FC236}">
                      <a16:creationId xmlns:a16="http://schemas.microsoft.com/office/drawing/2014/main" xmlns="" id="{96D1807B-E19F-4F7F-BDB3-8066EEED8DA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7" name="Oval 8">
                  <a:extLst>
                    <a:ext uri="{FF2B5EF4-FFF2-40B4-BE49-F238E27FC236}">
                      <a16:creationId xmlns:a16="http://schemas.microsoft.com/office/drawing/2014/main" xmlns="" id="{F17264AA-43ED-4DE9-B39D-B6B3E23949D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4" name="Group 4">
                <a:extLst>
                  <a:ext uri="{FF2B5EF4-FFF2-40B4-BE49-F238E27FC236}">
                    <a16:creationId xmlns:a16="http://schemas.microsoft.com/office/drawing/2014/main" xmlns="" id="{BD8DC4EA-65FB-4225-8252-899220756DFB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0" name="Freeform 5">
                  <a:extLst>
                    <a:ext uri="{FF2B5EF4-FFF2-40B4-BE49-F238E27FC236}">
                      <a16:creationId xmlns:a16="http://schemas.microsoft.com/office/drawing/2014/main" xmlns="" id="{84AAA033-F6F4-4E75-8129-5A9B87697D4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1" name="Freeform 6">
                  <a:extLst>
                    <a:ext uri="{FF2B5EF4-FFF2-40B4-BE49-F238E27FC236}">
                      <a16:creationId xmlns:a16="http://schemas.microsoft.com/office/drawing/2014/main" xmlns="" id="{49F142C7-2552-4C79-81A9-CE6F8C8C70E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2" name="Freeform 7">
                  <a:extLst>
                    <a:ext uri="{FF2B5EF4-FFF2-40B4-BE49-F238E27FC236}">
                      <a16:creationId xmlns:a16="http://schemas.microsoft.com/office/drawing/2014/main" xmlns="" id="{674C8007-12A0-4FF8-810C-36637ACB491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3" name="Oval 8">
                  <a:extLst>
                    <a:ext uri="{FF2B5EF4-FFF2-40B4-BE49-F238E27FC236}">
                      <a16:creationId xmlns:a16="http://schemas.microsoft.com/office/drawing/2014/main" xmlns="" id="{D0BAE79C-B03D-4D3C-BD22-EEA214D7089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5" name="Group 4">
                <a:extLst>
                  <a:ext uri="{FF2B5EF4-FFF2-40B4-BE49-F238E27FC236}">
                    <a16:creationId xmlns:a16="http://schemas.microsoft.com/office/drawing/2014/main" xmlns="" id="{10374411-5B9A-4473-9C11-D230B90AF64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6" name="Freeform 5">
                  <a:extLst>
                    <a:ext uri="{FF2B5EF4-FFF2-40B4-BE49-F238E27FC236}">
                      <a16:creationId xmlns:a16="http://schemas.microsoft.com/office/drawing/2014/main" xmlns="" id="{27467283-7DA6-4FF1-87E0-1C9B77064C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7" name="Freeform 6">
                  <a:extLst>
                    <a:ext uri="{FF2B5EF4-FFF2-40B4-BE49-F238E27FC236}">
                      <a16:creationId xmlns:a16="http://schemas.microsoft.com/office/drawing/2014/main" xmlns="" id="{9ACB551F-B9E7-45AB-874B-9FDF36E692C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8" name="Freeform 7">
                  <a:extLst>
                    <a:ext uri="{FF2B5EF4-FFF2-40B4-BE49-F238E27FC236}">
                      <a16:creationId xmlns:a16="http://schemas.microsoft.com/office/drawing/2014/main" xmlns="" id="{26F640E1-57DA-4046-8A92-F0337A7CE8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9" name="Oval 8">
                  <a:extLst>
                    <a:ext uri="{FF2B5EF4-FFF2-40B4-BE49-F238E27FC236}">
                      <a16:creationId xmlns:a16="http://schemas.microsoft.com/office/drawing/2014/main" xmlns="" id="{B04EE586-93D1-40F1-8366-8BD4CB9702B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6" name="Group 4">
                <a:extLst>
                  <a:ext uri="{FF2B5EF4-FFF2-40B4-BE49-F238E27FC236}">
                    <a16:creationId xmlns:a16="http://schemas.microsoft.com/office/drawing/2014/main" xmlns="" id="{3030F8B8-1387-492B-9469-4CB8CC585AA9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2" name="Freeform 5">
                  <a:extLst>
                    <a:ext uri="{FF2B5EF4-FFF2-40B4-BE49-F238E27FC236}">
                      <a16:creationId xmlns:a16="http://schemas.microsoft.com/office/drawing/2014/main" xmlns="" id="{0ED9C729-AD53-4DA4-BF8E-21398571CF3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3" name="Freeform 6">
                  <a:extLst>
                    <a:ext uri="{FF2B5EF4-FFF2-40B4-BE49-F238E27FC236}">
                      <a16:creationId xmlns:a16="http://schemas.microsoft.com/office/drawing/2014/main" xmlns="" id="{84538DF4-47E6-4B0A-A82F-0E89627CB8A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4" name="Freeform 7">
                  <a:extLst>
                    <a:ext uri="{FF2B5EF4-FFF2-40B4-BE49-F238E27FC236}">
                      <a16:creationId xmlns:a16="http://schemas.microsoft.com/office/drawing/2014/main" xmlns="" id="{2984A441-6432-4AD7-9D1F-6A121A4B42D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5" name="Oval 8">
                  <a:extLst>
                    <a:ext uri="{FF2B5EF4-FFF2-40B4-BE49-F238E27FC236}">
                      <a16:creationId xmlns:a16="http://schemas.microsoft.com/office/drawing/2014/main" xmlns="" id="{3C2D3B7A-6663-40C8-A94E-8A930B20CA7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7" name="Group 4">
                <a:extLst>
                  <a:ext uri="{FF2B5EF4-FFF2-40B4-BE49-F238E27FC236}">
                    <a16:creationId xmlns:a16="http://schemas.microsoft.com/office/drawing/2014/main" xmlns="" id="{8C1CBFB2-C334-4632-B641-74D726FCC59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68" name="Freeform 5">
                  <a:extLst>
                    <a:ext uri="{FF2B5EF4-FFF2-40B4-BE49-F238E27FC236}">
                      <a16:creationId xmlns:a16="http://schemas.microsoft.com/office/drawing/2014/main" xmlns="" id="{2CD22FC3-C7EC-48DE-ABA3-B8D098E4589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69" name="Freeform 6">
                  <a:extLst>
                    <a:ext uri="{FF2B5EF4-FFF2-40B4-BE49-F238E27FC236}">
                      <a16:creationId xmlns:a16="http://schemas.microsoft.com/office/drawing/2014/main" xmlns="" id="{6477FEEF-44B3-46A1-9093-C94D4C339AD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0" name="Freeform 7">
                  <a:extLst>
                    <a:ext uri="{FF2B5EF4-FFF2-40B4-BE49-F238E27FC236}">
                      <a16:creationId xmlns:a16="http://schemas.microsoft.com/office/drawing/2014/main" xmlns="" id="{975081A2-5152-480A-BB68-69D3BB1FEA8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1" name="Oval 8">
                  <a:extLst>
                    <a:ext uri="{FF2B5EF4-FFF2-40B4-BE49-F238E27FC236}">
                      <a16:creationId xmlns:a16="http://schemas.microsoft.com/office/drawing/2014/main" xmlns="" id="{F3BB9AF9-894A-453F-8666-4C20FD4AC1D6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xmlns="" id="{4A23F8AB-14DF-4165-9BEF-1A7F56582A23}"/>
                </a:ext>
              </a:extLst>
            </p:cNvPr>
            <p:cNvGrpSpPr/>
            <p:nvPr userDrawn="1"/>
          </p:nvGrpSpPr>
          <p:grpSpPr>
            <a:xfrm>
              <a:off x="3350951" y="3531233"/>
              <a:ext cx="455447" cy="406446"/>
              <a:chOff x="9190927" y="210961"/>
              <a:chExt cx="814733" cy="727076"/>
            </a:xfrm>
            <a:solidFill>
              <a:srgbClr val="61A4C8"/>
            </a:solidFill>
          </p:grpSpPr>
          <p:grpSp>
            <p:nvGrpSpPr>
              <p:cNvPr id="220" name="Group 4">
                <a:extLst>
                  <a:ext uri="{FF2B5EF4-FFF2-40B4-BE49-F238E27FC236}">
                    <a16:creationId xmlns:a16="http://schemas.microsoft.com/office/drawing/2014/main" xmlns="" id="{D66F3FBF-785D-4908-9868-6A9475BA298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grpFill/>
            </p:grpSpPr>
            <p:sp>
              <p:nvSpPr>
                <p:cNvPr id="256" name="Freeform 5">
                  <a:extLst>
                    <a:ext uri="{FF2B5EF4-FFF2-40B4-BE49-F238E27FC236}">
                      <a16:creationId xmlns:a16="http://schemas.microsoft.com/office/drawing/2014/main" xmlns="" id="{5E3B00E1-9CBF-40DF-AB27-6AD172D3CC2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7" name="Freeform 6">
                  <a:extLst>
                    <a:ext uri="{FF2B5EF4-FFF2-40B4-BE49-F238E27FC236}">
                      <a16:creationId xmlns:a16="http://schemas.microsoft.com/office/drawing/2014/main" xmlns="" id="{CBA5E845-E86C-4AAA-9703-8E64F2FE3BC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8" name="Freeform 7">
                  <a:extLst>
                    <a:ext uri="{FF2B5EF4-FFF2-40B4-BE49-F238E27FC236}">
                      <a16:creationId xmlns:a16="http://schemas.microsoft.com/office/drawing/2014/main" xmlns="" id="{4169DED7-041F-4105-AA2F-1561D31171F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9" name="Oval 8">
                  <a:extLst>
                    <a:ext uri="{FF2B5EF4-FFF2-40B4-BE49-F238E27FC236}">
                      <a16:creationId xmlns:a16="http://schemas.microsoft.com/office/drawing/2014/main" xmlns="" id="{3D90A6CD-CF9D-4F2C-94CF-F2A6C2E3F287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1" name="Group 4">
                <a:extLst>
                  <a:ext uri="{FF2B5EF4-FFF2-40B4-BE49-F238E27FC236}">
                    <a16:creationId xmlns:a16="http://schemas.microsoft.com/office/drawing/2014/main" xmlns="" id="{73C971E8-1B28-4102-960B-98469801DFF7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grpFill/>
            </p:grpSpPr>
            <p:sp>
              <p:nvSpPr>
                <p:cNvPr id="252" name="Freeform 5">
                  <a:extLst>
                    <a:ext uri="{FF2B5EF4-FFF2-40B4-BE49-F238E27FC236}">
                      <a16:creationId xmlns:a16="http://schemas.microsoft.com/office/drawing/2014/main" xmlns="" id="{06121D32-2504-4C10-A65A-265271F6D8F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3" name="Freeform 6">
                  <a:extLst>
                    <a:ext uri="{FF2B5EF4-FFF2-40B4-BE49-F238E27FC236}">
                      <a16:creationId xmlns:a16="http://schemas.microsoft.com/office/drawing/2014/main" xmlns="" id="{99D66AE0-80BB-4FF5-B669-28B633BE280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4" name="Freeform 7">
                  <a:extLst>
                    <a:ext uri="{FF2B5EF4-FFF2-40B4-BE49-F238E27FC236}">
                      <a16:creationId xmlns:a16="http://schemas.microsoft.com/office/drawing/2014/main" xmlns="" id="{C6156161-4336-4109-8A1A-160D63DC9C6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5" name="Oval 8">
                  <a:extLst>
                    <a:ext uri="{FF2B5EF4-FFF2-40B4-BE49-F238E27FC236}">
                      <a16:creationId xmlns:a16="http://schemas.microsoft.com/office/drawing/2014/main" xmlns="" id="{626ABDD2-9C2E-4574-AE92-C404A88E8E4D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2" name="Group 4">
                <a:extLst>
                  <a:ext uri="{FF2B5EF4-FFF2-40B4-BE49-F238E27FC236}">
                    <a16:creationId xmlns:a16="http://schemas.microsoft.com/office/drawing/2014/main" xmlns="" id="{9B76A1A3-936B-4FB1-9090-EAA8A6570AB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xmlns="" id="{B69B3006-E75A-46B4-BE2F-E354B6A8F31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xmlns="" id="{41282BAA-B774-4B18-B78D-9FF5893030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xmlns="" id="{025C13ED-45F4-40F4-A461-044FD06833D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1" name="Oval 8">
                  <a:extLst>
                    <a:ext uri="{FF2B5EF4-FFF2-40B4-BE49-F238E27FC236}">
                      <a16:creationId xmlns:a16="http://schemas.microsoft.com/office/drawing/2014/main" xmlns="" id="{99A530D7-03AD-4F94-9BEA-266A036A020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3" name="Group 4">
                <a:extLst>
                  <a:ext uri="{FF2B5EF4-FFF2-40B4-BE49-F238E27FC236}">
                    <a16:creationId xmlns:a16="http://schemas.microsoft.com/office/drawing/2014/main" xmlns="" id="{C68C6270-7926-435C-80E6-B0074CA5B42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4" name="Freeform 5">
                  <a:extLst>
                    <a:ext uri="{FF2B5EF4-FFF2-40B4-BE49-F238E27FC236}">
                      <a16:creationId xmlns:a16="http://schemas.microsoft.com/office/drawing/2014/main" xmlns="" id="{1DE37ABB-9864-4266-8D2B-7A33E6F7AD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5" name="Freeform 6">
                  <a:extLst>
                    <a:ext uri="{FF2B5EF4-FFF2-40B4-BE49-F238E27FC236}">
                      <a16:creationId xmlns:a16="http://schemas.microsoft.com/office/drawing/2014/main" xmlns="" id="{9F7FCA9E-6B16-44F2-942A-A2BC6C3C38C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6" name="Freeform 7">
                  <a:extLst>
                    <a:ext uri="{FF2B5EF4-FFF2-40B4-BE49-F238E27FC236}">
                      <a16:creationId xmlns:a16="http://schemas.microsoft.com/office/drawing/2014/main" xmlns="" id="{CB77EBD5-087B-4448-B2EA-B6605EE2C92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7" name="Oval 8">
                  <a:extLst>
                    <a:ext uri="{FF2B5EF4-FFF2-40B4-BE49-F238E27FC236}">
                      <a16:creationId xmlns:a16="http://schemas.microsoft.com/office/drawing/2014/main" xmlns="" id="{DAC830F4-47DF-41B1-ACA5-8530266DC8F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4" name="Group 4">
                <a:extLst>
                  <a:ext uri="{FF2B5EF4-FFF2-40B4-BE49-F238E27FC236}">
                    <a16:creationId xmlns:a16="http://schemas.microsoft.com/office/drawing/2014/main" xmlns="" id="{E70D1B36-412B-48EC-B5EA-1B0D94E6A6C1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0" name="Freeform 5">
                  <a:extLst>
                    <a:ext uri="{FF2B5EF4-FFF2-40B4-BE49-F238E27FC236}">
                      <a16:creationId xmlns:a16="http://schemas.microsoft.com/office/drawing/2014/main" xmlns="" id="{5D177913-3023-4394-85DE-4C1E164E8B9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1" name="Freeform 6">
                  <a:extLst>
                    <a:ext uri="{FF2B5EF4-FFF2-40B4-BE49-F238E27FC236}">
                      <a16:creationId xmlns:a16="http://schemas.microsoft.com/office/drawing/2014/main" xmlns="" id="{166D15AE-2B0F-441F-AE30-93616AD72E9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2" name="Freeform 7">
                  <a:extLst>
                    <a:ext uri="{FF2B5EF4-FFF2-40B4-BE49-F238E27FC236}">
                      <a16:creationId xmlns:a16="http://schemas.microsoft.com/office/drawing/2014/main" xmlns="" id="{D59BC07B-6358-4347-90E3-5111237705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3" name="Oval 8">
                  <a:extLst>
                    <a:ext uri="{FF2B5EF4-FFF2-40B4-BE49-F238E27FC236}">
                      <a16:creationId xmlns:a16="http://schemas.microsoft.com/office/drawing/2014/main" xmlns="" id="{C0BBCCE4-E14C-4891-A519-3F5C8C7CA40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5" name="Group 4">
                <a:extLst>
                  <a:ext uri="{FF2B5EF4-FFF2-40B4-BE49-F238E27FC236}">
                    <a16:creationId xmlns:a16="http://schemas.microsoft.com/office/drawing/2014/main" xmlns="" id="{AECA6FB2-3569-4C8A-B0AD-C303E3ACE1B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6" name="Freeform 5">
                  <a:extLst>
                    <a:ext uri="{FF2B5EF4-FFF2-40B4-BE49-F238E27FC236}">
                      <a16:creationId xmlns:a16="http://schemas.microsoft.com/office/drawing/2014/main" xmlns="" id="{C962D0D7-0CAD-44AC-8BEC-2DE1321B517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7" name="Freeform 6">
                  <a:extLst>
                    <a:ext uri="{FF2B5EF4-FFF2-40B4-BE49-F238E27FC236}">
                      <a16:creationId xmlns:a16="http://schemas.microsoft.com/office/drawing/2014/main" xmlns="" id="{2156416E-E0D8-4A98-9B0E-8F64783036F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8" name="Freeform 7">
                  <a:extLst>
                    <a:ext uri="{FF2B5EF4-FFF2-40B4-BE49-F238E27FC236}">
                      <a16:creationId xmlns:a16="http://schemas.microsoft.com/office/drawing/2014/main" xmlns="" id="{5565C699-1C68-4111-92C6-4E7E1E13179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9" name="Oval 8">
                  <a:extLst>
                    <a:ext uri="{FF2B5EF4-FFF2-40B4-BE49-F238E27FC236}">
                      <a16:creationId xmlns:a16="http://schemas.microsoft.com/office/drawing/2014/main" xmlns="" id="{0396453D-2B5B-49E9-B03B-C6F38B956B3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6" name="Group 4">
                <a:extLst>
                  <a:ext uri="{FF2B5EF4-FFF2-40B4-BE49-F238E27FC236}">
                    <a16:creationId xmlns:a16="http://schemas.microsoft.com/office/drawing/2014/main" xmlns="" id="{0C4FD1FD-DF38-4AE5-A941-93A1DEA49A1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2" name="Freeform 5">
                  <a:extLst>
                    <a:ext uri="{FF2B5EF4-FFF2-40B4-BE49-F238E27FC236}">
                      <a16:creationId xmlns:a16="http://schemas.microsoft.com/office/drawing/2014/main" xmlns="" id="{9227D54A-DA3E-4E8E-B55E-EC61DED7BDA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3" name="Freeform 6">
                  <a:extLst>
                    <a:ext uri="{FF2B5EF4-FFF2-40B4-BE49-F238E27FC236}">
                      <a16:creationId xmlns:a16="http://schemas.microsoft.com/office/drawing/2014/main" xmlns="" id="{3D2580B2-3233-4A72-A8BA-749EBCC209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4" name="Freeform 7">
                  <a:extLst>
                    <a:ext uri="{FF2B5EF4-FFF2-40B4-BE49-F238E27FC236}">
                      <a16:creationId xmlns:a16="http://schemas.microsoft.com/office/drawing/2014/main" xmlns="" id="{8E76B529-5C6E-4833-9E71-AF33228C9E3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5" name="Oval 8">
                  <a:extLst>
                    <a:ext uri="{FF2B5EF4-FFF2-40B4-BE49-F238E27FC236}">
                      <a16:creationId xmlns:a16="http://schemas.microsoft.com/office/drawing/2014/main" xmlns="" id="{73C724B6-BF4F-47C3-B19A-48085D4E1AC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7" name="Group 4">
                <a:extLst>
                  <a:ext uri="{FF2B5EF4-FFF2-40B4-BE49-F238E27FC236}">
                    <a16:creationId xmlns:a16="http://schemas.microsoft.com/office/drawing/2014/main" xmlns="" id="{5BB6D903-01C9-4DA9-94C3-F1BB0CB1179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28" name="Freeform 5">
                  <a:extLst>
                    <a:ext uri="{FF2B5EF4-FFF2-40B4-BE49-F238E27FC236}">
                      <a16:creationId xmlns:a16="http://schemas.microsoft.com/office/drawing/2014/main" xmlns="" id="{3C3A5E97-FCE9-4FFF-B583-701D66F03C6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29" name="Freeform 6">
                  <a:extLst>
                    <a:ext uri="{FF2B5EF4-FFF2-40B4-BE49-F238E27FC236}">
                      <a16:creationId xmlns:a16="http://schemas.microsoft.com/office/drawing/2014/main" xmlns="" id="{C33F33B1-11EE-4149-9620-944BF2F0641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0" name="Freeform 7">
                  <a:extLst>
                    <a:ext uri="{FF2B5EF4-FFF2-40B4-BE49-F238E27FC236}">
                      <a16:creationId xmlns:a16="http://schemas.microsoft.com/office/drawing/2014/main" xmlns="" id="{C66A1406-4F78-410C-A80B-F693D2F779C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1" name="Oval 8">
                  <a:extLst>
                    <a:ext uri="{FF2B5EF4-FFF2-40B4-BE49-F238E27FC236}">
                      <a16:creationId xmlns:a16="http://schemas.microsoft.com/office/drawing/2014/main" xmlns="" id="{9D63C7A2-3ED5-485B-BAFA-D9E88EED3D5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xmlns="" id="{27304C29-33A5-4E21-B703-9DB98C54A47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240653" y="2569895"/>
              <a:ext cx="607697" cy="604800"/>
              <a:chOff x="6710363" y="3908426"/>
              <a:chExt cx="333376" cy="331787"/>
            </a:xfrm>
            <a:solidFill>
              <a:srgbClr val="FFFFFF"/>
            </a:solidFill>
          </p:grpSpPr>
          <p:sp>
            <p:nvSpPr>
              <p:cNvPr id="217" name="Freeform 1149">
                <a:extLst>
                  <a:ext uri="{FF2B5EF4-FFF2-40B4-BE49-F238E27FC236}">
                    <a16:creationId xmlns:a16="http://schemas.microsoft.com/office/drawing/2014/main" xmlns="" id="{5A34C4D5-B543-47A5-A9A3-2A1148C9E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8" name="Freeform 1150">
                <a:extLst>
                  <a:ext uri="{FF2B5EF4-FFF2-40B4-BE49-F238E27FC236}">
                    <a16:creationId xmlns:a16="http://schemas.microsoft.com/office/drawing/2014/main" xmlns="" id="{E84DCE17-2F14-47DE-AEAE-675D8CD66A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9" name="Freeform 1151">
                <a:extLst>
                  <a:ext uri="{FF2B5EF4-FFF2-40B4-BE49-F238E27FC236}">
                    <a16:creationId xmlns:a16="http://schemas.microsoft.com/office/drawing/2014/main" xmlns="" id="{A5F1AB7F-4F78-4F88-B673-7FD114AA3B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xmlns="" id="{696AB016-B86B-4518-A085-C4AE53410AB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673172" y="423745"/>
              <a:ext cx="607697" cy="604800"/>
              <a:chOff x="6710363" y="3908426"/>
              <a:chExt cx="333376" cy="331787"/>
            </a:xfrm>
            <a:solidFill>
              <a:srgbClr val="FFFFFF">
                <a:alpha val="26000"/>
              </a:srgbClr>
            </a:solidFill>
          </p:grpSpPr>
          <p:sp>
            <p:nvSpPr>
              <p:cNvPr id="214" name="Freeform 1149">
                <a:extLst>
                  <a:ext uri="{FF2B5EF4-FFF2-40B4-BE49-F238E27FC236}">
                    <a16:creationId xmlns:a16="http://schemas.microsoft.com/office/drawing/2014/main" xmlns="" id="{F1C167AC-F103-4B80-BE67-AC826BFC6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5" name="Freeform 1150">
                <a:extLst>
                  <a:ext uri="{FF2B5EF4-FFF2-40B4-BE49-F238E27FC236}">
                    <a16:creationId xmlns:a16="http://schemas.microsoft.com/office/drawing/2014/main" xmlns="" id="{5219C2D1-B85E-415A-AFD8-1E0FFE0BC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6" name="Freeform 1151">
                <a:extLst>
                  <a:ext uri="{FF2B5EF4-FFF2-40B4-BE49-F238E27FC236}">
                    <a16:creationId xmlns:a16="http://schemas.microsoft.com/office/drawing/2014/main" xmlns="" id="{ABD3B0C0-FFD3-47CC-93A2-CC7E26F0A2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24402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xmlns="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222444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xmlns="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06E89B-F1B0-48A4-8827-107446FBFBCE}" type="datetime3">
              <a:rPr lang="en-US" smtClean="0"/>
              <a:pPr/>
              <a:t>24 February 2024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255540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43404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B387FAC7-4495-4B53-B895-86075CD260E1}"/>
              </a:ext>
            </a:extLst>
          </p:cNvPr>
          <p:cNvGrpSpPr/>
          <p:nvPr userDrawn="1"/>
        </p:nvGrpSpPr>
        <p:grpSpPr>
          <a:xfrm>
            <a:off x="-15583" y="848925"/>
            <a:ext cx="12238748" cy="5088665"/>
            <a:chOff x="-11688" y="592243"/>
            <a:chExt cx="9179061" cy="381649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BC303820-98FC-489A-AC81-8E95961FDFED}"/>
                </a:ext>
              </a:extLst>
            </p:cNvPr>
            <p:cNvSpPr/>
            <p:nvPr/>
          </p:nvSpPr>
          <p:spPr>
            <a:xfrm>
              <a:off x="0" y="623670"/>
              <a:ext cx="9144000" cy="3677661"/>
            </a:xfrm>
            <a:prstGeom prst="rect">
              <a:avLst/>
            </a:prstGeom>
            <a:solidFill>
              <a:srgbClr val="7FCEE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xmlns="" id="{639D65B5-0DDF-445A-9308-D20097A47173}"/>
                </a:ext>
              </a:extLst>
            </p:cNvPr>
            <p:cNvGrpSpPr/>
            <p:nvPr/>
          </p:nvGrpSpPr>
          <p:grpSpPr>
            <a:xfrm>
              <a:off x="-4651" y="3426626"/>
              <a:ext cx="8833686" cy="283968"/>
              <a:chOff x="-4" y="806463"/>
              <a:chExt cx="7093002" cy="283968"/>
            </a:xfrm>
          </p:grpSpPr>
          <p:sp>
            <p:nvSpPr>
              <p:cNvPr id="96" name="Rectangle: Top Corners Rounded 95">
                <a:extLst>
                  <a:ext uri="{FF2B5EF4-FFF2-40B4-BE49-F238E27FC236}">
                    <a16:creationId xmlns:a16="http://schemas.microsoft.com/office/drawing/2014/main" xmlns="" id="{C53C6BA5-B65E-4B36-8DA0-19D643BE7BF9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Rectangle: Top Corners Rounded 96">
                <a:extLst>
                  <a:ext uri="{FF2B5EF4-FFF2-40B4-BE49-F238E27FC236}">
                    <a16:creationId xmlns:a16="http://schemas.microsoft.com/office/drawing/2014/main" xmlns="" id="{B01C1FAB-794A-40D0-9687-F12D0CFC63C1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Rectangle: Top Corners Rounded 97">
                <a:extLst>
                  <a:ext uri="{FF2B5EF4-FFF2-40B4-BE49-F238E27FC236}">
                    <a16:creationId xmlns:a16="http://schemas.microsoft.com/office/drawing/2014/main" xmlns="" id="{014B773D-A2BC-4C5A-B136-805A40F1A7C3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xmlns="" id="{92C70583-4CFA-4154-9D98-BBBA2DF6EB90}"/>
                </a:ext>
              </a:extLst>
            </p:cNvPr>
            <p:cNvGrpSpPr/>
            <p:nvPr/>
          </p:nvGrpSpPr>
          <p:grpSpPr>
            <a:xfrm>
              <a:off x="-4" y="806463"/>
              <a:ext cx="7093002" cy="283968"/>
              <a:chOff x="-4" y="806463"/>
              <a:chExt cx="7093002" cy="283968"/>
            </a:xfrm>
          </p:grpSpPr>
          <p:sp>
            <p:nvSpPr>
              <p:cNvPr id="93" name="Rectangle: Top Corners Rounded 92">
                <a:extLst>
                  <a:ext uri="{FF2B5EF4-FFF2-40B4-BE49-F238E27FC236}">
                    <a16:creationId xmlns:a16="http://schemas.microsoft.com/office/drawing/2014/main" xmlns="" id="{BC131FFB-1600-4EF6-B921-4F282DC6376A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: Top Corners Rounded 93">
                <a:extLst>
                  <a:ext uri="{FF2B5EF4-FFF2-40B4-BE49-F238E27FC236}">
                    <a16:creationId xmlns:a16="http://schemas.microsoft.com/office/drawing/2014/main" xmlns="" id="{BA1F0F77-4A89-49A2-8776-0FC94FD588A6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Rectangle: Top Corners Rounded 94">
                <a:extLst>
                  <a:ext uri="{FF2B5EF4-FFF2-40B4-BE49-F238E27FC236}">
                    <a16:creationId xmlns:a16="http://schemas.microsoft.com/office/drawing/2014/main" xmlns="" id="{F5AA3177-1196-49AB-AE4A-BB72D9C6C9B7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xmlns="" id="{5BC120C7-35FF-44BC-880B-AA2A8A74B59B}"/>
                </a:ext>
              </a:extLst>
            </p:cNvPr>
            <p:cNvGrpSpPr/>
            <p:nvPr userDrawn="1"/>
          </p:nvGrpSpPr>
          <p:grpSpPr>
            <a:xfrm>
              <a:off x="-2" y="4268790"/>
              <a:ext cx="9167375" cy="47005"/>
              <a:chOff x="-2" y="4268790"/>
              <a:chExt cx="9167375" cy="47005"/>
            </a:xfrm>
          </p:grpSpPr>
          <p:sp>
            <p:nvSpPr>
              <p:cNvPr id="83" name="Rectangle: Top Corners Rounded 82">
                <a:extLst>
                  <a:ext uri="{FF2B5EF4-FFF2-40B4-BE49-F238E27FC236}">
                    <a16:creationId xmlns:a16="http://schemas.microsoft.com/office/drawing/2014/main" xmlns="" id="{C2D9C463-2D7B-4B73-9292-277873B0D9C7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Rectangle: Top Corners Rounded 83">
                <a:extLst>
                  <a:ext uri="{FF2B5EF4-FFF2-40B4-BE49-F238E27FC236}">
                    <a16:creationId xmlns:a16="http://schemas.microsoft.com/office/drawing/2014/main" xmlns="" id="{0EE219E3-9199-4C31-A43C-3E91A3E49DA9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xmlns="" id="{7C581041-F834-4D85-9B28-46EBF7B51596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xmlns="" id="{00B1A3E0-9D5A-47E2-8EFD-06972183A758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xmlns="" id="{7ECD1AD2-9EA9-457E-B675-F1EC07F3138F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xmlns="" id="{38734299-9D49-49E9-B326-D9137D909143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xmlns="" id="{77C6B17E-82EB-4222-BD61-78B9587A5811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xmlns="" id="{04AC5795-F784-4E70-8C58-8DE355C80D03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xmlns="" id="{48E3C2B3-EFB9-4662-A180-C3A571D87800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xmlns="" id="{79F4F850-3391-4241-BE86-4D33EE9457FF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xmlns="" id="{7EE94720-0AF1-4357-B8D5-23C20202DC95}"/>
                </a:ext>
              </a:extLst>
            </p:cNvPr>
            <p:cNvSpPr/>
            <p:nvPr userDrawn="1"/>
          </p:nvSpPr>
          <p:spPr>
            <a:xfrm>
              <a:off x="7728746" y="837813"/>
              <a:ext cx="1162393" cy="1065190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xmlns="" id="{9CA44E7B-692C-40F6-8B4C-B5CB1803D2CE}"/>
                </a:ext>
              </a:extLst>
            </p:cNvPr>
            <p:cNvSpPr/>
            <p:nvPr userDrawn="1"/>
          </p:nvSpPr>
          <p:spPr>
            <a:xfrm>
              <a:off x="7548886" y="1653708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15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xmlns="" id="{401C85DF-517D-4818-B624-F039DCF32CB9}"/>
                </a:ext>
              </a:extLst>
            </p:cNvPr>
            <p:cNvSpPr/>
            <p:nvPr userDrawn="1"/>
          </p:nvSpPr>
          <p:spPr>
            <a:xfrm>
              <a:off x="317089" y="391730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xmlns="" id="{E079FB0F-2E61-4781-97A8-D41A27D2D8F7}"/>
                </a:ext>
              </a:extLst>
            </p:cNvPr>
            <p:cNvGrpSpPr/>
            <p:nvPr userDrawn="1"/>
          </p:nvGrpSpPr>
          <p:grpSpPr>
            <a:xfrm>
              <a:off x="565829" y="712444"/>
              <a:ext cx="6973489" cy="2067177"/>
              <a:chOff x="-6255456" y="862020"/>
              <a:chExt cx="6973489" cy="2067177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xmlns="" id="{6C078611-63CB-491B-B8AA-0B8BA5CA889F}"/>
                  </a:ext>
                </a:extLst>
              </p:cNvPr>
              <p:cNvSpPr/>
              <p:nvPr userDrawn="1"/>
            </p:nvSpPr>
            <p:spPr>
              <a:xfrm>
                <a:off x="361298" y="2720664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4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xmlns="" id="{58BFC2A8-6A29-4478-A218-7FA2B681E39E}"/>
                  </a:ext>
                </a:extLst>
              </p:cNvPr>
              <p:cNvSpPr/>
              <p:nvPr userDrawn="1"/>
            </p:nvSpPr>
            <p:spPr>
              <a:xfrm>
                <a:off x="490471" y="2589978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xmlns="" id="{8AF6E614-E243-47E3-BE86-AF3ECE579FD7}"/>
                  </a:ext>
                </a:extLst>
              </p:cNvPr>
              <p:cNvSpPr/>
              <p:nvPr userDrawn="1"/>
            </p:nvSpPr>
            <p:spPr>
              <a:xfrm>
                <a:off x="-6255456" y="862020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xmlns="" id="{06BEF2CB-CA82-4E7C-BAF6-3E314BA5ED20}"/>
                </a:ext>
              </a:extLst>
            </p:cNvPr>
            <p:cNvSpPr/>
            <p:nvPr userDrawn="1"/>
          </p:nvSpPr>
          <p:spPr>
            <a:xfrm>
              <a:off x="4044730" y="1194647"/>
              <a:ext cx="138367" cy="135616"/>
            </a:xfrm>
            <a:prstGeom prst="roundRect">
              <a:avLst>
                <a:gd name="adj" fmla="val 24179"/>
              </a:avLst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xmlns="" id="{0C83B8EC-009F-4B4A-90A7-B92D80A505BE}"/>
                </a:ext>
              </a:extLst>
            </p:cNvPr>
            <p:cNvSpPr/>
            <p:nvPr userDrawn="1"/>
          </p:nvSpPr>
          <p:spPr>
            <a:xfrm>
              <a:off x="7897238" y="3106680"/>
              <a:ext cx="138367" cy="126797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2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xmlns="" id="{704A7036-5B44-42B7-966C-B0FF1CF7BDFA}"/>
                </a:ext>
              </a:extLst>
            </p:cNvPr>
            <p:cNvGrpSpPr/>
            <p:nvPr userDrawn="1"/>
          </p:nvGrpSpPr>
          <p:grpSpPr>
            <a:xfrm flipH="1">
              <a:off x="-11688" y="592243"/>
              <a:ext cx="9167375" cy="47005"/>
              <a:chOff x="-2" y="4268790"/>
              <a:chExt cx="9167375" cy="47005"/>
            </a:xfrm>
          </p:grpSpPr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xmlns="" id="{BE893962-00AD-4326-B5D9-6102F6B30598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Rectangle: Top Corners Rounded 70">
                <a:extLst>
                  <a:ext uri="{FF2B5EF4-FFF2-40B4-BE49-F238E27FC236}">
                    <a16:creationId xmlns:a16="http://schemas.microsoft.com/office/drawing/2014/main" xmlns="" id="{AFB8A1B6-0F78-4738-BC4F-1B7488ED4088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xmlns="" id="{466815D7-D9A8-4BE3-A498-2D774EC5E2BA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xmlns="" id="{13EC61EA-18EA-4B81-B8F0-E7368A056B13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xmlns="" id="{11B24DD3-B389-4208-91EC-3A3814BAFFCB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xmlns="" id="{B7B1FFDC-F643-40BE-8468-9725F8D6C771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xmlns="" id="{E5EE4C3A-3FD5-4DE1-AA88-44C4A85014D2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xmlns="" id="{B1562EEE-F250-481F-A686-BB8D3F291D2A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xmlns="" id="{FDAF47BC-F8FC-48FF-8F8C-5056D93BEC83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xmlns="" id="{63A5196B-659A-449B-82EA-3296DED56E5D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xmlns="" id="{76A52E9F-5B7B-41FC-B16A-57E2C4BF4115}"/>
                </a:ext>
              </a:extLst>
            </p:cNvPr>
            <p:cNvSpPr/>
            <p:nvPr userDrawn="1"/>
          </p:nvSpPr>
          <p:spPr>
            <a:xfrm rot="5400000">
              <a:off x="2640683" y="-1083883"/>
              <a:ext cx="1484008" cy="6774682"/>
            </a:xfrm>
            <a:prstGeom prst="round2SameRect">
              <a:avLst>
                <a:gd name="adj1" fmla="val 10249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xmlns="" id="{0D1F6480-9AA2-481F-BF5E-E537B795E7BF}"/>
                </a:ext>
              </a:extLst>
            </p:cNvPr>
            <p:cNvSpPr/>
            <p:nvPr userDrawn="1"/>
          </p:nvSpPr>
          <p:spPr>
            <a:xfrm>
              <a:off x="6162867" y="356575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2" y="2123633"/>
            <a:ext cx="8284205" cy="1337767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xmlns="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2" y="3568191"/>
            <a:ext cx="8284205" cy="661856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xmlns="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4 February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63878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xmlns="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xmlns="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xmlns="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3F25DEB1-9082-41D4-925C-113F57199754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xmlns="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xmlns="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id&quot;:&quot;700a8faa-b58a-4b99-819f-a7f3960b569f&quot;}}" title="Form.PLogoChoice.PLogoInsertion">
            <a:extLst>
              <a:ext uri="{FF2B5EF4-FFF2-40B4-BE49-F238E27FC236}">
                <a16:creationId xmlns:a16="http://schemas.microsoft.com/office/drawing/2014/main" xmlns="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1823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5F5319-D51F-4DBA-A0E1-97AB58098185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351" dirty="0">
              <a:latin typeface="Apis For Office" panose="020B0504010101010104" pitchFamily="34" charset="0"/>
            </a:endParaRPr>
          </a:p>
        </p:txBody>
      </p:sp>
      <p:sp>
        <p:nvSpPr>
          <p:cNvPr id="6" name="Tagline" descr="{&quot;templafy&quot;:{&quot;id&quot;:&quot;8b7bd7f1-2abb-4aba-8fa3-6bed6534d10c&quot;}}" title="Form.PLogoChoice.PLogoInsertionWhite">
            <a:extLst>
              <a:ext uri="{FF2B5EF4-FFF2-40B4-BE49-F238E27FC236}">
                <a16:creationId xmlns:a16="http://schemas.microsoft.com/office/drawing/2014/main" xmlns="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40570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CA27F7B4-F98D-4CAF-BB7C-3984BBCDBD89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xmlns="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957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871100-7668-411B-B68C-7B09658A607B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  <a:latin typeface="Apis For Office" panose="020B0504010101010104" pitchFamily="34" charset="0"/>
              </a:rPr>
              <a:t>Agenda</a:t>
            </a:r>
          </a:p>
        </p:txBody>
      </p:sp>
      <p:sp>
        <p:nvSpPr>
          <p:cNvPr id="5" name="Tagline" descr="{&quot;templafy&quot;:{&quot;id&quot;:&quot;a6a0294e-5049-4413-9e6f-1ecdf818f736&quot;}}" title="Form.PLogoChoice.PLogoInsertionWhite">
            <a:extLst>
              <a:ext uri="{FF2B5EF4-FFF2-40B4-BE49-F238E27FC236}">
                <a16:creationId xmlns:a16="http://schemas.microsoft.com/office/drawing/2014/main" xmlns="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41120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262655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AD76CD6D-257F-451B-A84B-5F86799B060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8461212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756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5FA96055-F41A-411B-AC3E-55CE92C9BB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1630133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2206149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6E89B-F1B0-48A4-8827-107446FBFBCE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78120821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45532787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21A7-F4E2-460A-A8FB-942CCEE5185E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56723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xmlns="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EE2340-579E-4220-A93B-3AFD39A8D022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xmlns="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xmlns="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98185720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DC46D-D10D-4B61-A892-8C0001048907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id&quot;:&quot;173913be-1100-48d2-aff0-9c93648545a2&quot;}}" title="Form.PLogoChoice.PLogoInsertion">
            <a:extLst>
              <a:ext uri="{FF2B5EF4-FFF2-40B4-BE49-F238E27FC236}">
                <a16:creationId xmlns:a16="http://schemas.microsoft.com/office/drawing/2014/main" xmlns="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651987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65D2-4706-45DF-B68A-6AB31D8D1B2D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0518519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52468-20E3-462E-9717-778AD7EDB57C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1345267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D752CB-4586-4ED8-8DDC-9B3317D94291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74367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5D3A1-1237-4E3F-81F8-A718F0128939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xmlns="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047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3866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4664117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F3AB-868B-4293-B3DE-7B045891B11B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75219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  <a:latin typeface="Apis For Office" panose="020B0504010101010104" pitchFamily="34" charset="0"/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2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2800" b="0" noProof="0" dirty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o not use </a:t>
            </a:r>
            <a:endParaRPr lang="en-GB" sz="2400" b="1" i="1" dirty="0">
              <a:latin typeface="Apis For Office" panose="020B0504010101010104" pitchFamily="34" charset="0"/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  <a:t/>
            </a:r>
            <a:br>
              <a:rPr lang="en-GB" sz="1800" b="0" noProof="0" dirty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1800" b="0" noProof="0" dirty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F65B27A-09D4-4045-A1E1-7A255ABBF5A9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86762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69" y="6401379"/>
            <a:ext cx="11418233" cy="230716"/>
          </a:xfrm>
        </p:spPr>
        <p:txBody>
          <a:bodyPr lIns="72000" anchor="b"/>
          <a:lstStyle>
            <a:lvl1pPr marL="0" indent="0">
              <a:buNone/>
              <a:defRPr sz="1067"/>
            </a:lvl1pPr>
            <a:lvl2pPr marL="353466" indent="0">
              <a:buNone/>
              <a:defRPr sz="1067"/>
            </a:lvl2pPr>
            <a:lvl3pPr marL="715397" indent="0">
              <a:buNone/>
              <a:defRPr sz="1067"/>
            </a:lvl3pPr>
            <a:lvl4pPr marL="1077330" indent="0">
              <a:buNone/>
              <a:defRPr sz="1067"/>
            </a:lvl4pPr>
            <a:lvl5pPr marL="1430795" indent="0">
              <a:buNone/>
              <a:defRPr sz="1067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xmlns="" id="{05EA8DB4-D7E0-43E4-83A9-B402A9644AC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11433388" y="139701"/>
            <a:ext cx="558816" cy="185419"/>
          </a:xfrm>
          <a:prstGeom prst="rect">
            <a:avLst/>
          </a:prstGeom>
          <a:ln/>
        </p:spPr>
        <p:txBody>
          <a:bodyPr/>
          <a:lstStyle>
            <a:lvl1pPr algn="r">
              <a:defRPr sz="1067">
                <a:solidFill>
                  <a:srgbClr val="AEA79F"/>
                </a:solidFill>
              </a:defRPr>
            </a:lvl1pPr>
          </a:lstStyle>
          <a:p>
            <a:pPr>
              <a:defRPr/>
            </a:pPr>
            <a:fld id="{198D2DA1-799D-4AB3-8D6A-C84E9B4FB822}" type="slidenum">
              <a:rPr lang="en-GB" smtClean="0"/>
              <a:pPr>
                <a:defRPr/>
              </a:pPr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4243887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E041C0BA-34B2-4E53-98B1-5DF02B255F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12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19291706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5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xmlns="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66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39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3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79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79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60085755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3175062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23356" y="6019899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xmlns="" id="{511C5657-CE8B-4E35-A4DF-CC134804A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09487"/>
            <a:ext cx="12192001" cy="48654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5C1E3701-DED0-4985-AB18-8992814566DA}"/>
              </a:ext>
            </a:extLst>
          </p:cNvPr>
          <p:cNvGrpSpPr/>
          <p:nvPr userDrawn="1"/>
        </p:nvGrpSpPr>
        <p:grpSpPr>
          <a:xfrm>
            <a:off x="10645304" y="5581707"/>
            <a:ext cx="1279789" cy="929189"/>
            <a:chOff x="7983978" y="4186280"/>
            <a:chExt cx="959842" cy="696892"/>
          </a:xfrm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xmlns="" id="{9B218A25-6A87-47B7-A079-F869E70337C2}"/>
                </a:ext>
              </a:extLst>
            </p:cNvPr>
            <p:cNvGrpSpPr/>
            <p:nvPr userDrawn="1"/>
          </p:nvGrpSpPr>
          <p:grpSpPr>
            <a:xfrm rot="21057248">
              <a:off x="7983978" y="4186280"/>
              <a:ext cx="598849" cy="338677"/>
              <a:chOff x="3925596" y="3102305"/>
              <a:chExt cx="1061639" cy="600407"/>
            </a:xfrm>
          </p:grpSpPr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xmlns="" id="{1870F5C4-739E-4C9C-AF68-1728FF7D45A9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xmlns="" id="{BDD48BE0-C559-4C2F-A393-F30E7618598A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xmlns="" id="{77216F4F-7C6B-4E67-9D75-DEC8765060E2}"/>
                </a:ext>
              </a:extLst>
            </p:cNvPr>
            <p:cNvGrpSpPr/>
            <p:nvPr userDrawn="1"/>
          </p:nvGrpSpPr>
          <p:grpSpPr>
            <a:xfrm rot="2701796">
              <a:off x="8534965" y="4410195"/>
              <a:ext cx="522316" cy="295394"/>
              <a:chOff x="3925596" y="3102305"/>
              <a:chExt cx="1061639" cy="600407"/>
            </a:xfrm>
          </p:grpSpPr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xmlns="" id="{DA607A84-025E-4337-8CA5-96DB72F9BFCE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007C92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xmlns="" id="{6176D660-C691-4E15-AC04-E9757CD47781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xmlns="" id="{090122C7-1C2C-457B-A890-1F1F601C0AD4}"/>
                </a:ext>
              </a:extLst>
            </p:cNvPr>
            <p:cNvGrpSpPr/>
            <p:nvPr userDrawn="1"/>
          </p:nvGrpSpPr>
          <p:grpSpPr>
            <a:xfrm rot="18904393">
              <a:off x="8249788" y="4675033"/>
              <a:ext cx="368031" cy="208139"/>
              <a:chOff x="3925596" y="3102305"/>
              <a:chExt cx="1061639" cy="600407"/>
            </a:xfrm>
          </p:grpSpPr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xmlns="" id="{43D3CFEB-360E-456A-9FE5-A156E0698BBD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72B5CC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xmlns="" id="{DA4C7121-1C62-4C33-A0A5-D474FA4B59A2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A181B69-CB8D-4DAD-AF6F-80BA5A3B7901}"/>
              </a:ext>
            </a:extLst>
          </p:cNvPr>
          <p:cNvSpPr txBox="1"/>
          <p:nvPr userDrawn="1"/>
        </p:nvSpPr>
        <p:spPr>
          <a:xfrm>
            <a:off x="745066" y="4110204"/>
            <a:ext cx="10701869" cy="1655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CA" sz="5333" b="1" dirty="0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7E41ED8-2D13-4B3E-B415-71ADF40E0573}"/>
              </a:ext>
            </a:extLst>
          </p:cNvPr>
          <p:cNvSpPr/>
          <p:nvPr userDrawn="1"/>
        </p:nvSpPr>
        <p:spPr>
          <a:xfrm>
            <a:off x="0" y="0"/>
            <a:ext cx="12192000" cy="381003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0000">
                <a:schemeClr val="bg1">
                  <a:alpha val="10000"/>
                </a:schemeClr>
              </a:gs>
              <a:gs pos="59000">
                <a:schemeClr val="bg1">
                  <a:alpha val="50000"/>
                </a:schemeClr>
              </a:gs>
              <a:gs pos="91000">
                <a:schemeClr val="bg1">
                  <a:alpha val="8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89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A2FB8311-43F9-419F-9FE3-E1D7801A1F9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45066" y="1392472"/>
            <a:ext cx="10701869" cy="1937489"/>
          </a:xfrm>
        </p:spPr>
        <p:txBody>
          <a:bodyPr tIns="57575" anchor="b"/>
          <a:lstStyle>
            <a:lvl1pPr algn="l">
              <a:lnSpc>
                <a:spcPct val="90000"/>
              </a:lnSpc>
              <a:defRPr sz="6400" spc="-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B65AB618-3B81-4D6E-BF4D-FF98D6A8875F}"/>
              </a:ext>
            </a:extLst>
          </p:cNvPr>
          <p:cNvCxnSpPr>
            <a:cxnSpLocks/>
          </p:cNvCxnSpPr>
          <p:nvPr userDrawn="1"/>
        </p:nvCxnSpPr>
        <p:spPr>
          <a:xfrm>
            <a:off x="-1" y="3471727"/>
            <a:ext cx="11579423" cy="0"/>
          </a:xfrm>
          <a:prstGeom prst="line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xmlns="" id="{AAB4F1E0-69A7-42D9-9BF6-5E933A26C55F}"/>
              </a:ext>
            </a:extLst>
          </p:cNvPr>
          <p:cNvCxnSpPr>
            <a:cxnSpLocks/>
          </p:cNvCxnSpPr>
          <p:nvPr userDrawn="1"/>
        </p:nvCxnSpPr>
        <p:spPr>
          <a:xfrm>
            <a:off x="-2" y="3566244"/>
            <a:ext cx="11737019" cy="0"/>
          </a:xfrm>
          <a:prstGeom prst="line">
            <a:avLst/>
          </a:prstGeom>
          <a:ln w="381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xmlns="" id="{36DBC1E5-8E02-4635-BBB6-C0E75048B10B}"/>
              </a:ext>
            </a:extLst>
          </p:cNvPr>
          <p:cNvCxnSpPr>
            <a:cxnSpLocks/>
          </p:cNvCxnSpPr>
          <p:nvPr userDrawn="1"/>
        </p:nvCxnSpPr>
        <p:spPr>
          <a:xfrm>
            <a:off x="-1" y="3660761"/>
            <a:ext cx="11894615" cy="0"/>
          </a:xfrm>
          <a:prstGeom prst="line">
            <a:avLst/>
          </a:prstGeom>
          <a:ln w="38100" cap="rnd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0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212721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5055261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1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2441740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6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7" y="4033951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1552273"/>
      </p:ext>
    </p:extLst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4993386"/>
      </p:ext>
    </p:extLst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15245906"/>
      </p:ext>
    </p:extLst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8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50261065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680893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4268" y="6301366"/>
            <a:ext cx="11345333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  <a:lvl2pPr marL="353194" indent="0">
              <a:buNone/>
              <a:defRPr sz="1200"/>
            </a:lvl2pPr>
            <a:lvl3pPr marL="714785" indent="0">
              <a:buNone/>
              <a:defRPr sz="1200"/>
            </a:lvl3pPr>
            <a:lvl4pPr marL="1076424" indent="0">
              <a:buNone/>
              <a:defRPr sz="1200"/>
            </a:lvl4pPr>
            <a:lvl5pPr marL="1429571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2399244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 marL="715379" indent="-361926">
              <a:buClr>
                <a:schemeClr val="accent1"/>
              </a:buClr>
              <a:buFont typeface="Verdana" panose="020B0604030504040204" pitchFamily="34" charset="0"/>
              <a:buChar char="–"/>
              <a:defRPr>
                <a:solidFill>
                  <a:schemeClr val="accent2"/>
                </a:solidFill>
              </a:defRPr>
            </a:lvl2pPr>
            <a:lvl3pPr marL="1077304" indent="-361926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accent2"/>
                </a:solidFill>
              </a:defRPr>
            </a:lvl3pPr>
            <a:lvl4pPr>
              <a:buClr>
                <a:srgbClr val="C00000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C00000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6599278"/>
            <a:ext cx="12192000" cy="258726"/>
          </a:xfrm>
        </p:spPr>
        <p:txBody>
          <a:bodyPr lIns="90000" tIns="46800" rIns="90000" bIns="46800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22400" y="6303287"/>
            <a:ext cx="11347200" cy="258726"/>
          </a:xfrm>
        </p:spPr>
        <p:txBody>
          <a:bodyPr wrap="square" lIns="90000" tIns="46800" rIns="90000" bIns="46800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606017058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6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8" y="4033951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94126716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404035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00508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718256"/>
      </p:ext>
    </p:extLst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8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80" y="4033952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97907396"/>
      </p:ext>
    </p:extLst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85855983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7676671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619051"/>
      </p:ext>
    </p:extLst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00737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33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09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6518088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112186" y="6527803"/>
            <a:ext cx="11346268" cy="26605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reference her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1978" y="6140583"/>
            <a:ext cx="10896473" cy="342900"/>
          </a:xfrm>
        </p:spPr>
        <p:txBody>
          <a:bodyPr anchor="b"/>
          <a:lstStyle>
            <a:lvl1pPr marL="0" indent="0">
              <a:buNone/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067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sz="1067" dirty="0">
                <a:solidFill>
                  <a:srgbClr val="82786F"/>
                </a:solidFill>
                <a:cs typeface="Verdana" panose="020B0604030504040204" pitchFamily="34" charset="0"/>
              </a:rPr>
              <a:t>Footnote (Verdana 8)</a:t>
            </a:r>
          </a:p>
        </p:txBody>
      </p:sp>
    </p:spTree>
    <p:extLst>
      <p:ext uri="{BB962C8B-B14F-4D97-AF65-F5344CB8AC3E}">
        <p14:creationId xmlns:p14="http://schemas.microsoft.com/office/powerpoint/2010/main" val="1270873466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112186" y="6527803"/>
            <a:ext cx="11346268" cy="26605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reference her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61978" y="6140583"/>
            <a:ext cx="10896473" cy="342900"/>
          </a:xfrm>
        </p:spPr>
        <p:txBody>
          <a:bodyPr anchor="b"/>
          <a:lstStyle>
            <a:lvl1pPr marL="0" indent="0">
              <a:buNone/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067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>
              <a:defRPr lang="en-GB" sz="1067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GB" sz="1067" dirty="0">
                <a:solidFill>
                  <a:srgbClr val="82786F"/>
                </a:solidFill>
                <a:cs typeface="Verdana" panose="020B0604030504040204" pitchFamily="34" charset="0"/>
              </a:rPr>
              <a:t>Footnote (Verdana 8)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5" y="687919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21702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4268" y="6301366"/>
            <a:ext cx="11345333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  <a:lvl2pPr marL="353194" indent="0">
              <a:buNone/>
              <a:defRPr sz="1200"/>
            </a:lvl2pPr>
            <a:lvl3pPr marL="714785" indent="0">
              <a:buNone/>
              <a:defRPr sz="1200"/>
            </a:lvl3pPr>
            <a:lvl4pPr marL="1076424" indent="0">
              <a:buNone/>
              <a:defRPr sz="1200"/>
            </a:lvl4pPr>
            <a:lvl5pPr marL="1429571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23940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xmlns="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xmlns="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xmlns="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391392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 marL="715379" indent="-361926">
              <a:buClr>
                <a:schemeClr val="accent1"/>
              </a:buClr>
              <a:buFont typeface="Verdana" panose="020B0604030504040204" pitchFamily="34" charset="0"/>
              <a:buChar char="–"/>
              <a:defRPr>
                <a:solidFill>
                  <a:schemeClr val="accent2"/>
                </a:solidFill>
              </a:defRPr>
            </a:lvl2pPr>
            <a:lvl3pPr marL="1077304" indent="-361926"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accent2"/>
                </a:solidFill>
              </a:defRPr>
            </a:lvl3pPr>
            <a:lvl4pPr>
              <a:buClr>
                <a:srgbClr val="C00000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C00000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6599279"/>
            <a:ext cx="12192000" cy="258724"/>
          </a:xfrm>
        </p:spPr>
        <p:txBody>
          <a:bodyPr lIns="89998" tIns="46799" rIns="89998" bIns="46799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22400" y="6303289"/>
            <a:ext cx="11347200" cy="258724"/>
          </a:xfrm>
        </p:spPr>
        <p:txBody>
          <a:bodyPr wrap="square" lIns="89998" tIns="46799" rIns="89998" bIns="46799" anchor="b" anchorCtr="0">
            <a:spAutoFit/>
          </a:bodyPr>
          <a:lstStyle>
            <a:lvl1pPr marL="0" indent="0">
              <a:buNone/>
              <a:defRPr sz="1067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569145462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224907" y="5669876"/>
            <a:ext cx="10120543" cy="92747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1219110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1804" y="6099937"/>
            <a:ext cx="9412817" cy="497417"/>
          </a:xfrm>
        </p:spPr>
        <p:txBody>
          <a:bodyPr anchor="b" anchorCtr="0"/>
          <a:lstStyle>
            <a:lvl1pPr marL="0" indent="0">
              <a:buNone/>
              <a:defRPr sz="1067">
                <a:solidFill>
                  <a:srgbClr val="82786F"/>
                </a:solidFill>
              </a:defRPr>
            </a:lvl1pPr>
            <a:lvl2pPr marL="721731" indent="0">
              <a:buNone/>
              <a:defRPr/>
            </a:lvl2pPr>
            <a:lvl3pPr marL="1434992" indent="0">
              <a:buNone/>
              <a:defRPr/>
            </a:lvl3pPr>
            <a:lvl4pPr marL="2154605" indent="0">
              <a:buNone/>
              <a:defRPr/>
            </a:lvl4pPr>
            <a:lvl5pPr marL="287421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5"/>
            <a:ext cx="11347200" cy="3647868"/>
          </a:xfrm>
        </p:spPr>
        <p:txBody>
          <a:bodyPr/>
          <a:lstStyle>
            <a:lvl1pPr>
              <a:buClr>
                <a:srgbClr val="009FDA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E97F20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00196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82786F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965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224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  <a:cs typeface="Arial" pitchFamily="34" charset="0"/>
              </a:rPr>
              <a:t>Presentation titl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CA">
                <a:solidFill>
                  <a:srgbClr val="82786F"/>
                </a:solidFill>
                <a:cs typeface="Arial" pitchFamily="34" charset="0"/>
              </a:rPr>
              <a:t>Date</a:t>
            </a:r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59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  <a:cs typeface="Arial" pitchFamily="34" charset="0"/>
              </a:rPr>
              <a:pPr>
                <a:defRPr/>
              </a:pPr>
              <a:t>‹n.›</a:t>
            </a:fld>
            <a:endParaRPr lang="en-GB" dirty="0">
              <a:solidFill>
                <a:srgbClr val="82786F"/>
              </a:solidFill>
              <a:cs typeface="Arial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394203F2-1BC9-40CF-ABE5-BB40DBC1EC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902" y="5993684"/>
            <a:ext cx="8140700" cy="654960"/>
          </a:xfrm>
        </p:spPr>
        <p:txBody>
          <a:bodyPr anchor="b">
            <a:normAutofit/>
          </a:bodyPr>
          <a:lstStyle>
            <a:lvl1pPr marL="0" indent="0"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3851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 xmlns:p14="http://schemas.microsoft.com/office/powerpoint/2010/main"/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5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6" y="4033950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8702418"/>
      </p:ext>
    </p:extLst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3308293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6260436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7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60712215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356484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06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9308320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69854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5626451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1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9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24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lnSpc>
                <a:spcPct val="120000"/>
              </a:lnSpc>
            </a:pPr>
            <a:r>
              <a:rPr lang="en-US" sz="133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xmlns="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CC218D6D-FEFB-46D0-8813-C99976F4CA1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3104851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9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7FDF5EDE-8F7F-4DF3-B844-7C0C4E6AC641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9CE848CF-6894-4564-ABE3-C9ED24818DC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001" y="605588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471420AF-1268-4AE1-84DA-164DB71C2C14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xmlns="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xmlns="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1E4501D4-80DD-6712-25F4-A6D515CAB8F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xmlns="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1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2DB09BC2-598E-40D3-B291-F2AE97681E1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xmlns="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xmlns="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6031507D-6644-A3B6-BBED-4B812C95A40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/>
            <a:r>
              <a:rPr lang="en-US" sz="72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xmlns="" id="{E4BBEEFE-FD1C-41BE-8701-C445D2EB12C0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97129AA5-5F6C-4D56-9FE7-7F7D411655B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>
                <a:solidFill>
                  <a:srgbClr val="001965"/>
                </a:solidFill>
              </a:rPr>
              <a:pPr/>
              <a:t>24 February 2024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289874BE-970D-D4C8-9E09-95F2102C6FC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69993" indent="-269993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1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69993" indent="-269993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2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B3C1CADE-9463-4A8D-B4E6-273C0EC9AFF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51093488-6AB7-37A0-89EA-AB79F453A22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6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5" y="647701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299">
                <a:solidFill>
                  <a:srgbClr val="EBE8E5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2" y="648000"/>
            <a:ext cx="7675975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CFC03F98-43D5-4866-9EED-B1724A421DE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6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C259898-72ED-48AD-B8DB-354C87B7C69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F5E8B261-EC29-2FF5-230F-CD67CBFA525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596014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1" y="647701"/>
            <a:ext cx="8976151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1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2" y="3429002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1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US" dirty="0"/>
              <a:t>Click to add trumpet</a:t>
            </a:r>
          </a:p>
        </p:txBody>
      </p:sp>
    </p:spTree>
    <p:extLst/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1"/>
            <a:ext cx="6408000" cy="4266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1"/>
            <a:ext cx="4164000" cy="4266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2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1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647701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1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12558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1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2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2" y="2488125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4" y="647701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1" y="968517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xmlns="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xmlns="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xmlns="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1490081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5" y="2518126"/>
            <a:ext cx="2555453" cy="1821751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5" y="2518126"/>
            <a:ext cx="2555453" cy="1821751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xmlns="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xmlns="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xmlns="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81" y="1608018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PICTURES</a:t>
            </a:r>
            <a:r>
              <a:rPr lang="en-US" sz="9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sz="9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corporate picture from Templafy</a:t>
            </a: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Click the blu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emplafy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butto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dropdown, 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mage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r 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mages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button in the Templafy pane on the right side of the screen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</a:t>
            </a:r>
          </a:p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rop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rop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o change size or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ocus of the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HIFT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-key down while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xmlns="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xmlns="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xmlns="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xmlns="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8"/>
            <a:ext cx="2280360" cy="4862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EXT STYLES</a:t>
            </a:r>
            <a:endParaRPr lang="en-US" altLang="da-DK" sz="16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AB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-key to jump through levels. 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ENTER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, then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AB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o switch from one level to the next level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crease</a:t>
            </a: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and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ecrease</a:t>
            </a:r>
            <a:b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list level can be used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Use bullet butto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 &amp; LAYOUTS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ome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to insert a new slide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hange layout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eset slide</a:t>
            </a:r>
          </a:p>
          <a:p>
            <a:pPr defTabSz="914377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menu to reset position, size and formatting of the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 placeholders to their default settings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81" y="3322849"/>
            <a:ext cx="257143" cy="285715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xmlns="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2" y="2599669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xmlns="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3" y="3118827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xmlns="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74002" y="4313403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xmlns="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2" y="5641557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xmlns="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4" y="3928567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7"/>
            <a:ext cx="2358243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EADER &amp; FOOTER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eader and Footer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(write the desired text)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pply to All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pply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if only used on one slide</a:t>
            </a:r>
          </a:p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View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Guides</a:t>
            </a: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Alt + F9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or quick view of guides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 &amp; SLIDE ELEMENTS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 elements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US" altLang="da-DK" sz="9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914377"/>
            <a:r>
              <a:rPr lang="en-US" sz="3200" noProof="1">
                <a:solidFill>
                  <a:srgbClr val="000000"/>
                </a:solidFill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xmlns="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7" y="4635850"/>
            <a:ext cx="650851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74001" y="5077013"/>
            <a:ext cx="475428" cy="17676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5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4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4400" dirty="0">
                <a:solidFill>
                  <a:srgbClr val="FFFFFF"/>
                </a:solidFill>
              </a:rPr>
              <a:t>If you see any </a:t>
            </a:r>
            <a:r>
              <a:rPr lang="en-US" sz="4400" b="1" i="1" dirty="0">
                <a:solidFill>
                  <a:srgbClr val="FFFFFF"/>
                </a:solidFill>
              </a:rPr>
              <a:t>layouts after this </a:t>
            </a:r>
            <a:r>
              <a:rPr lang="en-US" sz="4400" dirty="0">
                <a:solidFill>
                  <a:srgbClr val="FFFFFF"/>
                </a:solidFill>
              </a:rPr>
              <a:t>one</a:t>
            </a:r>
            <a:r>
              <a:rPr lang="en-US" sz="4400" b="1" i="1" dirty="0">
                <a:solidFill>
                  <a:srgbClr val="FFFFFF"/>
                </a:solidFill>
              </a:rPr>
              <a:t>,</a:t>
            </a:r>
            <a:r>
              <a:rPr lang="en-US" sz="4400" dirty="0">
                <a:solidFill>
                  <a:srgbClr val="FFFFFF"/>
                </a:solidFill>
              </a:rPr>
              <a:t/>
            </a:r>
            <a:br>
              <a:rPr lang="en-US" sz="4400" dirty="0">
                <a:solidFill>
                  <a:srgbClr val="FFFFFF"/>
                </a:solidFill>
              </a:rPr>
            </a:br>
            <a:r>
              <a:rPr lang="en-US" sz="4400" dirty="0">
                <a:solidFill>
                  <a:srgbClr val="FFFFFF"/>
                </a:solidFill>
              </a:rPr>
              <a:t>do not use them. These layouts </a:t>
            </a:r>
            <a:r>
              <a:rPr lang="en-US" sz="4400" b="1" i="1" dirty="0">
                <a:solidFill>
                  <a:srgbClr val="FFFFFF"/>
                </a:solidFill>
              </a:rPr>
              <a:t>are not </a:t>
            </a:r>
            <a:r>
              <a:rPr lang="en-US" sz="4400" dirty="0">
                <a:solidFill>
                  <a:srgbClr val="FFFFFF"/>
                </a:solidFill>
              </a:rPr>
              <a:t>part of our corporate template.</a:t>
            </a: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endParaRPr lang="en-US" sz="2800" dirty="0">
              <a:solidFill>
                <a:srgbClr val="FFFFFF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sz="13800" b="1" i="1" dirty="0">
                <a:solidFill>
                  <a:srgbClr val="FFFFFF"/>
                </a:solidFill>
              </a:rPr>
              <a:t>Do not use </a:t>
            </a:r>
            <a:endParaRPr lang="en-US" sz="2400" b="1" i="1" dirty="0">
              <a:solidFill>
                <a:srgbClr val="000000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2000" dirty="0">
                <a:solidFill>
                  <a:srgbClr val="FFFFFF"/>
                </a:solidFill>
              </a:rPr>
              <a:t>Due to PowerPoint’s standard Copy/Paste functionality extra undesirable layouts can appear.</a:t>
            </a:r>
          </a:p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2000" dirty="0">
                <a:solidFill>
                  <a:srgbClr val="FFFFFF"/>
                </a:solidFill>
              </a:rPr>
              <a:t>Also notice: Layouts after this might contain potential confidential information.</a:t>
            </a:r>
            <a:r>
              <a:rPr lang="en-US" sz="1800" dirty="0">
                <a:solidFill>
                  <a:srgbClr val="FFFFFF"/>
                </a:solidFill>
              </a:rPr>
              <a:t/>
            </a:r>
            <a:br>
              <a:rPr lang="en-US" sz="1800" dirty="0">
                <a:solidFill>
                  <a:srgbClr val="FFFFFF"/>
                </a:solidFill>
              </a:rPr>
            </a:b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C00000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0782305" y="6424615"/>
            <a:ext cx="643467" cy="234951"/>
          </a:xfrm>
          <a:prstGeom prst="rect">
            <a:avLst/>
          </a:prstGeom>
        </p:spPr>
        <p:txBody>
          <a:bodyPr/>
          <a:lstStyle>
            <a:lvl1pPr defTabSz="457178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|</a:t>
            </a:r>
            <a:r>
              <a:rPr lang="en-US" sz="900" baseline="16000" dirty="0">
                <a:solidFill>
                  <a:srgbClr val="FFFFFF"/>
                </a:solidFill>
              </a:rPr>
              <a:t>        </a:t>
            </a:r>
            <a:fld id="{D5E7C937-840B-45A6-8E66-7E7A0C2CC092}" type="slidenum">
              <a:rPr lang="en-US">
                <a:solidFill>
                  <a:srgbClr val="FFFFFF"/>
                </a:solidFill>
              </a:rPr>
              <a:pPr>
                <a:defRPr/>
              </a:pPr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5787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>
              <a:defRPr lang="it-IT" dirty="0"/>
            </a:lvl1pPr>
          </a:lstStyle>
          <a:p>
            <a:pPr lvl="0"/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5"/>
            <a:ext cx="12192000" cy="1341439"/>
          </a:xfrm>
          <a:solidFill>
            <a:srgbClr val="5787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>
              <a:defRPr lang="it-IT"/>
            </a:lvl1pPr>
          </a:lstStyle>
          <a:p>
            <a:pPr lvl="0"/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177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1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6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139"/>
            </a:lvl6pPr>
            <a:lvl7pPr>
              <a:defRPr sz="1139"/>
            </a:lvl7pPr>
            <a:lvl8pPr>
              <a:defRPr sz="1139"/>
            </a:lvl8pPr>
            <a:lvl9pPr>
              <a:defRPr sz="1139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177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1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6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139"/>
            </a:lvl6pPr>
            <a:lvl7pPr>
              <a:defRPr sz="1139"/>
            </a:lvl7pPr>
            <a:lvl8pPr>
              <a:defRPr sz="1139"/>
            </a:lvl8pPr>
            <a:lvl9pPr>
              <a:defRPr sz="1139"/>
            </a:lvl9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8688178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5"/>
            <a:ext cx="12192000" cy="1341439"/>
          </a:xfrm>
          <a:solidFill>
            <a:srgbClr val="5787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>
              <a:defRPr lang="it-IT" dirty="0"/>
            </a:lvl1pPr>
          </a:lstStyle>
          <a:p>
            <a:pPr lvl="0"/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5" t="16200" b="4037"/>
          <a:stretch>
            <a:fillRect/>
          </a:stretch>
        </p:blipFill>
        <p:spPr bwMode="auto">
          <a:xfrm>
            <a:off x="262467" y="1672168"/>
            <a:ext cx="3528484" cy="497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olo 16"/>
          <p:cNvSpPr>
            <a:spLocks noGrp="1"/>
          </p:cNvSpPr>
          <p:nvPr>
            <p:ph type="title"/>
          </p:nvPr>
        </p:nvSpPr>
        <p:spPr>
          <a:xfrm>
            <a:off x="7" y="0"/>
            <a:ext cx="12182055" cy="1340768"/>
          </a:xfrm>
          <a:solidFill>
            <a:srgbClr val="5787C6"/>
          </a:solidFill>
        </p:spPr>
        <p:txBody>
          <a:bodyPr>
            <a:normAutofit/>
          </a:bodyPr>
          <a:lstStyle>
            <a:lvl1pPr>
              <a:defRPr sz="2279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5" name="Segnaposto contenuto 3"/>
          <p:cNvSpPr>
            <a:spLocks noGrp="1"/>
          </p:cNvSpPr>
          <p:nvPr>
            <p:ph sz="half" idx="2"/>
          </p:nvPr>
        </p:nvSpPr>
        <p:spPr>
          <a:xfrm>
            <a:off x="4151784" y="1700812"/>
            <a:ext cx="7632848" cy="4525963"/>
          </a:xfrm>
        </p:spPr>
        <p:txBody>
          <a:bodyPr/>
          <a:lstStyle>
            <a:lvl1pPr>
              <a:defRPr sz="177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1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6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3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139"/>
            </a:lvl6pPr>
            <a:lvl7pPr>
              <a:defRPr sz="1139"/>
            </a:lvl7pPr>
            <a:lvl8pPr>
              <a:defRPr sz="1139"/>
            </a:lvl8pPr>
            <a:lvl9pPr>
              <a:defRPr sz="1139"/>
            </a:lvl9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1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9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24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7">
              <a:lnSpc>
                <a:spcPct val="120000"/>
              </a:lnSpc>
            </a:pPr>
            <a:r>
              <a:rPr lang="en-US" sz="133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xmlns="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CC218D6D-FEFB-46D0-8813-C99976F4CA1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3104851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9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7FDF5EDE-8F7F-4DF3-B844-7C0C4E6AC641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xmlns="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xmlns="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9CE848CF-6894-4564-ABE3-C9ED24818DC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8001" y="605588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471420AF-1268-4AE1-84DA-164DB71C2C14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1" y="3753001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xmlns="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xmlns="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1E4501D4-80DD-6712-25F4-A6D515CAB8F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xmlns="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1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2DB09BC2-598E-40D3-B291-F2AE97681E1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xmlns="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xmlns="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6031507D-6644-A3B6-BBED-4B812C95A40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/>
            <a:r>
              <a:rPr lang="en-US" sz="7200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xmlns="" id="{E4BBEEFE-FD1C-41BE-8701-C445D2EB12C0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5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01 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97129AA5-5F6C-4D56-9FE7-7F7D411655B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>
                <a:solidFill>
                  <a:srgbClr val="001965"/>
                </a:solidFill>
              </a:rPr>
              <a:pPr/>
              <a:t>24 February 2024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3" name="dynamic logo whit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289874BE-970D-D4C8-9E09-95F2102C6FC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8141158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69993" indent="-269993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Agenda poin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1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69993" indent="-269993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marL="269993" lvl="1" indent="-269993" algn="l" defTabSz="914377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2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B3C1CADE-9463-4A8D-B4E6-273C0EC9AFF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51093488-6AB7-37A0-89EA-AB79F453A22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6" name="dynamic logo whit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5" y="647701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299">
                <a:solidFill>
                  <a:srgbClr val="EBE8E5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2" y="648000"/>
            <a:ext cx="7675975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CFC03F98-43D5-4866-9EED-B1724A421DE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6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C259898-72ED-48AD-B8DB-354C87B7C69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" name="dynamic year 100" descr="{&quot;templafy&quot;:{&quot;type&quot;:&quot;image&quot;,&quot;inheritDimensions&quot;:&quot;inheritNone&quot;,&quot;width&quot;:&quot;7.67 cm&quot;,&quot;binding&quot;:&quot;Form.PLogoChoice.PLogoYear&quot;}}" title="Form.PLogoChoice.PLogoInsertion">
            <a:extLst>
              <a:ext uri="{FF2B5EF4-FFF2-40B4-BE49-F238E27FC236}">
                <a16:creationId xmlns:a16="http://schemas.microsoft.com/office/drawing/2014/main" xmlns="" id="{F5E8B261-EC29-2FF5-230F-CD67CBFA525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1" y="647701"/>
            <a:ext cx="8976151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1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2" y="3429002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1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US" dirty="0"/>
              <a:t>Click to add trumpet</a:t>
            </a:r>
          </a:p>
        </p:txBody>
      </p:sp>
    </p:spTree>
    <p:extLst/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1"/>
            <a:ext cx="6408000" cy="4266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1"/>
            <a:ext cx="4164000" cy="4266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2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xmlns="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xmlns="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927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18341070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1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647701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1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1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picture text</a:t>
            </a:r>
          </a:p>
        </p:txBody>
      </p:sp>
    </p:spTree>
    <p:extLst/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2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2" y="2488125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4" y="647701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1" y="968517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xmlns="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xmlns="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xmlns="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xmlns="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9230336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xmlns="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Insert notes</a:t>
            </a:r>
          </a:p>
        </p:txBody>
      </p:sp>
    </p:spTree>
    <p:extLst/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US" smtClean="0">
                <a:solidFill>
                  <a:srgbClr val="001965"/>
                </a:solidFill>
              </a:rPr>
              <a:pPr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</p:spTree>
    <p:extLst/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5" y="2518126"/>
            <a:ext cx="2555453" cy="1821751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5" y="2518126"/>
            <a:ext cx="2555453" cy="1821751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pPr defTabSz="914377"/>
            <a:endParaRPr lang="en-US" sz="1351" dirty="0">
              <a:solidFill>
                <a:srgbClr val="000000"/>
              </a:solidFill>
            </a:endParaRP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xmlns="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xmlns="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xmlns="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81" y="1608018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PICTURES</a:t>
            </a:r>
            <a:r>
              <a:rPr lang="en-US" sz="9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sz="9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corporate picture from Templafy</a:t>
            </a: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1.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Click the blu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emplafy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butto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dropdown, 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mage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r 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mages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button in the Templafy pane on the right side of the screen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</a:t>
            </a:r>
          </a:p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rop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1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rop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o change size or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ocus of the picture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2.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HIFT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-key down while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xmlns="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xmlns="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xmlns="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xmlns="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8"/>
            <a:ext cx="2280360" cy="4862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EXT STYLES</a:t>
            </a:r>
            <a:endParaRPr lang="en-US" altLang="da-DK" sz="16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AB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-key to jump through levels. 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ENTER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, then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AB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o switch from one level to the next level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HIFT-TAB</a:t>
            </a:r>
            <a:endParaRPr lang="en-US" sz="9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crease</a:t>
            </a: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and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ecrease</a:t>
            </a:r>
            <a:b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list level can be used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Use bullet butto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 &amp; LAYOUTS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New Slide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ome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to insert a new slide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hange layout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US" sz="900" b="1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US" sz="900" b="1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>
                <a:solidFill>
                  <a:srgbClr val="000000"/>
                </a:solidFill>
                <a:latin typeface="Apis For Office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/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eset slide</a:t>
            </a:r>
          </a:p>
          <a:p>
            <a:pPr defTabSz="914377" eaLnBrk="1" hangingPunct="1">
              <a:spcAft>
                <a:spcPts val="600"/>
              </a:spcAft>
              <a:buFont typeface="+mj-lt"/>
              <a:buNone/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menu to reset position, size and formatting of the </a:t>
            </a:r>
            <a:b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</a:b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 placeholders to their default settings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81" y="3322849"/>
            <a:ext cx="257143" cy="285715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xmlns="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2" y="2599669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xmlns="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3" y="3118827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xmlns="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74002" y="4313403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xmlns="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74002" y="5641557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xmlns="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4" y="3928567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7"/>
            <a:ext cx="2358243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EADER &amp; FOOTER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eader and Footer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(write the desired text)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pply to All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Apply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if only used on one slide</a:t>
            </a:r>
          </a:p>
          <a:p>
            <a:pPr defTabSz="914377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View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Guides</a:t>
            </a: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HINT: Alt + F9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or quick view of guides</a:t>
            </a:r>
          </a:p>
          <a:p>
            <a:pPr defTabSz="914377" eaLnBrk="1" hangingPunct="1">
              <a:spcAft>
                <a:spcPts val="600"/>
              </a:spcAft>
              <a:defRPr/>
            </a:pPr>
            <a:endParaRPr lang="en-US" altLang="da-DK" sz="900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 &amp; SLIDE ELEMENTS</a:t>
            </a:r>
          </a:p>
          <a:p>
            <a:pPr defTabSz="914377" eaLnBrk="1" hangingPunct="1">
              <a:spcAft>
                <a:spcPts val="600"/>
              </a:spcAft>
              <a:defRPr/>
            </a:pP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s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Slide elements </a:t>
            </a:r>
            <a:r>
              <a:rPr lang="en-US" altLang="da-DK" sz="900" noProof="1">
                <a:solidFill>
                  <a:srgbClr val="000000"/>
                </a:solidFill>
                <a:latin typeface="Apis For Office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US" altLang="da-DK" sz="900" b="1" noProof="1">
              <a:solidFill>
                <a:srgbClr val="000000"/>
              </a:solidFill>
              <a:latin typeface="Apis For Office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914377"/>
            <a:r>
              <a:rPr lang="en-US" sz="3200" noProof="1">
                <a:solidFill>
                  <a:srgbClr val="000000"/>
                </a:solidFill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xmlns="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7" y="4635850"/>
            <a:ext cx="650851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74001" y="5077013"/>
            <a:ext cx="475428" cy="17676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5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4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4400" dirty="0">
                <a:solidFill>
                  <a:srgbClr val="FFFFFF"/>
                </a:solidFill>
              </a:rPr>
              <a:t>If you see any </a:t>
            </a:r>
            <a:r>
              <a:rPr lang="en-US" sz="4400" b="1" i="1" dirty="0">
                <a:solidFill>
                  <a:srgbClr val="FFFFFF"/>
                </a:solidFill>
              </a:rPr>
              <a:t>layouts after this </a:t>
            </a:r>
            <a:r>
              <a:rPr lang="en-US" sz="4400" dirty="0">
                <a:solidFill>
                  <a:srgbClr val="FFFFFF"/>
                </a:solidFill>
              </a:rPr>
              <a:t>one</a:t>
            </a:r>
            <a:r>
              <a:rPr lang="en-US" sz="4400" b="1" i="1" dirty="0">
                <a:solidFill>
                  <a:srgbClr val="FFFFFF"/>
                </a:solidFill>
              </a:rPr>
              <a:t>,</a:t>
            </a:r>
            <a:r>
              <a:rPr lang="en-US" sz="4400" dirty="0">
                <a:solidFill>
                  <a:srgbClr val="FFFFFF"/>
                </a:solidFill>
              </a:rPr>
              <a:t/>
            </a:r>
            <a:br>
              <a:rPr lang="en-US" sz="4400" dirty="0">
                <a:solidFill>
                  <a:srgbClr val="FFFFFF"/>
                </a:solidFill>
              </a:rPr>
            </a:br>
            <a:r>
              <a:rPr lang="en-US" sz="4400" dirty="0">
                <a:solidFill>
                  <a:srgbClr val="FFFFFF"/>
                </a:solidFill>
              </a:rPr>
              <a:t>do not use them. These layouts </a:t>
            </a:r>
            <a:r>
              <a:rPr lang="en-US" sz="4400" b="1" i="1" dirty="0">
                <a:solidFill>
                  <a:srgbClr val="FFFFFF"/>
                </a:solidFill>
              </a:rPr>
              <a:t>are not </a:t>
            </a:r>
            <a:r>
              <a:rPr lang="en-US" sz="4400" dirty="0">
                <a:solidFill>
                  <a:srgbClr val="FFFFFF"/>
                </a:solidFill>
              </a:rPr>
              <a:t>part of our corporate template.</a:t>
            </a: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800" dirty="0">
                <a:solidFill>
                  <a:srgbClr val="FFFFFF"/>
                </a:solidFill>
              </a:rPr>
              <a:t/>
            </a:r>
            <a:br>
              <a:rPr lang="en-US" sz="2800" dirty="0">
                <a:solidFill>
                  <a:srgbClr val="FFFFFF"/>
                </a:solidFill>
              </a:rPr>
            </a:br>
            <a:endParaRPr lang="en-US" sz="2800" dirty="0">
              <a:solidFill>
                <a:srgbClr val="FFFFFF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spcBef>
                  <a:spcPts val="600"/>
                </a:spcBef>
                <a:buClr>
                  <a:srgbClr val="003755"/>
                </a:buClr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sz="13800" b="1" i="1" dirty="0">
                <a:solidFill>
                  <a:srgbClr val="FFFFFF"/>
                </a:solidFill>
              </a:rPr>
              <a:t>Do not use </a:t>
            </a:r>
            <a:endParaRPr lang="en-US" sz="2400" b="1" i="1" dirty="0">
              <a:solidFill>
                <a:srgbClr val="000000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2000" dirty="0">
                <a:solidFill>
                  <a:srgbClr val="FFFFFF"/>
                </a:solidFill>
              </a:rPr>
              <a:t>Due to PowerPoint’s standard Copy/Paste functionality extra undesirable layouts can appear.</a:t>
            </a:r>
          </a:p>
          <a:p>
            <a:pPr algn="ctr" defTabSz="914377">
              <a:spcBef>
                <a:spcPts val="600"/>
              </a:spcBef>
              <a:buClr>
                <a:srgbClr val="003755"/>
              </a:buClr>
            </a:pPr>
            <a:r>
              <a:rPr lang="en-US" sz="2000" dirty="0">
                <a:solidFill>
                  <a:srgbClr val="FFFFFF"/>
                </a:solidFill>
              </a:rPr>
              <a:t>Also notice: Layouts after this might contain potential confidential information.</a:t>
            </a:r>
            <a:r>
              <a:rPr lang="en-US" sz="1800" dirty="0">
                <a:solidFill>
                  <a:srgbClr val="FFFFFF"/>
                </a:solidFill>
              </a:rPr>
              <a:t/>
            </a:r>
            <a:br>
              <a:rPr lang="en-US" sz="1800" dirty="0">
                <a:solidFill>
                  <a:srgbClr val="FFFFFF"/>
                </a:solidFill>
              </a:rPr>
            </a:b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.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C00000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0782305" y="6424615"/>
            <a:ext cx="643467" cy="234951"/>
          </a:xfrm>
          <a:prstGeom prst="rect">
            <a:avLst/>
          </a:prstGeom>
        </p:spPr>
        <p:txBody>
          <a:bodyPr/>
          <a:lstStyle>
            <a:lvl1pPr defTabSz="457178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|</a:t>
            </a:r>
            <a:r>
              <a:rPr lang="en-US" sz="900" baseline="16000" dirty="0">
                <a:solidFill>
                  <a:srgbClr val="FFFFFF"/>
                </a:solidFill>
              </a:rPr>
              <a:t>        </a:t>
            </a:r>
            <a:fld id="{D5E7C937-840B-45A6-8E66-7E7A0C2CC092}" type="slidenum">
              <a:rPr lang="en-US">
                <a:solidFill>
                  <a:srgbClr val="FFFFFF"/>
                </a:solidFill>
              </a:rPr>
              <a:pPr>
                <a:defRPr/>
              </a:pPr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4826571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xmlns="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xmlns="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3357236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xmlns="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r>
              <a:rPr lang="en-GB" sz="900" dirty="0">
                <a:latin typeface="+mn-lt"/>
                <a:cs typeface="Arial" panose="020B0604020202020204" pitchFamily="34" charset="0"/>
              </a:rPr>
              <a:t/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xmlns="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xmlns="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xmlns="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xmlns="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xmlns="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xmlns="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01" t="45142" r="62601" b="9046"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xmlns="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xmlns="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xmlns="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xmlns="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170250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. Content_fixed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421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xmlns="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xmlns="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xmlns="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xmlns="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xmlns="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5" name="Subtitle 7"/>
          <p:cNvSpPr>
            <a:spLocks noGrp="1"/>
          </p:cNvSpPr>
          <p:nvPr>
            <p:ph type="subTitle" idx="14"/>
          </p:nvPr>
        </p:nvSpPr>
        <p:spPr>
          <a:xfrm>
            <a:off x="422400" y="1209112"/>
            <a:ext cx="11347200" cy="266301"/>
          </a:xfrm>
        </p:spPr>
        <p:txBody>
          <a:bodyPr/>
          <a:lstStyle>
            <a:lvl1pPr marL="0" indent="0">
              <a:buNone/>
              <a:defRPr sz="1600">
                <a:solidFill>
                  <a:srgbClr val="00B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400" y="6362700"/>
            <a:ext cx="11347200" cy="2286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67">
                <a:solidFill>
                  <a:schemeClr val="accent3"/>
                </a:solidFill>
              </a:defRPr>
            </a:lvl1pPr>
            <a:lvl2pPr marL="353474" indent="0">
              <a:buFontTx/>
              <a:buNone/>
              <a:defRPr/>
            </a:lvl2pPr>
            <a:lvl3pPr marL="715415" indent="0">
              <a:buFontTx/>
              <a:buNone/>
              <a:defRPr/>
            </a:lvl3pPr>
            <a:lvl4pPr marL="1077357" indent="0">
              <a:buFontTx/>
              <a:buNone/>
              <a:defRPr/>
            </a:lvl4pPr>
            <a:lvl5pPr marL="1430831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2909687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105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xmlns="" id="{35233CF4-4C78-492C-9EB1-03E5FAA956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951" y="-3640382"/>
            <a:ext cx="7869287" cy="8862549"/>
          </a:xfrm>
          <a:custGeom>
            <a:avLst/>
            <a:gdLst>
              <a:gd name="connsiteX0" fmla="*/ 8394311 w 16796661"/>
              <a:gd name="connsiteY0" fmla="*/ 0 h 18911283"/>
              <a:gd name="connsiteX1" fmla="*/ 16796661 w 16796661"/>
              <a:gd name="connsiteY1" fmla="*/ 10874282 h 18911283"/>
              <a:gd name="connsiteX2" fmla="*/ 8028508 w 16796661"/>
              <a:gd name="connsiteY2" fmla="*/ 18888655 h 18911283"/>
              <a:gd name="connsiteX3" fmla="*/ 128675 w 16796661"/>
              <a:gd name="connsiteY3" fmla="*/ 10090945 h 18911283"/>
              <a:gd name="connsiteX4" fmla="*/ 8394311 w 16796661"/>
              <a:gd name="connsiteY4" fmla="*/ 0 h 1891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796661" h="18911283">
                <a:moveTo>
                  <a:pt x="8394311" y="0"/>
                </a:moveTo>
                <a:cubicBezTo>
                  <a:pt x="15278029" y="0"/>
                  <a:pt x="16796661" y="6015400"/>
                  <a:pt x="16796661" y="10874282"/>
                </a:cubicBezTo>
                <a:cubicBezTo>
                  <a:pt x="16796661" y="15736854"/>
                  <a:pt x="13585737" y="18463735"/>
                  <a:pt x="8028508" y="18888655"/>
                </a:cubicBezTo>
                <a:cubicBezTo>
                  <a:pt x="3184409" y="19265545"/>
                  <a:pt x="985907" y="14875924"/>
                  <a:pt x="128675" y="10090945"/>
                </a:cubicBezTo>
                <a:cubicBezTo>
                  <a:pt x="-809850" y="4851487"/>
                  <a:pt x="3531736" y="0"/>
                  <a:pt x="8394311" y="0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FCB51667-CE6B-4B57-B0AF-E880DEE9D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69488" y="-3168628"/>
            <a:ext cx="8324150" cy="7921167"/>
          </a:xfrm>
          <a:custGeom>
            <a:avLst/>
            <a:gdLst>
              <a:gd name="connsiteX0" fmla="*/ 9530843 w 16553206"/>
              <a:gd name="connsiteY0" fmla="*/ 207 h 15751843"/>
              <a:gd name="connsiteX1" fmla="*/ 15953080 w 16553206"/>
              <a:gd name="connsiteY1" fmla="*/ 3417471 h 15751843"/>
              <a:gd name="connsiteX2" fmla="*/ 11205904 w 16553206"/>
              <a:gd name="connsiteY2" fmla="*/ 13417870 h 15751843"/>
              <a:gd name="connsiteX3" fmla="*/ 420622 w 16553206"/>
              <a:gd name="connsiteY3" fmla="*/ 11607126 h 15751843"/>
              <a:gd name="connsiteX4" fmla="*/ 4214232 w 16553206"/>
              <a:gd name="connsiteY4" fmla="*/ 945772 h 15751843"/>
              <a:gd name="connsiteX5" fmla="*/ 9530843 w 16553206"/>
              <a:gd name="connsiteY5" fmla="*/ 207 h 15751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553206" h="15751843">
                <a:moveTo>
                  <a:pt x="9530843" y="207"/>
                </a:moveTo>
                <a:cubicBezTo>
                  <a:pt x="12406252" y="16680"/>
                  <a:pt x="14924640" y="1018494"/>
                  <a:pt x="15953080" y="3417471"/>
                </a:cubicBezTo>
                <a:cubicBezTo>
                  <a:pt x="17884312" y="7930559"/>
                  <a:pt x="14848046" y="10147514"/>
                  <a:pt x="11205904" y="13417870"/>
                </a:cubicBezTo>
                <a:cubicBezTo>
                  <a:pt x="6672162" y="17493762"/>
                  <a:pt x="1023055" y="15810392"/>
                  <a:pt x="420622" y="11607126"/>
                </a:cubicBezTo>
                <a:cubicBezTo>
                  <a:pt x="-329838" y="6378003"/>
                  <a:pt x="-591468" y="2636030"/>
                  <a:pt x="4214232" y="945772"/>
                </a:cubicBezTo>
                <a:cubicBezTo>
                  <a:pt x="5951823" y="335163"/>
                  <a:pt x="7805597" y="-9676"/>
                  <a:pt x="9530843" y="207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E6E2CCC-0CEC-4741-988A-3098B343B9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41787" y="-3321556"/>
            <a:ext cx="8379542" cy="8227016"/>
          </a:xfrm>
          <a:custGeom>
            <a:avLst/>
            <a:gdLst>
              <a:gd name="connsiteX0" fmla="*/ 8164896 w 16503872"/>
              <a:gd name="connsiteY0" fmla="*/ 1666 h 16203465"/>
              <a:gd name="connsiteX1" fmla="*/ 13391981 w 16503872"/>
              <a:gd name="connsiteY1" fmla="*/ 2354611 h 16203465"/>
              <a:gd name="connsiteX2" fmla="*/ 13821581 w 16503872"/>
              <a:gd name="connsiteY2" fmla="*/ 13476518 h 16203465"/>
              <a:gd name="connsiteX3" fmla="*/ 2072321 w 16503872"/>
              <a:gd name="connsiteY3" fmla="*/ 13947034 h 16203465"/>
              <a:gd name="connsiteX4" fmla="*/ 2951981 w 16503872"/>
              <a:gd name="connsiteY4" fmla="*/ 2514861 h 16203465"/>
              <a:gd name="connsiteX5" fmla="*/ 8164896 w 16503872"/>
              <a:gd name="connsiteY5" fmla="*/ 1666 h 1620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503872" h="16203465">
                <a:moveTo>
                  <a:pt x="8164896" y="1666"/>
                </a:moveTo>
                <a:cubicBezTo>
                  <a:pt x="10016253" y="-43791"/>
                  <a:pt x="11745493" y="843974"/>
                  <a:pt x="13391981" y="2354611"/>
                </a:cubicBezTo>
                <a:cubicBezTo>
                  <a:pt x="16487837" y="5201576"/>
                  <a:pt x="18291483" y="9934009"/>
                  <a:pt x="13821581" y="13476518"/>
                </a:cubicBezTo>
                <a:cubicBezTo>
                  <a:pt x="9927890" y="16565557"/>
                  <a:pt x="4479454" y="17434988"/>
                  <a:pt x="2072321" y="13947034"/>
                </a:cubicBezTo>
                <a:cubicBezTo>
                  <a:pt x="-914433" y="9623743"/>
                  <a:pt x="-716679" y="5900529"/>
                  <a:pt x="2951981" y="2514861"/>
                </a:cubicBezTo>
                <a:cubicBezTo>
                  <a:pt x="4802721" y="808441"/>
                  <a:pt x="6531345" y="41775"/>
                  <a:pt x="8164896" y="1666"/>
                </a:cubicBezTo>
                <a:close/>
              </a:path>
            </a:pathLst>
          </a:custGeom>
          <a:ln w="76200">
            <a:solidFill>
              <a:schemeClr val="bg1">
                <a:alpha val="40000"/>
              </a:scheme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6" name="Footer Placeholder 35">
            <a:extLst>
              <a:ext uri="{FF2B5EF4-FFF2-40B4-BE49-F238E27FC236}">
                <a16:creationId xmlns:a16="http://schemas.microsoft.com/office/drawing/2014/main" xmlns="" id="{5E75851E-23A1-4C48-97F1-760DAC4407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313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30000" fill="hold"/>
                                        <p:tgtEl>
                                          <p:spTgt spid="21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30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30000" fill="hold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130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130000" fill="hold"/>
                                        <p:tgtEl>
                                          <p:spTgt spid="32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130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uiExpand="1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1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1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27" grpId="0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27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  <p:bldP spid="32" grpId="0" build="p" animBg="1">
        <p:tmplLst>
          <p:tmpl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3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  <p:tmpl lvl="1">
            <p:tnLst>
              <p:par>
                <p:cTn presetID="8" presetClass="emph" presetSubtype="0" repeatCount="indefinite" fill="hold" nodeType="withEffect">
                  <p:stCondLst>
                    <p:cond delay="0"/>
                  </p:stCondLst>
                  <p:childTnLst>
                    <p:animRot by="21600000">
                      <p:cBhvr>
                        <p:cTn dur="130000" fill="hold"/>
                        <p:tgtEl>
                          <p:spTgt spid="32"/>
                        </p:tgtEl>
                        <p:attrNameLst>
                          <p:attrName>r</p:attrName>
                        </p:attrNameLst>
                      </p:cBhvr>
                    </p:animRo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574CBD7-F701-4DC9-AE09-9BF74A32FECB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FBF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accent1"/>
              </a:solidFill>
            </a:endParaRPr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7D30ABB2-8FAA-4CBA-87AD-585199914103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346208EC-9F59-4CED-AA4A-5990ED520C94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1B85B4DB-2CAB-4140-8094-171CC87D5959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0" name="Footer Placeholder 35">
            <a:extLst>
              <a:ext uri="{FF2B5EF4-FFF2-40B4-BE49-F238E27FC236}">
                <a16:creationId xmlns:a16="http://schemas.microsoft.com/office/drawing/2014/main" xmlns="" id="{097D715A-4F40-4522-BD3D-F39A3B63A5A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08423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56A908E-B883-4664-B8E5-DB8A12151AF2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387FCCE4-7820-4B00-A355-AF049DD3B03D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876BB0D-9819-428D-8855-ABA28F52BBC2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xmlns="" id="{B78DA284-8AAE-4040-B6A6-875686CEEE10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E436E989-0025-4B7D-B060-5BA1B6FA95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0172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EFD7C30E-4CCC-4032-BE6C-2D8718E3C728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2C47F26D-3D77-4885-94D0-6D65240E7DD6}"/>
              </a:ext>
            </a:extLst>
          </p:cNvPr>
          <p:cNvSpPr/>
          <p:nvPr userDrawn="1"/>
        </p:nvSpPr>
        <p:spPr>
          <a:xfrm>
            <a:off x="6096000" y="-4474863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2B71477A-8921-4897-A581-38B4641F4291}"/>
              </a:ext>
            </a:extLst>
          </p:cNvPr>
          <p:cNvSpPr/>
          <p:nvPr userDrawn="1"/>
        </p:nvSpPr>
        <p:spPr>
          <a:xfrm>
            <a:off x="5868601" y="-4005335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B8AA12DA-F5BE-4776-A8AE-1BA75EA5F1D2}"/>
              </a:ext>
            </a:extLst>
          </p:cNvPr>
          <p:cNvSpPr/>
          <p:nvPr userDrawn="1"/>
        </p:nvSpPr>
        <p:spPr>
          <a:xfrm>
            <a:off x="5840909" y="-4158268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EEA7BF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08E019C7-C66E-4371-91E8-5461DC3EAA6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160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3286AD5C-B644-40F2-8DCC-728A739A7327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F5808731-0EA6-44D4-8463-177025B2D6D0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DF70A315-72E0-4A1B-98D4-F0E675B95A15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xmlns="" id="{52F67F48-F557-483F-98B2-EB0DCF94AAB0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D4F36ACB-821E-4849-8A67-F3B40888302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4103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E124496-95AB-4923-B97A-C7108DE8241A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F5F4E406-1928-4A4C-BBAE-0016EA13F4A6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54C1001B-7CCB-497B-A2E2-423C699DFF6E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202144B8-BCBF-4FA0-92EC-004F6721D2D2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3B97DE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5DC376F9-7F58-4B14-93BA-302032816E3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986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13738BF-7751-4505-88C9-A788718FD8E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22E1CAF1-8708-4E8E-AAD9-DAA79D13D5B2}"/>
              </a:ext>
            </a:extLst>
          </p:cNvPr>
          <p:cNvSpPr/>
          <p:nvPr userDrawn="1"/>
        </p:nvSpPr>
        <p:spPr>
          <a:xfrm>
            <a:off x="6096000" y="-3640382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9F58E766-6C42-4F9F-9E5B-7BF45D86361B}"/>
              </a:ext>
            </a:extLst>
          </p:cNvPr>
          <p:cNvSpPr/>
          <p:nvPr userDrawn="1"/>
        </p:nvSpPr>
        <p:spPr>
          <a:xfrm>
            <a:off x="5868601" y="-3170854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Graphic 7">
            <a:extLst>
              <a:ext uri="{FF2B5EF4-FFF2-40B4-BE49-F238E27FC236}">
                <a16:creationId xmlns:a16="http://schemas.microsoft.com/office/drawing/2014/main" xmlns="" id="{391EE221-2462-458A-BBF4-4E91C16D6E88}"/>
              </a:ext>
            </a:extLst>
          </p:cNvPr>
          <p:cNvSpPr/>
          <p:nvPr userDrawn="1"/>
        </p:nvSpPr>
        <p:spPr>
          <a:xfrm>
            <a:off x="5840909" y="-3323787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77400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32184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Slide Number Placeholder 36">
            <a:extLst>
              <a:ext uri="{FF2B5EF4-FFF2-40B4-BE49-F238E27FC236}">
                <a16:creationId xmlns:a16="http://schemas.microsoft.com/office/drawing/2014/main" xmlns="" id="{D5FDB7C0-3A66-4C4C-BEB9-BC13593988B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92C87AE7-25FB-48A4-9D86-94DA4BD801D6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2DD5B5D8-0B8D-498F-892F-BE2E6B35CFF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0265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B45C6BB-C85F-4D74-BC7C-40DC0F0FA75A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F1636F79-36F7-4245-8F4F-4AD923F28841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CCC5BD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B0121AD2-A308-4EBE-885D-7C618B5F802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36DD2508-845F-423B-AB8A-D73AE484696E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85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C101607-9FE5-4D71-9736-FD031EB06487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xmlns="" id="{92CB383D-4DCF-4F50-925A-B870F748A06F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939AA7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21D54DB8-ABE9-4785-A48D-CB968039140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AB48186-3BB1-4358-ABC1-D82659084B3A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296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xmlns="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CA33B66-EC28-4615-8C7C-F8829B25FB5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6D181E82-0B96-4BC0-9BD4-F480EB922401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41F49441-A4D6-42D8-B8A2-AA3C616F95CE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6825D3BC-C7B0-4428-9328-070771A86638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424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1E11B5A-458F-4700-B2C1-680A51774639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xmlns="" id="{798F3A66-064A-4017-8BA7-BD9C55A475E2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3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1EA51F35-7EC6-41F2-B03D-F5B57791AC15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E579C944-4D77-4486-9B73-7B848E1C44F1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2A918B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351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6AAF154-BC7D-4823-8D50-EB19F14863D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0486E305-7C1F-4509-B86E-91745FBAECAB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chemeClr val="accent5">
              <a:alpha val="40000"/>
            </a:scheme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6AA413DA-7F8C-4CE6-933C-23BBB7D73A78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1B9E8F93-F150-4649-885C-9F2830076881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1122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3D24FA1-BF27-40F2-86F6-844F66B254F9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xmlns="" id="{281E81E1-8867-4524-8565-27D5D2EEA68D}"/>
              </a:ext>
            </a:extLst>
          </p:cNvPr>
          <p:cNvSpPr/>
          <p:nvPr userDrawn="1"/>
        </p:nvSpPr>
        <p:spPr>
          <a:xfrm>
            <a:off x="5616080" y="896854"/>
            <a:ext cx="5158183" cy="5064292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solidFill>
            <a:srgbClr val="005AD2">
              <a:alpha val="40000"/>
            </a:srgbClr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4342AD62-2C0A-44C2-A183-90F6EAA2CBBB}"/>
              </a:ext>
            </a:extLst>
          </p:cNvPr>
          <p:cNvSpPr/>
          <p:nvPr userDrawn="1"/>
        </p:nvSpPr>
        <p:spPr>
          <a:xfrm>
            <a:off x="5773090" y="701989"/>
            <a:ext cx="4844163" cy="5454022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D54CF526-ADAD-4CDB-A33B-28FD2EF77478}"/>
              </a:ext>
            </a:extLst>
          </p:cNvPr>
          <p:cNvSpPr/>
          <p:nvPr userDrawn="1"/>
        </p:nvSpPr>
        <p:spPr>
          <a:xfrm>
            <a:off x="5633124" y="990985"/>
            <a:ext cx="5124094" cy="4876030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405600"/>
            <a:ext cx="6408000" cy="24408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099600"/>
            <a:ext cx="6415200" cy="180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022CBC-E2B8-4E2D-AADD-A08C1369D71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334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5274E13-D632-4767-A7A9-5E46D94D7177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1149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04BBBBA-044B-42E9-B1A2-EA93742EC0EB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3061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F1E8EA8-3404-4B36-97CD-3E857ED82FE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2303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451A77A-70A2-49E1-B7B7-BC81C75AE27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232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3AE96E7-5BC8-4E3B-AAF0-50686EE84AA1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61CD6E4-B54A-4962-A496-1F328DDD99AB}"/>
              </a:ext>
            </a:extLst>
          </p:cNvPr>
          <p:cNvSpPr/>
          <p:nvPr userDrawn="1"/>
        </p:nvSpPr>
        <p:spPr>
          <a:xfrm>
            <a:off x="647700" y="647700"/>
            <a:ext cx="10896600" cy="6210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1605600"/>
            <a:ext cx="8287200" cy="4928400"/>
          </a:xfrm>
        </p:spPr>
        <p:txBody>
          <a:bodyPr anchor="t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296000" y="1602000"/>
            <a:ext cx="1274400" cy="4932000"/>
          </a:xfrm>
        </p:spPr>
        <p:txBody>
          <a:bodyPr anchor="t" anchorCtr="0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12852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4295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813F9F7-1EC0-4264-8020-93E9EE477642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083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98007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308A0AA-DA31-4CB4-A413-A33317873283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08525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519BD0BA-5ECD-413C-A8EC-76D2A51BFDA0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3815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621DC0D-78F8-4F7A-AC4F-93DA77B45DC1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1031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.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F61708FD-7106-496D-962F-6709BD8DD694}"/>
              </a:ext>
            </a:extLst>
          </p:cNvPr>
          <p:cNvSpPr/>
          <p:nvPr userDrawn="1"/>
        </p:nvSpPr>
        <p:spPr>
          <a:xfrm>
            <a:off x="0" y="-44330"/>
            <a:ext cx="12191999" cy="690233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C11C574-D651-412B-BFC2-BBBB00D2B155}"/>
              </a:ext>
            </a:extLst>
          </p:cNvPr>
          <p:cNvSpPr/>
          <p:nvPr userDrawn="1"/>
        </p:nvSpPr>
        <p:spPr>
          <a:xfrm>
            <a:off x="647700" y="1820284"/>
            <a:ext cx="10896600" cy="5037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96000" y="2872800"/>
            <a:ext cx="9687600" cy="3659763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4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4400" b="1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005F50A-7071-43FE-AD8C-3E31572F45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96000" y="2458800"/>
            <a:ext cx="5758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Progra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9922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7756544-ED94-4D2D-8904-7FE9C1A1A16F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BF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3BD5F5CB-78F7-4FFD-BF72-78E02FF87658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3BB8542E-5B66-4466-8F70-AF784E8CF9A6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4E3C8DE8-2EA9-43FD-970C-75E607CCABF7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2223122D-4A8B-4F14-8F17-F18BCBB4824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074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6D4D06F-1F9C-48BB-A971-1E1CDB95627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xmlns="" id="{3A8E72F3-B2BD-4E98-9EDA-D94CC1EAEE82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5A29B7F1-DBBE-4254-AB18-9C565F9D035B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27C88592-69A6-45F9-B308-113DC3052292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939AA7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DEBFC4FA-7EFF-4F7B-AED0-0A304CCBA3B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30241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0C52A1B-D3DA-4727-87EB-5931A61937F4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4FDC07FA-AB24-4D33-BBB4-AE8F1EC23A23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AA92FE16-2C54-4703-BE5E-8433D7E0321E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Graphic 7">
            <a:extLst>
              <a:ext uri="{FF2B5EF4-FFF2-40B4-BE49-F238E27FC236}">
                <a16:creationId xmlns:a16="http://schemas.microsoft.com/office/drawing/2014/main" xmlns="" id="{03FB23AA-E32D-4929-9047-E9F982DE5424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4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7EF08B5D-B2BF-4069-B4D7-C190286EE76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532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0CFFBBF-F0BB-4EEF-99F5-812B75979191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Graphic 7">
            <a:extLst>
              <a:ext uri="{FF2B5EF4-FFF2-40B4-BE49-F238E27FC236}">
                <a16:creationId xmlns:a16="http://schemas.microsoft.com/office/drawing/2014/main" xmlns="" id="{7C2D375D-7F1B-4BB1-AFBA-C8C311DD35B4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Graphic 7">
            <a:extLst>
              <a:ext uri="{FF2B5EF4-FFF2-40B4-BE49-F238E27FC236}">
                <a16:creationId xmlns:a16="http://schemas.microsoft.com/office/drawing/2014/main" xmlns="" id="{EBAD58AF-AD9F-4A26-845A-166380352259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46704FC2-F4ED-462B-AB20-85539134CD19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3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3" name="Footer Placeholder 35">
            <a:extLst>
              <a:ext uri="{FF2B5EF4-FFF2-40B4-BE49-F238E27FC236}">
                <a16:creationId xmlns:a16="http://schemas.microsoft.com/office/drawing/2014/main" xmlns="" id="{E7C60B01-F5F5-4AC2-B3EA-20192A4981A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7870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9D68D099-60A9-4518-8617-F25D8C1193BB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Graphic 7">
            <a:extLst>
              <a:ext uri="{FF2B5EF4-FFF2-40B4-BE49-F238E27FC236}">
                <a16:creationId xmlns:a16="http://schemas.microsoft.com/office/drawing/2014/main" xmlns="" id="{0BECCC14-D1EA-484A-AE02-4F3DA7743DEA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" name="Graphic 7">
            <a:extLst>
              <a:ext uri="{FF2B5EF4-FFF2-40B4-BE49-F238E27FC236}">
                <a16:creationId xmlns:a16="http://schemas.microsoft.com/office/drawing/2014/main" xmlns="" id="{B75141A2-EB70-4A7B-8D3D-17FE9F139B3B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6" name="Graphic 7">
            <a:extLst>
              <a:ext uri="{FF2B5EF4-FFF2-40B4-BE49-F238E27FC236}">
                <a16:creationId xmlns:a16="http://schemas.microsoft.com/office/drawing/2014/main" xmlns="" id="{7DD93476-330F-4CF4-9787-418A64D2EAD7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chemeClr val="accent5">
                <a:alpha val="4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7" name="Footer Placeholder 35">
            <a:extLst>
              <a:ext uri="{FF2B5EF4-FFF2-40B4-BE49-F238E27FC236}">
                <a16:creationId xmlns:a16="http://schemas.microsoft.com/office/drawing/2014/main" xmlns="" id="{165F00E5-F844-4325-A307-7438AAB5F0F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55585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B1BD2B3-EF73-4B68-B75F-66CC527469AA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5934ED94-54CA-4494-88DF-D19C95096F60}"/>
              </a:ext>
            </a:extLst>
          </p:cNvPr>
          <p:cNvSpPr/>
          <p:nvPr userDrawn="1"/>
        </p:nvSpPr>
        <p:spPr>
          <a:xfrm>
            <a:off x="-1070479" y="-2475627"/>
            <a:ext cx="7870238" cy="8861066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Graphic 7">
            <a:extLst>
              <a:ext uri="{FF2B5EF4-FFF2-40B4-BE49-F238E27FC236}">
                <a16:creationId xmlns:a16="http://schemas.microsoft.com/office/drawing/2014/main" xmlns="" id="{F6E4765A-CA24-4CA3-BF61-0ADF6BDB0481}"/>
              </a:ext>
            </a:extLst>
          </p:cNvPr>
          <p:cNvSpPr/>
          <p:nvPr userDrawn="1"/>
        </p:nvSpPr>
        <p:spPr>
          <a:xfrm>
            <a:off x="-1297878" y="-2006099"/>
            <a:ext cx="8325037" cy="7922011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Graphic 7">
            <a:extLst>
              <a:ext uri="{FF2B5EF4-FFF2-40B4-BE49-F238E27FC236}">
                <a16:creationId xmlns:a16="http://schemas.microsoft.com/office/drawing/2014/main" xmlns="" id="{4CE4EA90-386B-4AC3-B916-FB233B260546}"/>
              </a:ext>
            </a:extLst>
          </p:cNvPr>
          <p:cNvSpPr/>
          <p:nvPr userDrawn="1"/>
        </p:nvSpPr>
        <p:spPr>
          <a:xfrm>
            <a:off x="-1325570" y="-2159032"/>
            <a:ext cx="8380420" cy="822787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005AD2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3754800"/>
            <a:ext cx="8654400" cy="2779200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3430800"/>
            <a:ext cx="8614800" cy="324000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5E0A81-0B6B-4B2A-BAEB-8B4D441BFF8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928BC90-EB99-4F5F-A3C2-0C50879FE37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E1DF823-B687-46C4-AEC7-E477E313505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8" name="Footer Placeholder 35">
            <a:extLst>
              <a:ext uri="{FF2B5EF4-FFF2-40B4-BE49-F238E27FC236}">
                <a16:creationId xmlns:a16="http://schemas.microsoft.com/office/drawing/2014/main" xmlns="" id="{D4712537-4D32-4396-9A64-CEB0C16DFDC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1205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9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9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7712011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99E4AD4-9DC5-4A69-859C-9F20D35A684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</p:spTree>
    <p:extLst>
      <p:ext uri="{BB962C8B-B14F-4D97-AF65-F5344CB8AC3E}">
        <p14:creationId xmlns:p14="http://schemas.microsoft.com/office/powerpoint/2010/main" val="16058939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1B231A7-3BC6-49F7-A857-A1A64F5E95C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006780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4267403-8E76-488B-B6CE-9BD99368BB8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6562841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0AB530A-2C7A-421F-9A4F-3C1596D4A8E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4887759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DDEDCEE-3F18-4AFB-852F-EBBF4CDC110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3128786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Prer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CBE42B6-759D-462F-A252-F304ABEFB7A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5562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7200" y="648000"/>
            <a:ext cx="19188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7200" y="4071600"/>
            <a:ext cx="1918800" cy="2462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0758789-A3D6-4F23-A0C0-FF8FFA0189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78700" y="647700"/>
            <a:ext cx="4165600" cy="55626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338557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754800"/>
            <a:ext cx="41652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563" y="3754800"/>
            <a:ext cx="4164437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754800"/>
            <a:ext cx="19200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563" y="648000"/>
            <a:ext cx="4164437" cy="24549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xmlns="" id="{AF50DDA4-4261-4831-8DF6-AF1E6AC2C5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622363" y="648000"/>
            <a:ext cx="1921938" cy="24555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47908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34206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76409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300" y="647400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47698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890498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C2CABB3-8A2F-4639-9641-7512B46FD4F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133974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xmlns="" id="{2805C007-501E-4B1A-A801-40AEE78D772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76409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xmlns="" id="{F790C8B6-B8A2-4468-AEF5-2B05688A5B8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21601" y="3762375"/>
            <a:ext cx="1922400" cy="2451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5241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8" y="647700"/>
            <a:ext cx="4165200" cy="24552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754800"/>
            <a:ext cx="41652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563" y="3754800"/>
            <a:ext cx="4164437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455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563" y="648000"/>
            <a:ext cx="4164437" cy="24549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875CBCF3-6F03-4F84-8A94-3644ED1F04F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622363" y="3754800"/>
            <a:ext cx="1921938" cy="24555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xmlns="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9763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 rIns="2160000"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385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xmlns="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40844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114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48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9500" y="1944000"/>
            <a:ext cx="52848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38944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D164955-AAFE-44DB-8048-90A70DF8661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6716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2FF6AB1D-7035-4850-8099-A05D5C98B1B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6762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30A0AF3-120E-430F-B07C-61E0ED90A32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0318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36822DF0-BD2A-45DA-A991-FCFFEB9387F2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3834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803473F0-5B51-41A3-A696-1D313DEE25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4626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Six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406163C9-8FC1-4562-98E9-AB64E534EB7D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49600" y="16128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319600" y="1602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80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4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319600" y="3294000"/>
            <a:ext cx="1090800" cy="14400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10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96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296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348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348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25500" y="1602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25500" y="1936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296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296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7348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7348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25500" y="3294000"/>
            <a:ext cx="1918800" cy="3240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25500" y="3628800"/>
            <a:ext cx="1918800" cy="1105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045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D164955-AAFE-44DB-8048-90A70DF8661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xmlns="" id="{837D66FC-DC4E-42E6-A664-A3BBE99457B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41" name="Picture Placeholder 13">
            <a:extLst>
              <a:ext uri="{FF2B5EF4-FFF2-40B4-BE49-F238E27FC236}">
                <a16:creationId xmlns:a16="http://schemas.microsoft.com/office/drawing/2014/main" xmlns="" id="{6F7AAB87-013D-4879-A670-4D19E7B1BBD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xmlns="" id="{430594C0-449A-4065-BDC1-262E7240080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7">
            <a:extLst>
              <a:ext uri="{FF2B5EF4-FFF2-40B4-BE49-F238E27FC236}">
                <a16:creationId xmlns:a16="http://schemas.microsoft.com/office/drawing/2014/main" xmlns="" id="{AF4C9FD6-6121-4A05-905E-9F7EB745CC9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19">
            <a:extLst>
              <a:ext uri="{FF2B5EF4-FFF2-40B4-BE49-F238E27FC236}">
                <a16:creationId xmlns:a16="http://schemas.microsoft.com/office/drawing/2014/main" xmlns="" id="{A009BE6C-5770-488E-84D0-CB84B7E6743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1">
            <a:extLst>
              <a:ext uri="{FF2B5EF4-FFF2-40B4-BE49-F238E27FC236}">
                <a16:creationId xmlns:a16="http://schemas.microsoft.com/office/drawing/2014/main" xmlns="" id="{88ACD94E-49EA-45DC-9B10-99D79DA3A85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2">
            <a:extLst>
              <a:ext uri="{FF2B5EF4-FFF2-40B4-BE49-F238E27FC236}">
                <a16:creationId xmlns:a16="http://schemas.microsoft.com/office/drawing/2014/main" xmlns="" id="{A137004D-16E7-4776-A4E0-E10DDA9917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xmlns="" id="{07AC9FEE-66FA-4BAB-847D-3481B9764B2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987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6BF1C1F0-F760-4738-922E-8861E7D6F2B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F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xmlns="" id="{92F7635D-2B75-44D8-8925-9B9F075F4B0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7" name="Picture Placeholder 13">
            <a:extLst>
              <a:ext uri="{FF2B5EF4-FFF2-40B4-BE49-F238E27FC236}">
                <a16:creationId xmlns:a16="http://schemas.microsoft.com/office/drawing/2014/main" xmlns="" id="{213AA0DC-8E8C-42A7-AD5F-2F20136E72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39" name="Picture Placeholder 15">
            <a:extLst>
              <a:ext uri="{FF2B5EF4-FFF2-40B4-BE49-F238E27FC236}">
                <a16:creationId xmlns:a16="http://schemas.microsoft.com/office/drawing/2014/main" xmlns="" id="{6DDEB68D-BA69-4911-A92A-E706D42033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7">
            <a:extLst>
              <a:ext uri="{FF2B5EF4-FFF2-40B4-BE49-F238E27FC236}">
                <a16:creationId xmlns:a16="http://schemas.microsoft.com/office/drawing/2014/main" xmlns="" id="{4B457EA1-A653-4D93-BB0E-9D9B5C9890B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9">
            <a:extLst>
              <a:ext uri="{FF2B5EF4-FFF2-40B4-BE49-F238E27FC236}">
                <a16:creationId xmlns:a16="http://schemas.microsoft.com/office/drawing/2014/main" xmlns="" id="{D9989E9C-874F-49F9-9E20-34476A54C64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21">
            <a:extLst>
              <a:ext uri="{FF2B5EF4-FFF2-40B4-BE49-F238E27FC236}">
                <a16:creationId xmlns:a16="http://schemas.microsoft.com/office/drawing/2014/main" xmlns="" id="{5363BF19-E64B-4041-AAB9-3382B379595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xmlns="" id="{2FA123A8-1BD8-4C86-9D4E-6C8C782100F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xmlns="" id="{BDC99EB8-12CC-4D3C-8A85-EBA91B4BB11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975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xmlns="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xmlns="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6F070DD5-6F65-4389-9556-4EC57A5CDDE8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CF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xmlns="" id="{BFB39DBA-AB90-446D-8CC1-217D77D07E2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xmlns="" id="{BB050EEC-50ED-4FCD-AE15-53EBD9F02F7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xmlns="" id="{20E17896-A35E-49A1-883D-DD541C122D7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xmlns="" id="{FBB2622B-2169-42EB-ACA0-5B6CDDD8949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xmlns="" id="{D9E7F031-7712-4E5B-A492-1F9F2FC003D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xmlns="" id="{8680F426-11FD-4625-80C2-21E323E6E70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xmlns="" id="{EEE2E38E-C6BC-4D64-812C-531FFE9161C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xmlns="" id="{D350FC8F-B0E5-4FEF-BB99-384FC49E0660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5686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A90999F1-E4CF-4B0C-AEED-95A244B7B9CB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E0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xmlns="" id="{30F2A203-8072-437B-88A6-CA2B889726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xmlns="" id="{E7265980-4293-4FEA-9A16-9D340F945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xmlns="" id="{E20C8C97-47E6-450D-A359-A1A4368F27A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xmlns="" id="{CEBE5F7C-548C-4BB4-86D1-E350C27B774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xmlns="" id="{0846F8B0-A6D3-42AE-B8CD-056EB70E7EA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xmlns="" id="{AD3BE6AE-FF4F-44D0-B861-8042DF4A42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xmlns="" id="{1EA2B407-1AAA-4A5B-9970-97AEBBB2D227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xmlns="" id="{4642A29E-13C5-43A8-B8FA-5951247C072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5492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DFF77013-3022-42FF-8909-CF177E1C0D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3F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xmlns="" id="{B751EAEB-A6C1-4D38-81B2-26E6392F8FC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9" name="Picture Placeholder 13">
            <a:extLst>
              <a:ext uri="{FF2B5EF4-FFF2-40B4-BE49-F238E27FC236}">
                <a16:creationId xmlns:a16="http://schemas.microsoft.com/office/drawing/2014/main" xmlns="" id="{D0F192CA-2972-45C5-A583-E7B6CEC95E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xmlns="" id="{38C5C227-D90A-441A-81F0-56E4343E609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3" name="Picture Placeholder 17">
            <a:extLst>
              <a:ext uri="{FF2B5EF4-FFF2-40B4-BE49-F238E27FC236}">
                <a16:creationId xmlns:a16="http://schemas.microsoft.com/office/drawing/2014/main" xmlns="" id="{8900D5E3-1329-48CC-8BD8-DAAB698AFA88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5" name="Picture Placeholder 19">
            <a:extLst>
              <a:ext uri="{FF2B5EF4-FFF2-40B4-BE49-F238E27FC236}">
                <a16:creationId xmlns:a16="http://schemas.microsoft.com/office/drawing/2014/main" xmlns="" id="{AE7E00D8-08BE-4E9D-9AAE-6B8A81DCF6B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7" name="Picture Placeholder 21">
            <a:extLst>
              <a:ext uri="{FF2B5EF4-FFF2-40B4-BE49-F238E27FC236}">
                <a16:creationId xmlns:a16="http://schemas.microsoft.com/office/drawing/2014/main" xmlns="" id="{0DE2D162-AF6A-47F6-BF8C-9D76452D51E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xmlns="" id="{49E4A6BA-CD68-4775-BF5F-1A2CC208765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xmlns="" id="{2C7C2A83-DECB-475A-8A11-3B11842CFD5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6950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Eight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3ED41D2-D414-4F63-BCA3-D5293EBBCA3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D9E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AF5E942A-7A92-44E8-A251-128017BECC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000" y="1288800"/>
            <a:ext cx="6406850" cy="172800"/>
          </a:xfrm>
        </p:spPr>
        <p:txBody>
          <a:bodyPr/>
          <a:lstStyle>
            <a:lvl1pPr marL="0" indent="0">
              <a:buNone/>
              <a:defRPr sz="1000" cap="all" baseline="0"/>
            </a:lvl1pPr>
          </a:lstStyle>
          <a:p>
            <a:pPr lvl="0"/>
            <a:r>
              <a:rPr lang="en-US" dirty="0"/>
              <a:t>SPEAK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48A77B3-EA99-4B46-88E2-CE89387B45F1}"/>
              </a:ext>
            </a:extLst>
          </p:cNvPr>
          <p:cNvSpPr/>
          <p:nvPr userDrawn="1"/>
        </p:nvSpPr>
        <p:spPr>
          <a:xfrm>
            <a:off x="647700" y="6208712"/>
            <a:ext cx="10896600" cy="649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C5C09D2C-163C-44A6-B39A-1013D084401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00" y="1602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D63029A-9237-41B7-89E6-3B045F0387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477600" y="16092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A2A6ACE-1450-4B09-92A9-4CFB8B54A21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03600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03C31C3D-0DC9-4442-A418-442F64FFC99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31456" y="16200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BCA82BEC-1265-4060-BC98-33C203B01B0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80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76D60C5-CC79-46C6-B488-88F03761E16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7600" y="3358800"/>
            <a:ext cx="73080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999A0365-9129-489D-A56E-4F8B4660457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3875" y="3346450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6AC6A8D0-DC30-41FC-9775-FA902AA27A8F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131731" y="3357563"/>
            <a:ext cx="730250" cy="964800"/>
          </a:xfrm>
          <a:solidFill>
            <a:schemeClr val="bg1">
              <a:lumMod val="95000"/>
            </a:schemeClr>
          </a:solidFill>
        </p:spPr>
        <p:txBody>
          <a:bodyPr tIns="72000"/>
          <a:lstStyle>
            <a:lvl1pPr marL="0" indent="0" algn="ctr">
              <a:buNone/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B546C3F2-EEB0-4D25-AE85-EDF6CFF175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6400" y="1602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69CB661D-0016-4648-86FB-4F99CB6DD3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264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16C26A42-2B5C-497E-B085-9CD3BA68E0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56000" y="1620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5B19D569-9A80-4CDD-9D0C-A5FA00506D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56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C83EF11B-6844-45E2-A353-8F52C432AB2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2000" y="16308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F0319FAB-4AB2-4465-A1ED-F9D7DE3160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1820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xmlns="" id="{6FD20B5C-D581-4D51-92B8-21CBF3F4192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011600" y="1638000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xmlns="" id="{C9857118-FC27-4FED-8376-9A1C20E408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011600" y="1893600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xmlns="" id="{196352DF-5A8D-479A-A29B-DC650DBCEA0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264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nam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xmlns="" id="{075D98FF-2EC9-4F6F-BBFD-64DD3E069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264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xmlns="" id="{90FCBFF3-CFDC-42FD-A7BB-5447B0F4035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560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xmlns="" id="{E00D58AE-6595-4595-B61E-007F5257D61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560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text</a:t>
            </a:r>
          </a:p>
          <a:p>
            <a:pPr lvl="0"/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B8AE6C3B-9642-4266-9364-A1F421AF9C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185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A8772729-AF09-4EFC-9221-ABED2EBF090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18185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9357EBCA-C6A2-4390-9EB1-22532D184F9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011600" y="3357512"/>
            <a:ext cx="1670400" cy="280800"/>
          </a:xfrm>
        </p:spPr>
        <p:txBody>
          <a:bodyPr/>
          <a:lstStyle>
            <a:lvl1pPr marL="0" indent="0">
              <a:buNone/>
              <a:defRPr sz="1000" b="1"/>
            </a:lvl1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EEBC883D-B49D-4772-AC47-02B713822C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11600" y="3692312"/>
            <a:ext cx="1670400" cy="9648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2977513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xmlns="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761886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468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xmlns="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r>
              <a:rPr lang="en-GB" sz="900" dirty="0">
                <a:latin typeface="+mn-lt"/>
                <a:cs typeface="Arial" panose="020B0604020202020204" pitchFamily="34" charset="0"/>
              </a:rPr>
              <a:t/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xmlns="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xmlns="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xmlns="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xmlns="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xmlns="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xmlns="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901" t="45142" r="62601" b="9046"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xmlns="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xmlns="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xmlns="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xmlns="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xmlns="" id="{09C05D50-8477-4113-8B72-9C373B0FF9F9}"/>
              </a:ext>
            </a:extLst>
          </p:cNvPr>
          <p:cNvSpPr txBox="1"/>
          <p:nvPr userDrawn="1"/>
        </p:nvSpPr>
        <p:spPr>
          <a:xfrm>
            <a:off x="647700" y="323851"/>
            <a:ext cx="11001373" cy="7750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xmlns="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86732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xmlns="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9578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F883F1F6-7FB2-4E19-8861-DEEAA41CE4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1"/>
            <a:ext cx="12191998" cy="6858000"/>
          </a:xfrm>
          <a:custGeom>
            <a:avLst/>
            <a:gdLst>
              <a:gd name="connsiteX0" fmla="*/ 6979537 w 7559674"/>
              <a:gd name="connsiteY0" fmla="*/ 805421 h 10691813"/>
              <a:gd name="connsiteX1" fmla="*/ 6991438 w 7559674"/>
              <a:gd name="connsiteY1" fmla="*/ 809482 h 10691813"/>
              <a:gd name="connsiteX2" fmla="*/ 6991438 w 7559674"/>
              <a:gd name="connsiteY2" fmla="*/ 853337 h 10691813"/>
              <a:gd name="connsiteX3" fmla="*/ 6991318 w 7559674"/>
              <a:gd name="connsiteY3" fmla="*/ 853337 h 10691813"/>
              <a:gd name="connsiteX4" fmla="*/ 6980372 w 7559674"/>
              <a:gd name="connsiteY4" fmla="*/ 858353 h 10691813"/>
              <a:gd name="connsiteX5" fmla="*/ 6959786 w 7559674"/>
              <a:gd name="connsiteY5" fmla="*/ 830872 h 10691813"/>
              <a:gd name="connsiteX6" fmla="*/ 6979537 w 7559674"/>
              <a:gd name="connsiteY6" fmla="*/ 805421 h 10691813"/>
              <a:gd name="connsiteX7" fmla="*/ 6874649 w 7559674"/>
              <a:gd name="connsiteY7" fmla="*/ 804667 h 10691813"/>
              <a:gd name="connsiteX8" fmla="*/ 6885605 w 7559674"/>
              <a:gd name="connsiteY8" fmla="*/ 808849 h 10691813"/>
              <a:gd name="connsiteX9" fmla="*/ 6891445 w 7559674"/>
              <a:gd name="connsiteY9" fmla="*/ 831686 h 10691813"/>
              <a:gd name="connsiteX10" fmla="*/ 6885605 w 7559674"/>
              <a:gd name="connsiteY10" fmla="*/ 854403 h 10691813"/>
              <a:gd name="connsiteX11" fmla="*/ 6874649 w 7559674"/>
              <a:gd name="connsiteY11" fmla="*/ 858464 h 10691813"/>
              <a:gd name="connsiteX12" fmla="*/ 6863933 w 7559674"/>
              <a:gd name="connsiteY12" fmla="*/ 854403 h 10691813"/>
              <a:gd name="connsiteX13" fmla="*/ 6858093 w 7559674"/>
              <a:gd name="connsiteY13" fmla="*/ 831686 h 10691813"/>
              <a:gd name="connsiteX14" fmla="*/ 6863933 w 7559674"/>
              <a:gd name="connsiteY14" fmla="*/ 808849 h 10691813"/>
              <a:gd name="connsiteX15" fmla="*/ 6874649 w 7559674"/>
              <a:gd name="connsiteY15" fmla="*/ 804667 h 10691813"/>
              <a:gd name="connsiteX16" fmla="*/ 6722185 w 7559674"/>
              <a:gd name="connsiteY16" fmla="*/ 804667 h 10691813"/>
              <a:gd name="connsiteX17" fmla="*/ 6732951 w 7559674"/>
              <a:gd name="connsiteY17" fmla="*/ 808849 h 10691813"/>
              <a:gd name="connsiteX18" fmla="*/ 6738811 w 7559674"/>
              <a:gd name="connsiteY18" fmla="*/ 831686 h 10691813"/>
              <a:gd name="connsiteX19" fmla="*/ 6732951 w 7559674"/>
              <a:gd name="connsiteY19" fmla="*/ 854403 h 10691813"/>
              <a:gd name="connsiteX20" fmla="*/ 6722185 w 7559674"/>
              <a:gd name="connsiteY20" fmla="*/ 858464 h 10691813"/>
              <a:gd name="connsiteX21" fmla="*/ 6711179 w 7559674"/>
              <a:gd name="connsiteY21" fmla="*/ 854403 h 10691813"/>
              <a:gd name="connsiteX22" fmla="*/ 6705319 w 7559674"/>
              <a:gd name="connsiteY22" fmla="*/ 831686 h 10691813"/>
              <a:gd name="connsiteX23" fmla="*/ 6711179 w 7559674"/>
              <a:gd name="connsiteY23" fmla="*/ 808849 h 10691813"/>
              <a:gd name="connsiteX24" fmla="*/ 6722185 w 7559674"/>
              <a:gd name="connsiteY24" fmla="*/ 804667 h 10691813"/>
              <a:gd name="connsiteX25" fmla="*/ 6608079 w 7559674"/>
              <a:gd name="connsiteY25" fmla="*/ 804667 h 10691813"/>
              <a:gd name="connsiteX26" fmla="*/ 6618965 w 7559674"/>
              <a:gd name="connsiteY26" fmla="*/ 808849 h 10691813"/>
              <a:gd name="connsiteX27" fmla="*/ 6624825 w 7559674"/>
              <a:gd name="connsiteY27" fmla="*/ 831686 h 10691813"/>
              <a:gd name="connsiteX28" fmla="*/ 6618965 w 7559674"/>
              <a:gd name="connsiteY28" fmla="*/ 854403 h 10691813"/>
              <a:gd name="connsiteX29" fmla="*/ 6608079 w 7559674"/>
              <a:gd name="connsiteY29" fmla="*/ 858464 h 10691813"/>
              <a:gd name="connsiteX30" fmla="*/ 6597314 w 7559674"/>
              <a:gd name="connsiteY30" fmla="*/ 854403 h 10691813"/>
              <a:gd name="connsiteX31" fmla="*/ 6591454 w 7559674"/>
              <a:gd name="connsiteY31" fmla="*/ 831686 h 10691813"/>
              <a:gd name="connsiteX32" fmla="*/ 6597314 w 7559674"/>
              <a:gd name="connsiteY32" fmla="*/ 808849 h 10691813"/>
              <a:gd name="connsiteX33" fmla="*/ 6608079 w 7559674"/>
              <a:gd name="connsiteY33" fmla="*/ 804667 h 10691813"/>
              <a:gd name="connsiteX34" fmla="*/ 7019101 w 7559674"/>
              <a:gd name="connsiteY34" fmla="*/ 799129 h 10691813"/>
              <a:gd name="connsiteX35" fmla="*/ 7016970 w 7559674"/>
              <a:gd name="connsiteY35" fmla="*/ 801391 h 10691813"/>
              <a:gd name="connsiteX36" fmla="*/ 7016970 w 7559674"/>
              <a:gd name="connsiteY36" fmla="*/ 861570 h 10691813"/>
              <a:gd name="connsiteX37" fmla="*/ 7018869 w 7559674"/>
              <a:gd name="connsiteY37" fmla="*/ 863831 h 10691813"/>
              <a:gd name="connsiteX38" fmla="*/ 7025624 w 7559674"/>
              <a:gd name="connsiteY38" fmla="*/ 863831 h 10691813"/>
              <a:gd name="connsiteX39" fmla="*/ 7027986 w 7559674"/>
              <a:gd name="connsiteY39" fmla="*/ 861570 h 10691813"/>
              <a:gd name="connsiteX40" fmla="*/ 7027986 w 7559674"/>
              <a:gd name="connsiteY40" fmla="*/ 801391 h 10691813"/>
              <a:gd name="connsiteX41" fmla="*/ 7025614 w 7559674"/>
              <a:gd name="connsiteY41" fmla="*/ 799129 h 10691813"/>
              <a:gd name="connsiteX42" fmla="*/ 7019101 w 7559674"/>
              <a:gd name="connsiteY42" fmla="*/ 799129 h 10691813"/>
              <a:gd name="connsiteX43" fmla="*/ 7128885 w 7559674"/>
              <a:gd name="connsiteY43" fmla="*/ 798817 h 10691813"/>
              <a:gd name="connsiteX44" fmla="*/ 7125055 w 7559674"/>
              <a:gd name="connsiteY44" fmla="*/ 800848 h 10691813"/>
              <a:gd name="connsiteX45" fmla="*/ 7102901 w 7559674"/>
              <a:gd name="connsiteY45" fmla="*/ 828651 h 10691813"/>
              <a:gd name="connsiteX46" fmla="*/ 7102419 w 7559674"/>
              <a:gd name="connsiteY46" fmla="*/ 829364 h 10691813"/>
              <a:gd name="connsiteX47" fmla="*/ 7102539 w 7559674"/>
              <a:gd name="connsiteY47" fmla="*/ 830078 h 10691813"/>
              <a:gd name="connsiteX48" fmla="*/ 7124814 w 7559674"/>
              <a:gd name="connsiteY48" fmla="*/ 861932 h 10691813"/>
              <a:gd name="connsiteX49" fmla="*/ 7128523 w 7559674"/>
              <a:gd name="connsiteY49" fmla="*/ 863841 h 10691813"/>
              <a:gd name="connsiteX50" fmla="*/ 7137026 w 7559674"/>
              <a:gd name="connsiteY50" fmla="*/ 863841 h 10691813"/>
              <a:gd name="connsiteX51" fmla="*/ 7138816 w 7559674"/>
              <a:gd name="connsiteY51" fmla="*/ 862283 h 10691813"/>
              <a:gd name="connsiteX52" fmla="*/ 7137981 w 7559674"/>
              <a:gd name="connsiteY52" fmla="*/ 860735 h 10691813"/>
              <a:gd name="connsiteX53" fmla="*/ 7114269 w 7559674"/>
              <a:gd name="connsiteY53" fmla="*/ 829354 h 10691813"/>
              <a:gd name="connsiteX54" fmla="*/ 7114028 w 7559674"/>
              <a:gd name="connsiteY54" fmla="*/ 829113 h 10691813"/>
              <a:gd name="connsiteX55" fmla="*/ 7136423 w 7559674"/>
              <a:gd name="connsiteY55" fmla="*/ 802747 h 10691813"/>
              <a:gd name="connsiteX56" fmla="*/ 7137026 w 7559674"/>
              <a:gd name="connsiteY56" fmla="*/ 800245 h 10691813"/>
              <a:gd name="connsiteX57" fmla="*/ 7134755 w 7559674"/>
              <a:gd name="connsiteY57" fmla="*/ 798817 h 10691813"/>
              <a:gd name="connsiteX58" fmla="*/ 7128885 w 7559674"/>
              <a:gd name="connsiteY58" fmla="*/ 798817 h 10691813"/>
              <a:gd name="connsiteX59" fmla="*/ 6639913 w 7559674"/>
              <a:gd name="connsiteY59" fmla="*/ 798817 h 10691813"/>
              <a:gd name="connsiteX60" fmla="*/ 6638234 w 7559674"/>
              <a:gd name="connsiteY60" fmla="*/ 800486 h 10691813"/>
              <a:gd name="connsiteX61" fmla="*/ 6638717 w 7559674"/>
              <a:gd name="connsiteY61" fmla="*/ 802275 h 10691813"/>
              <a:gd name="connsiteX62" fmla="*/ 6661313 w 7559674"/>
              <a:gd name="connsiteY62" fmla="*/ 861911 h 10691813"/>
              <a:gd name="connsiteX63" fmla="*/ 6663343 w 7559674"/>
              <a:gd name="connsiteY63" fmla="*/ 863821 h 10691813"/>
              <a:gd name="connsiteX64" fmla="*/ 6668248 w 7559674"/>
              <a:gd name="connsiteY64" fmla="*/ 863821 h 10691813"/>
              <a:gd name="connsiteX65" fmla="*/ 6670520 w 7559674"/>
              <a:gd name="connsiteY65" fmla="*/ 861911 h 10691813"/>
              <a:gd name="connsiteX66" fmla="*/ 6692523 w 7559674"/>
              <a:gd name="connsiteY66" fmla="*/ 802044 h 10691813"/>
              <a:gd name="connsiteX67" fmla="*/ 6692764 w 7559674"/>
              <a:gd name="connsiteY67" fmla="*/ 800134 h 10691813"/>
              <a:gd name="connsiteX68" fmla="*/ 6691206 w 7559674"/>
              <a:gd name="connsiteY68" fmla="*/ 798817 h 10691813"/>
              <a:gd name="connsiteX69" fmla="*/ 6684984 w 7559674"/>
              <a:gd name="connsiteY69" fmla="*/ 798817 h 10691813"/>
              <a:gd name="connsiteX70" fmla="*/ 6683426 w 7559674"/>
              <a:gd name="connsiteY70" fmla="*/ 800606 h 10691813"/>
              <a:gd name="connsiteX71" fmla="*/ 6667163 w 7559674"/>
              <a:gd name="connsiteY71" fmla="*/ 848412 h 10691813"/>
              <a:gd name="connsiteX72" fmla="*/ 6650427 w 7559674"/>
              <a:gd name="connsiteY72" fmla="*/ 800848 h 10691813"/>
              <a:gd name="connsiteX73" fmla="*/ 6647562 w 7559674"/>
              <a:gd name="connsiteY73" fmla="*/ 798817 h 10691813"/>
              <a:gd name="connsiteX74" fmla="*/ 6639913 w 7559674"/>
              <a:gd name="connsiteY74" fmla="*/ 798817 h 10691813"/>
              <a:gd name="connsiteX75" fmla="*/ 7061539 w 7559674"/>
              <a:gd name="connsiteY75" fmla="*/ 797732 h 10691813"/>
              <a:gd name="connsiteX76" fmla="*/ 7040129 w 7559674"/>
              <a:gd name="connsiteY76" fmla="*/ 815543 h 10691813"/>
              <a:gd name="connsiteX77" fmla="*/ 7056995 w 7559674"/>
              <a:gd name="connsiteY77" fmla="*/ 834913 h 10691813"/>
              <a:gd name="connsiteX78" fmla="*/ 7070867 w 7559674"/>
              <a:gd name="connsiteY78" fmla="*/ 847467 h 10691813"/>
              <a:gd name="connsiteX79" fmla="*/ 7058071 w 7559674"/>
              <a:gd name="connsiteY79" fmla="*/ 858464 h 10691813"/>
              <a:gd name="connsiteX80" fmla="*/ 7042400 w 7559674"/>
              <a:gd name="connsiteY80" fmla="*/ 851890 h 10691813"/>
              <a:gd name="connsiteX81" fmla="*/ 7037736 w 7559674"/>
              <a:gd name="connsiteY81" fmla="*/ 856071 h 10691813"/>
              <a:gd name="connsiteX82" fmla="*/ 7057830 w 7559674"/>
              <a:gd name="connsiteY82" fmla="*/ 865641 h 10691813"/>
              <a:gd name="connsiteX83" fmla="*/ 7080798 w 7559674"/>
              <a:gd name="connsiteY83" fmla="*/ 846271 h 10691813"/>
              <a:gd name="connsiteX84" fmla="*/ 7050060 w 7559674"/>
              <a:gd name="connsiteY84" fmla="*/ 814468 h 10691813"/>
              <a:gd name="connsiteX85" fmla="*/ 7060825 w 7559674"/>
              <a:gd name="connsiteY85" fmla="*/ 804899 h 10691813"/>
              <a:gd name="connsiteX86" fmla="*/ 7073741 w 7559674"/>
              <a:gd name="connsiteY86" fmla="*/ 809683 h 10691813"/>
              <a:gd name="connsiteX87" fmla="*/ 7078405 w 7559674"/>
              <a:gd name="connsiteY87" fmla="*/ 805260 h 10691813"/>
              <a:gd name="connsiteX88" fmla="*/ 7061539 w 7559674"/>
              <a:gd name="connsiteY88" fmla="*/ 797732 h 10691813"/>
              <a:gd name="connsiteX89" fmla="*/ 6931149 w 7559674"/>
              <a:gd name="connsiteY89" fmla="*/ 797370 h 10691813"/>
              <a:gd name="connsiteX90" fmla="*/ 6916936 w 7559674"/>
              <a:gd name="connsiteY90" fmla="*/ 799280 h 10691813"/>
              <a:gd name="connsiteX91" fmla="*/ 6911086 w 7559674"/>
              <a:gd name="connsiteY91" fmla="*/ 804396 h 10691813"/>
              <a:gd name="connsiteX92" fmla="*/ 6911086 w 7559674"/>
              <a:gd name="connsiteY92" fmla="*/ 861449 h 10691813"/>
              <a:gd name="connsiteX93" fmla="*/ 6913599 w 7559674"/>
              <a:gd name="connsiteY93" fmla="*/ 863469 h 10691813"/>
              <a:gd name="connsiteX94" fmla="*/ 6919931 w 7559674"/>
              <a:gd name="connsiteY94" fmla="*/ 863469 h 10691813"/>
              <a:gd name="connsiteX95" fmla="*/ 6922203 w 7559674"/>
              <a:gd name="connsiteY95" fmla="*/ 861449 h 10691813"/>
              <a:gd name="connsiteX96" fmla="*/ 6922203 w 7559674"/>
              <a:gd name="connsiteY96" fmla="*/ 809160 h 10691813"/>
              <a:gd name="connsiteX97" fmla="*/ 6928535 w 7559674"/>
              <a:gd name="connsiteY97" fmla="*/ 803562 h 10691813"/>
              <a:gd name="connsiteX98" fmla="*/ 6942035 w 7559674"/>
              <a:gd name="connsiteY98" fmla="*/ 809402 h 10691813"/>
              <a:gd name="connsiteX99" fmla="*/ 6947513 w 7559674"/>
              <a:gd name="connsiteY99" fmla="*/ 803924 h 10691813"/>
              <a:gd name="connsiteX100" fmla="*/ 6931149 w 7559674"/>
              <a:gd name="connsiteY100" fmla="*/ 797370 h 10691813"/>
              <a:gd name="connsiteX101" fmla="*/ 6874659 w 7559674"/>
              <a:gd name="connsiteY101" fmla="*/ 797370 h 10691813"/>
              <a:gd name="connsiteX102" fmla="*/ 6858465 w 7559674"/>
              <a:gd name="connsiteY102" fmla="*/ 802034 h 10691813"/>
              <a:gd name="connsiteX103" fmla="*/ 6846554 w 7559674"/>
              <a:gd name="connsiteY103" fmla="*/ 831686 h 10691813"/>
              <a:gd name="connsiteX104" fmla="*/ 6858465 w 7559674"/>
              <a:gd name="connsiteY104" fmla="*/ 861218 h 10691813"/>
              <a:gd name="connsiteX105" fmla="*/ 6874659 w 7559674"/>
              <a:gd name="connsiteY105" fmla="*/ 865761 h 10691813"/>
              <a:gd name="connsiteX106" fmla="*/ 6890852 w 7559674"/>
              <a:gd name="connsiteY106" fmla="*/ 861218 h 10691813"/>
              <a:gd name="connsiteX107" fmla="*/ 6902884 w 7559674"/>
              <a:gd name="connsiteY107" fmla="*/ 831686 h 10691813"/>
              <a:gd name="connsiteX108" fmla="*/ 6890852 w 7559674"/>
              <a:gd name="connsiteY108" fmla="*/ 802034 h 10691813"/>
              <a:gd name="connsiteX109" fmla="*/ 6874659 w 7559674"/>
              <a:gd name="connsiteY109" fmla="*/ 797370 h 10691813"/>
              <a:gd name="connsiteX110" fmla="*/ 6811695 w 7559674"/>
              <a:gd name="connsiteY110" fmla="*/ 797370 h 10691813"/>
              <a:gd name="connsiteX111" fmla="*/ 6792316 w 7559674"/>
              <a:gd name="connsiteY111" fmla="*/ 800476 h 10691813"/>
              <a:gd name="connsiteX112" fmla="*/ 6786727 w 7559674"/>
              <a:gd name="connsiteY112" fmla="*/ 805612 h 10691813"/>
              <a:gd name="connsiteX113" fmla="*/ 6786727 w 7559674"/>
              <a:gd name="connsiteY113" fmla="*/ 861550 h 10691813"/>
              <a:gd name="connsiteX114" fmla="*/ 6789109 w 7559674"/>
              <a:gd name="connsiteY114" fmla="*/ 863821 h 10691813"/>
              <a:gd name="connsiteX115" fmla="*/ 6795291 w 7559674"/>
              <a:gd name="connsiteY115" fmla="*/ 863821 h 10691813"/>
              <a:gd name="connsiteX116" fmla="*/ 6797904 w 7559674"/>
              <a:gd name="connsiteY116" fmla="*/ 861308 h 10691813"/>
              <a:gd name="connsiteX117" fmla="*/ 6797904 w 7559674"/>
              <a:gd name="connsiteY117" fmla="*/ 809794 h 10691813"/>
              <a:gd name="connsiteX118" fmla="*/ 6811343 w 7559674"/>
              <a:gd name="connsiteY118" fmla="*/ 804175 h 10691813"/>
              <a:gd name="connsiteX119" fmla="*/ 6825848 w 7559674"/>
              <a:gd name="connsiteY119" fmla="*/ 819474 h 10691813"/>
              <a:gd name="connsiteX120" fmla="*/ 6825848 w 7559674"/>
              <a:gd name="connsiteY120" fmla="*/ 861308 h 10691813"/>
              <a:gd name="connsiteX121" fmla="*/ 6828703 w 7559674"/>
              <a:gd name="connsiteY121" fmla="*/ 863821 h 10691813"/>
              <a:gd name="connsiteX122" fmla="*/ 6835598 w 7559674"/>
              <a:gd name="connsiteY122" fmla="*/ 863821 h 10691813"/>
              <a:gd name="connsiteX123" fmla="*/ 6836784 w 7559674"/>
              <a:gd name="connsiteY123" fmla="*/ 861318 h 10691813"/>
              <a:gd name="connsiteX124" fmla="*/ 6836784 w 7559674"/>
              <a:gd name="connsiteY124" fmla="*/ 818046 h 10691813"/>
              <a:gd name="connsiteX125" fmla="*/ 6811695 w 7559674"/>
              <a:gd name="connsiteY125" fmla="*/ 797370 h 10691813"/>
              <a:gd name="connsiteX126" fmla="*/ 6721954 w 7559674"/>
              <a:gd name="connsiteY126" fmla="*/ 797370 h 10691813"/>
              <a:gd name="connsiteX127" fmla="*/ 6705691 w 7559674"/>
              <a:gd name="connsiteY127" fmla="*/ 802034 h 10691813"/>
              <a:gd name="connsiteX128" fmla="*/ 6693729 w 7559674"/>
              <a:gd name="connsiteY128" fmla="*/ 831686 h 10691813"/>
              <a:gd name="connsiteX129" fmla="*/ 6705691 w 7559674"/>
              <a:gd name="connsiteY129" fmla="*/ 861218 h 10691813"/>
              <a:gd name="connsiteX130" fmla="*/ 6721954 w 7559674"/>
              <a:gd name="connsiteY130" fmla="*/ 865761 h 10691813"/>
              <a:gd name="connsiteX131" fmla="*/ 6738218 w 7559674"/>
              <a:gd name="connsiteY131" fmla="*/ 861218 h 10691813"/>
              <a:gd name="connsiteX132" fmla="*/ 6750300 w 7559674"/>
              <a:gd name="connsiteY132" fmla="*/ 831686 h 10691813"/>
              <a:gd name="connsiteX133" fmla="*/ 6738218 w 7559674"/>
              <a:gd name="connsiteY133" fmla="*/ 802034 h 10691813"/>
              <a:gd name="connsiteX134" fmla="*/ 6721954 w 7559674"/>
              <a:gd name="connsiteY134" fmla="*/ 797370 h 10691813"/>
              <a:gd name="connsiteX135" fmla="*/ 6608089 w 7559674"/>
              <a:gd name="connsiteY135" fmla="*/ 797370 h 10691813"/>
              <a:gd name="connsiteX136" fmla="*/ 6591826 w 7559674"/>
              <a:gd name="connsiteY136" fmla="*/ 802034 h 10691813"/>
              <a:gd name="connsiteX137" fmla="*/ 6579744 w 7559674"/>
              <a:gd name="connsiteY137" fmla="*/ 831686 h 10691813"/>
              <a:gd name="connsiteX138" fmla="*/ 6591826 w 7559674"/>
              <a:gd name="connsiteY138" fmla="*/ 861218 h 10691813"/>
              <a:gd name="connsiteX139" fmla="*/ 6608089 w 7559674"/>
              <a:gd name="connsiteY139" fmla="*/ 865761 h 10691813"/>
              <a:gd name="connsiteX140" fmla="*/ 6624353 w 7559674"/>
              <a:gd name="connsiteY140" fmla="*/ 861218 h 10691813"/>
              <a:gd name="connsiteX141" fmla="*/ 6636314 w 7559674"/>
              <a:gd name="connsiteY141" fmla="*/ 831686 h 10691813"/>
              <a:gd name="connsiteX142" fmla="*/ 6624353 w 7559674"/>
              <a:gd name="connsiteY142" fmla="*/ 802034 h 10691813"/>
              <a:gd name="connsiteX143" fmla="*/ 6608089 w 7559674"/>
              <a:gd name="connsiteY143" fmla="*/ 797370 h 10691813"/>
              <a:gd name="connsiteX144" fmla="*/ 6545005 w 7559674"/>
              <a:gd name="connsiteY144" fmla="*/ 797370 h 10691813"/>
              <a:gd name="connsiteX145" fmla="*/ 6525535 w 7559674"/>
              <a:gd name="connsiteY145" fmla="*/ 800476 h 10691813"/>
              <a:gd name="connsiteX146" fmla="*/ 6519916 w 7559674"/>
              <a:gd name="connsiteY146" fmla="*/ 805612 h 10691813"/>
              <a:gd name="connsiteX147" fmla="*/ 6519916 w 7559674"/>
              <a:gd name="connsiteY147" fmla="*/ 861550 h 10691813"/>
              <a:gd name="connsiteX148" fmla="*/ 6522188 w 7559674"/>
              <a:gd name="connsiteY148" fmla="*/ 863821 h 10691813"/>
              <a:gd name="connsiteX149" fmla="*/ 6528400 w 7559674"/>
              <a:gd name="connsiteY149" fmla="*/ 863821 h 10691813"/>
              <a:gd name="connsiteX150" fmla="*/ 6531023 w 7559674"/>
              <a:gd name="connsiteY150" fmla="*/ 861308 h 10691813"/>
              <a:gd name="connsiteX151" fmla="*/ 6531023 w 7559674"/>
              <a:gd name="connsiteY151" fmla="*/ 809794 h 10691813"/>
              <a:gd name="connsiteX152" fmla="*/ 6544523 w 7559674"/>
              <a:gd name="connsiteY152" fmla="*/ 804175 h 10691813"/>
              <a:gd name="connsiteX153" fmla="*/ 6559098 w 7559674"/>
              <a:gd name="connsiteY153" fmla="*/ 819474 h 10691813"/>
              <a:gd name="connsiteX154" fmla="*/ 6559098 w 7559674"/>
              <a:gd name="connsiteY154" fmla="*/ 861308 h 10691813"/>
              <a:gd name="connsiteX155" fmla="*/ 6561962 w 7559674"/>
              <a:gd name="connsiteY155" fmla="*/ 863821 h 10691813"/>
              <a:gd name="connsiteX156" fmla="*/ 6568888 w 7559674"/>
              <a:gd name="connsiteY156" fmla="*/ 863821 h 10691813"/>
              <a:gd name="connsiteX157" fmla="*/ 6570215 w 7559674"/>
              <a:gd name="connsiteY157" fmla="*/ 861318 h 10691813"/>
              <a:gd name="connsiteX158" fmla="*/ 6570215 w 7559674"/>
              <a:gd name="connsiteY158" fmla="*/ 818046 h 10691813"/>
              <a:gd name="connsiteX159" fmla="*/ 6545005 w 7559674"/>
              <a:gd name="connsiteY159" fmla="*/ 797370 h 10691813"/>
              <a:gd name="connsiteX160" fmla="*/ 6993580 w 7559674"/>
              <a:gd name="connsiteY160" fmla="*/ 775648 h 10691813"/>
              <a:gd name="connsiteX161" fmla="*/ 6991318 w 7559674"/>
              <a:gd name="connsiteY161" fmla="*/ 778513 h 10691813"/>
              <a:gd name="connsiteX162" fmla="*/ 6991318 w 7559674"/>
              <a:gd name="connsiteY162" fmla="*/ 801220 h 10691813"/>
              <a:gd name="connsiteX163" fmla="*/ 6977748 w 7559674"/>
              <a:gd name="connsiteY163" fmla="*/ 797752 h 10691813"/>
              <a:gd name="connsiteX164" fmla="*/ 6948468 w 7559674"/>
              <a:gd name="connsiteY164" fmla="*/ 831686 h 10691813"/>
              <a:gd name="connsiteX165" fmla="*/ 6980010 w 7559674"/>
              <a:gd name="connsiteY165" fmla="*/ 865741 h 10691813"/>
              <a:gd name="connsiteX166" fmla="*/ 7002154 w 7559674"/>
              <a:gd name="connsiteY166" fmla="*/ 856916 h 10691813"/>
              <a:gd name="connsiteX167" fmla="*/ 7002154 w 7559674"/>
              <a:gd name="connsiteY167" fmla="*/ 778161 h 10691813"/>
              <a:gd name="connsiteX168" fmla="*/ 6999771 w 7559674"/>
              <a:gd name="connsiteY168" fmla="*/ 775648 h 10691813"/>
              <a:gd name="connsiteX169" fmla="*/ 6993580 w 7559674"/>
              <a:gd name="connsiteY169" fmla="*/ 775648 h 10691813"/>
              <a:gd name="connsiteX170" fmla="*/ 7091884 w 7559674"/>
              <a:gd name="connsiteY170" fmla="*/ 775417 h 10691813"/>
              <a:gd name="connsiteX171" fmla="*/ 7089844 w 7559674"/>
              <a:gd name="connsiteY171" fmla="*/ 777448 h 10691813"/>
              <a:gd name="connsiteX172" fmla="*/ 7089844 w 7559674"/>
              <a:gd name="connsiteY172" fmla="*/ 861801 h 10691813"/>
              <a:gd name="connsiteX173" fmla="*/ 7091884 w 7559674"/>
              <a:gd name="connsiteY173" fmla="*/ 863711 h 10691813"/>
              <a:gd name="connsiteX174" fmla="*/ 7098468 w 7559674"/>
              <a:gd name="connsiteY174" fmla="*/ 863711 h 10691813"/>
              <a:gd name="connsiteX175" fmla="*/ 7100740 w 7559674"/>
              <a:gd name="connsiteY175" fmla="*/ 861921 h 10691813"/>
              <a:gd name="connsiteX176" fmla="*/ 7100740 w 7559674"/>
              <a:gd name="connsiteY176" fmla="*/ 777206 h 10691813"/>
              <a:gd name="connsiteX177" fmla="*/ 7098468 w 7559674"/>
              <a:gd name="connsiteY177" fmla="*/ 775417 h 10691813"/>
              <a:gd name="connsiteX178" fmla="*/ 7091884 w 7559674"/>
              <a:gd name="connsiteY178" fmla="*/ 775417 h 10691813"/>
              <a:gd name="connsiteX179" fmla="*/ 7022780 w 7559674"/>
              <a:gd name="connsiteY179" fmla="*/ 774694 h 10691813"/>
              <a:gd name="connsiteX180" fmla="*/ 7015904 w 7559674"/>
              <a:gd name="connsiteY180" fmla="*/ 781368 h 10691813"/>
              <a:gd name="connsiteX181" fmla="*/ 7022538 w 7559674"/>
              <a:gd name="connsiteY181" fmla="*/ 787921 h 10691813"/>
              <a:gd name="connsiteX182" fmla="*/ 7029293 w 7559674"/>
              <a:gd name="connsiteY182" fmla="*/ 780895 h 10691813"/>
              <a:gd name="connsiteX183" fmla="*/ 7022780 w 7559674"/>
              <a:gd name="connsiteY183" fmla="*/ 774694 h 10691813"/>
              <a:gd name="connsiteX184" fmla="*/ 7155441 w 7559674"/>
              <a:gd name="connsiteY184" fmla="*/ 765215 h 10691813"/>
              <a:gd name="connsiteX185" fmla="*/ 7155685 w 7559674"/>
              <a:gd name="connsiteY185" fmla="*/ 765395 h 10691813"/>
              <a:gd name="connsiteX186" fmla="*/ 7155441 w 7559674"/>
              <a:gd name="connsiteY186" fmla="*/ 765456 h 10691813"/>
              <a:gd name="connsiteX187" fmla="*/ 7155441 w 7559674"/>
              <a:gd name="connsiteY187" fmla="*/ 765215 h 10691813"/>
              <a:gd name="connsiteX188" fmla="*/ 7148164 w 7559674"/>
              <a:gd name="connsiteY188" fmla="*/ 756490 h 10691813"/>
              <a:gd name="connsiteX189" fmla="*/ 7152094 w 7559674"/>
              <a:gd name="connsiteY189" fmla="*/ 756490 h 10691813"/>
              <a:gd name="connsiteX190" fmla="*/ 7157461 w 7559674"/>
              <a:gd name="connsiteY190" fmla="*/ 759716 h 10691813"/>
              <a:gd name="connsiteX191" fmla="*/ 7152456 w 7559674"/>
              <a:gd name="connsiteY191" fmla="*/ 762943 h 10691813"/>
              <a:gd name="connsiteX192" fmla="*/ 7148164 w 7559674"/>
              <a:gd name="connsiteY192" fmla="*/ 762943 h 10691813"/>
              <a:gd name="connsiteX193" fmla="*/ 7144826 w 7559674"/>
              <a:gd name="connsiteY193" fmla="*/ 753494 h 10691813"/>
              <a:gd name="connsiteX194" fmla="*/ 7144826 w 7559674"/>
              <a:gd name="connsiteY194" fmla="*/ 775136 h 10691813"/>
              <a:gd name="connsiteX195" fmla="*/ 7148405 w 7559674"/>
              <a:gd name="connsiteY195" fmla="*/ 775136 h 10691813"/>
              <a:gd name="connsiteX196" fmla="*/ 7148405 w 7559674"/>
              <a:gd name="connsiteY196" fmla="*/ 765928 h 10691813"/>
              <a:gd name="connsiteX197" fmla="*/ 7150435 w 7559674"/>
              <a:gd name="connsiteY197" fmla="*/ 765928 h 10691813"/>
              <a:gd name="connsiteX198" fmla="*/ 7156868 w 7559674"/>
              <a:gd name="connsiteY198" fmla="*/ 771668 h 10691813"/>
              <a:gd name="connsiteX199" fmla="*/ 7158778 w 7559674"/>
              <a:gd name="connsiteY199" fmla="*/ 775015 h 10691813"/>
              <a:gd name="connsiteX200" fmla="*/ 7162950 w 7559674"/>
              <a:gd name="connsiteY200" fmla="*/ 775015 h 10691813"/>
              <a:gd name="connsiteX201" fmla="*/ 7160326 w 7559674"/>
              <a:gd name="connsiteY201" fmla="*/ 770713 h 10691813"/>
              <a:gd name="connsiteX202" fmla="*/ 7157344 w 7559674"/>
              <a:gd name="connsiteY202" fmla="*/ 766618 h 10691813"/>
              <a:gd name="connsiteX203" fmla="*/ 7155685 w 7559674"/>
              <a:gd name="connsiteY203" fmla="*/ 765395 h 10691813"/>
              <a:gd name="connsiteX204" fmla="*/ 7158253 w 7559674"/>
              <a:gd name="connsiteY204" fmla="*/ 764754 h 10691813"/>
              <a:gd name="connsiteX205" fmla="*/ 7161522 w 7559674"/>
              <a:gd name="connsiteY205" fmla="*/ 759355 h 10691813"/>
              <a:gd name="connsiteX206" fmla="*/ 7159492 w 7559674"/>
              <a:gd name="connsiteY206" fmla="*/ 755173 h 10691813"/>
              <a:gd name="connsiteX207" fmla="*/ 7152456 w 7559674"/>
              <a:gd name="connsiteY207" fmla="*/ 753494 h 10691813"/>
              <a:gd name="connsiteX208" fmla="*/ 7144826 w 7559674"/>
              <a:gd name="connsiteY208" fmla="*/ 753494 h 10691813"/>
              <a:gd name="connsiteX209" fmla="*/ 7153290 w 7559674"/>
              <a:gd name="connsiteY209" fmla="*/ 747524 h 10691813"/>
              <a:gd name="connsiteX210" fmla="*/ 7169976 w 7559674"/>
              <a:gd name="connsiteY210" fmla="*/ 764139 h 10691813"/>
              <a:gd name="connsiteX211" fmla="*/ 7153290 w 7559674"/>
              <a:gd name="connsiteY211" fmla="*/ 780996 h 10691813"/>
              <a:gd name="connsiteX212" fmla="*/ 7136725 w 7559674"/>
              <a:gd name="connsiteY212" fmla="*/ 764139 h 10691813"/>
              <a:gd name="connsiteX213" fmla="*/ 7153290 w 7559674"/>
              <a:gd name="connsiteY213" fmla="*/ 747524 h 10691813"/>
              <a:gd name="connsiteX214" fmla="*/ 7153290 w 7559674"/>
              <a:gd name="connsiteY214" fmla="*/ 744056 h 10691813"/>
              <a:gd name="connsiteX215" fmla="*/ 7133388 w 7559674"/>
              <a:gd name="connsiteY215" fmla="*/ 764139 h 10691813"/>
              <a:gd name="connsiteX216" fmla="*/ 7153290 w 7559674"/>
              <a:gd name="connsiteY216" fmla="*/ 784222 h 10691813"/>
              <a:gd name="connsiteX217" fmla="*/ 7173192 w 7559674"/>
              <a:gd name="connsiteY217" fmla="*/ 764139 h 10691813"/>
              <a:gd name="connsiteX218" fmla="*/ 7153290 w 7559674"/>
              <a:gd name="connsiteY218" fmla="*/ 744056 h 10691813"/>
              <a:gd name="connsiteX219" fmla="*/ 6954553 w 7559674"/>
              <a:gd name="connsiteY219" fmla="*/ 613780 h 10691813"/>
              <a:gd name="connsiteX220" fmla="*/ 6956238 w 7559674"/>
              <a:gd name="connsiteY220" fmla="*/ 614541 h 10691813"/>
              <a:gd name="connsiteX221" fmla="*/ 6959464 w 7559674"/>
              <a:gd name="connsiteY221" fmla="*/ 691315 h 10691813"/>
              <a:gd name="connsiteX222" fmla="*/ 6955765 w 7559674"/>
              <a:gd name="connsiteY222" fmla="*/ 690602 h 10691813"/>
              <a:gd name="connsiteX223" fmla="*/ 6949795 w 7559674"/>
              <a:gd name="connsiteY223" fmla="*/ 659080 h 10691813"/>
              <a:gd name="connsiteX224" fmla="*/ 6953494 w 7559674"/>
              <a:gd name="connsiteY224" fmla="*/ 614903 h 10691813"/>
              <a:gd name="connsiteX225" fmla="*/ 6954553 w 7559674"/>
              <a:gd name="connsiteY225" fmla="*/ 613780 h 10691813"/>
              <a:gd name="connsiteX226" fmla="*/ 6815987 w 7559674"/>
              <a:gd name="connsiteY226" fmla="*/ 568092 h 10691813"/>
              <a:gd name="connsiteX227" fmla="*/ 6871301 w 7559674"/>
              <a:gd name="connsiteY227" fmla="*/ 570002 h 10691813"/>
              <a:gd name="connsiteX228" fmla="*/ 6869743 w 7559674"/>
              <a:gd name="connsiteY228" fmla="*/ 600328 h 10691813"/>
              <a:gd name="connsiteX229" fmla="*/ 6824229 w 7559674"/>
              <a:gd name="connsiteY229" fmla="*/ 604509 h 10691813"/>
              <a:gd name="connsiteX230" fmla="*/ 6818138 w 7559674"/>
              <a:gd name="connsiteY230" fmla="*/ 597584 h 10691813"/>
              <a:gd name="connsiteX231" fmla="*/ 6815987 w 7559674"/>
              <a:gd name="connsiteY231" fmla="*/ 568092 h 10691813"/>
              <a:gd name="connsiteX232" fmla="*/ 6912513 w 7559674"/>
              <a:gd name="connsiteY232" fmla="*/ 565107 h 10691813"/>
              <a:gd name="connsiteX233" fmla="*/ 6916574 w 7559674"/>
              <a:gd name="connsiteY233" fmla="*/ 584929 h 10691813"/>
              <a:gd name="connsiteX234" fmla="*/ 6907015 w 7559674"/>
              <a:gd name="connsiteY234" fmla="*/ 591854 h 10691813"/>
              <a:gd name="connsiteX235" fmla="*/ 6899245 w 7559674"/>
              <a:gd name="connsiteY235" fmla="*/ 566896 h 10691813"/>
              <a:gd name="connsiteX236" fmla="*/ 6912513 w 7559674"/>
              <a:gd name="connsiteY236" fmla="*/ 565107 h 10691813"/>
              <a:gd name="connsiteX237" fmla="*/ 6770122 w 7559674"/>
              <a:gd name="connsiteY237" fmla="*/ 558191 h 10691813"/>
              <a:gd name="connsiteX238" fmla="*/ 6787802 w 7559674"/>
              <a:gd name="connsiteY238" fmla="*/ 562966 h 10691813"/>
              <a:gd name="connsiteX239" fmla="*/ 6771559 w 7559674"/>
              <a:gd name="connsiteY239" fmla="*/ 597594 h 10691813"/>
              <a:gd name="connsiteX240" fmla="*/ 6763789 w 7559674"/>
              <a:gd name="connsiteY240" fmla="*/ 591503 h 10691813"/>
              <a:gd name="connsiteX241" fmla="*/ 6770122 w 7559674"/>
              <a:gd name="connsiteY241" fmla="*/ 558191 h 10691813"/>
              <a:gd name="connsiteX242" fmla="*/ 6749660 w 7559674"/>
              <a:gd name="connsiteY242" fmla="*/ 551642 h 10691813"/>
              <a:gd name="connsiteX243" fmla="*/ 6760934 w 7559674"/>
              <a:gd name="connsiteY243" fmla="*/ 555327 h 10691813"/>
              <a:gd name="connsiteX244" fmla="*/ 6753164 w 7559674"/>
              <a:gd name="connsiteY244" fmla="*/ 596277 h 10691813"/>
              <a:gd name="connsiteX245" fmla="*/ 6772634 w 7559674"/>
              <a:gd name="connsiteY245" fmla="*/ 606429 h 10691813"/>
              <a:gd name="connsiteX246" fmla="*/ 6796407 w 7559674"/>
              <a:gd name="connsiteY246" fmla="*/ 564876 h 10691813"/>
              <a:gd name="connsiteX247" fmla="*/ 6807634 w 7559674"/>
              <a:gd name="connsiteY247" fmla="*/ 566906 h 10691813"/>
              <a:gd name="connsiteX248" fmla="*/ 6811102 w 7559674"/>
              <a:gd name="connsiteY248" fmla="*/ 605826 h 10691813"/>
              <a:gd name="connsiteX249" fmla="*/ 6823285 w 7559674"/>
              <a:gd name="connsiteY249" fmla="*/ 613465 h 10691813"/>
              <a:gd name="connsiteX250" fmla="*/ 6876800 w 7559674"/>
              <a:gd name="connsiteY250" fmla="*/ 606781 h 10691813"/>
              <a:gd name="connsiteX251" fmla="*/ 6879785 w 7559674"/>
              <a:gd name="connsiteY251" fmla="*/ 569288 h 10691813"/>
              <a:gd name="connsiteX252" fmla="*/ 6890058 w 7559674"/>
              <a:gd name="connsiteY252" fmla="*/ 568092 h 10691813"/>
              <a:gd name="connsiteX253" fmla="*/ 6898662 w 7559674"/>
              <a:gd name="connsiteY253" fmla="*/ 592689 h 10691813"/>
              <a:gd name="connsiteX254" fmla="*/ 6916705 w 7559674"/>
              <a:gd name="connsiteY254" fmla="*/ 595795 h 10691813"/>
              <a:gd name="connsiteX255" fmla="*/ 6920404 w 7559674"/>
              <a:gd name="connsiteY255" fmla="*/ 564152 h 10691813"/>
              <a:gd name="connsiteX256" fmla="*/ 6941783 w 7559674"/>
              <a:gd name="connsiteY256" fmla="*/ 597232 h 10691813"/>
              <a:gd name="connsiteX257" fmla="*/ 6929842 w 7559674"/>
              <a:gd name="connsiteY257" fmla="*/ 646545 h 10691813"/>
              <a:gd name="connsiteX258" fmla="*/ 6859481 w 7559674"/>
              <a:gd name="connsiteY258" fmla="*/ 630905 h 10691813"/>
              <a:gd name="connsiteX259" fmla="*/ 6786968 w 7559674"/>
              <a:gd name="connsiteY259" fmla="*/ 670066 h 10691813"/>
              <a:gd name="connsiteX260" fmla="*/ 6783862 w 7559674"/>
              <a:gd name="connsiteY260" fmla="*/ 670900 h 10691813"/>
              <a:gd name="connsiteX261" fmla="*/ 6748621 w 7559674"/>
              <a:gd name="connsiteY261" fmla="*/ 645590 h 10691813"/>
              <a:gd name="connsiteX262" fmla="*/ 6721029 w 7559674"/>
              <a:gd name="connsiteY262" fmla="*/ 612279 h 10691813"/>
              <a:gd name="connsiteX263" fmla="*/ 6745284 w 7559674"/>
              <a:gd name="connsiteY263" fmla="*/ 554492 h 10691813"/>
              <a:gd name="connsiteX264" fmla="*/ 6749660 w 7559674"/>
              <a:gd name="connsiteY264" fmla="*/ 551642 h 10691813"/>
              <a:gd name="connsiteX265" fmla="*/ 6692584 w 7559674"/>
              <a:gd name="connsiteY265" fmla="*/ 538094 h 10691813"/>
              <a:gd name="connsiteX266" fmla="*/ 6681486 w 7559674"/>
              <a:gd name="connsiteY266" fmla="*/ 545989 h 10691813"/>
              <a:gd name="connsiteX267" fmla="*/ 6695910 w 7559674"/>
              <a:gd name="connsiteY267" fmla="*/ 538973 h 10691813"/>
              <a:gd name="connsiteX268" fmla="*/ 6692584 w 7559674"/>
              <a:gd name="connsiteY268" fmla="*/ 538094 h 10691813"/>
              <a:gd name="connsiteX269" fmla="*/ 6689121 w 7559674"/>
              <a:gd name="connsiteY269" fmla="*/ 523091 h 10691813"/>
              <a:gd name="connsiteX270" fmla="*/ 6712425 w 7559674"/>
              <a:gd name="connsiteY270" fmla="*/ 533113 h 10691813"/>
              <a:gd name="connsiteX271" fmla="*/ 6732730 w 7559674"/>
              <a:gd name="connsiteY271" fmla="*/ 554603 h 10691813"/>
              <a:gd name="connsiteX272" fmla="*/ 6709671 w 7559674"/>
              <a:gd name="connsiteY272" fmla="*/ 604992 h 10691813"/>
              <a:gd name="connsiteX273" fmla="*/ 6692111 w 7559674"/>
              <a:gd name="connsiteY273" fmla="*/ 577169 h 10691813"/>
              <a:gd name="connsiteX274" fmla="*/ 6667022 w 7559674"/>
              <a:gd name="connsiteY274" fmla="*/ 570002 h 10691813"/>
              <a:gd name="connsiteX275" fmla="*/ 6664630 w 7559674"/>
              <a:gd name="connsiteY275" fmla="*/ 558664 h 10691813"/>
              <a:gd name="connsiteX276" fmla="*/ 6671555 w 7559674"/>
              <a:gd name="connsiteY276" fmla="*/ 549346 h 10691813"/>
              <a:gd name="connsiteX277" fmla="*/ 6674068 w 7559674"/>
              <a:gd name="connsiteY277" fmla="*/ 538842 h 10691813"/>
              <a:gd name="connsiteX278" fmla="*/ 6684944 w 7559674"/>
              <a:gd name="connsiteY278" fmla="*/ 525353 h 10691813"/>
              <a:gd name="connsiteX279" fmla="*/ 6689121 w 7559674"/>
              <a:gd name="connsiteY279" fmla="*/ 523091 h 10691813"/>
              <a:gd name="connsiteX280" fmla="*/ 6660772 w 7559674"/>
              <a:gd name="connsiteY280" fmla="*/ 466477 h 10691813"/>
              <a:gd name="connsiteX281" fmla="*/ 6659011 w 7559674"/>
              <a:gd name="connsiteY281" fmla="*/ 473074 h 10691813"/>
              <a:gd name="connsiteX282" fmla="*/ 6671917 w 7559674"/>
              <a:gd name="connsiteY282" fmla="*/ 511763 h 10691813"/>
              <a:gd name="connsiteX283" fmla="*/ 6674902 w 7559674"/>
              <a:gd name="connsiteY283" fmla="*/ 521312 h 10691813"/>
              <a:gd name="connsiteX284" fmla="*/ 6664871 w 7559674"/>
              <a:gd name="connsiteY284" fmla="*/ 535636 h 10691813"/>
              <a:gd name="connsiteX285" fmla="*/ 6663795 w 7559674"/>
              <a:gd name="connsiteY285" fmla="*/ 542802 h 10691813"/>
              <a:gd name="connsiteX286" fmla="*/ 6652809 w 7559674"/>
              <a:gd name="connsiteY286" fmla="*/ 557608 h 10691813"/>
              <a:gd name="connsiteX287" fmla="*/ 6654478 w 7559674"/>
              <a:gd name="connsiteY287" fmla="*/ 569670 h 10691813"/>
              <a:gd name="connsiteX288" fmla="*/ 6664278 w 7559674"/>
              <a:gd name="connsiteY288" fmla="*/ 579822 h 10691813"/>
              <a:gd name="connsiteX289" fmla="*/ 6677415 w 7559674"/>
              <a:gd name="connsiteY289" fmla="*/ 581260 h 10691813"/>
              <a:gd name="connsiteX290" fmla="*/ 6692945 w 7559674"/>
              <a:gd name="connsiteY290" fmla="*/ 593443 h 10691813"/>
              <a:gd name="connsiteX291" fmla="*/ 6720657 w 7559674"/>
              <a:gd name="connsiteY291" fmla="*/ 641198 h 10691813"/>
              <a:gd name="connsiteX292" fmla="*/ 6726628 w 7559674"/>
              <a:gd name="connsiteY292" fmla="*/ 665432 h 10691813"/>
              <a:gd name="connsiteX293" fmla="*/ 6694855 w 7559674"/>
              <a:gd name="connsiteY293" fmla="*/ 760953 h 10691813"/>
              <a:gd name="connsiteX294" fmla="*/ 6696524 w 7559674"/>
              <a:gd name="connsiteY294" fmla="*/ 770623 h 10691813"/>
              <a:gd name="connsiteX295" fmla="*/ 6720899 w 7559674"/>
              <a:gd name="connsiteY295" fmla="*/ 770623 h 10691813"/>
              <a:gd name="connsiteX296" fmla="*/ 6726156 w 7559674"/>
              <a:gd name="connsiteY296" fmla="*/ 763697 h 10691813"/>
              <a:gd name="connsiteX297" fmla="*/ 6758653 w 7559674"/>
              <a:gd name="connsiteY297" fmla="*/ 667222 h 10691813"/>
              <a:gd name="connsiteX298" fmla="*/ 6791622 w 7559674"/>
              <a:gd name="connsiteY298" fmla="*/ 761787 h 10691813"/>
              <a:gd name="connsiteX299" fmla="*/ 6795090 w 7559674"/>
              <a:gd name="connsiteY299" fmla="*/ 770864 h 10691813"/>
              <a:gd name="connsiteX300" fmla="*/ 6815997 w 7559674"/>
              <a:gd name="connsiteY300" fmla="*/ 770864 h 10691813"/>
              <a:gd name="connsiteX301" fmla="*/ 6822802 w 7559674"/>
              <a:gd name="connsiteY301" fmla="*/ 764773 h 10691813"/>
              <a:gd name="connsiteX302" fmla="*/ 6800467 w 7559674"/>
              <a:gd name="connsiteY302" fmla="*/ 677374 h 10691813"/>
              <a:gd name="connsiteX303" fmla="*/ 6857571 w 7559674"/>
              <a:gd name="connsiteY303" fmla="*/ 655049 h 10691813"/>
              <a:gd name="connsiteX304" fmla="*/ 6889344 w 7559674"/>
              <a:gd name="connsiteY304" fmla="*/ 680007 h 10691813"/>
              <a:gd name="connsiteX305" fmla="*/ 6836181 w 7559674"/>
              <a:gd name="connsiteY305" fmla="*/ 761797 h 10691813"/>
              <a:gd name="connsiteX306" fmla="*/ 6838332 w 7559674"/>
              <a:gd name="connsiteY306" fmla="*/ 770633 h 10691813"/>
              <a:gd name="connsiteX307" fmla="*/ 6860435 w 7559674"/>
              <a:gd name="connsiteY307" fmla="*/ 770633 h 10691813"/>
              <a:gd name="connsiteX308" fmla="*/ 6868557 w 7559674"/>
              <a:gd name="connsiteY308" fmla="*/ 765496 h 10691813"/>
              <a:gd name="connsiteX309" fmla="*/ 6916584 w 7559674"/>
              <a:gd name="connsiteY309" fmla="*/ 688249 h 10691813"/>
              <a:gd name="connsiteX310" fmla="*/ 6925781 w 7559674"/>
              <a:gd name="connsiteY310" fmla="*/ 660195 h 10691813"/>
              <a:gd name="connsiteX311" fmla="*/ 6917056 w 7559674"/>
              <a:gd name="connsiteY311" fmla="*/ 761918 h 10691813"/>
              <a:gd name="connsiteX312" fmla="*/ 6919207 w 7559674"/>
              <a:gd name="connsiteY312" fmla="*/ 770512 h 10691813"/>
              <a:gd name="connsiteX313" fmla="*/ 6939160 w 7559674"/>
              <a:gd name="connsiteY313" fmla="*/ 770512 h 10691813"/>
              <a:gd name="connsiteX314" fmla="*/ 6945372 w 7559674"/>
              <a:gd name="connsiteY314" fmla="*/ 762873 h 10691813"/>
              <a:gd name="connsiteX315" fmla="*/ 6950146 w 7559674"/>
              <a:gd name="connsiteY315" fmla="*/ 746036 h 10691813"/>
              <a:gd name="connsiteX316" fmla="*/ 6968189 w 7559674"/>
              <a:gd name="connsiteY316" fmla="*/ 741382 h 10691813"/>
              <a:gd name="connsiteX317" fmla="*/ 6972853 w 7559674"/>
              <a:gd name="connsiteY317" fmla="*/ 734457 h 10691813"/>
              <a:gd name="connsiteX318" fmla="*/ 6968782 w 7559674"/>
              <a:gd name="connsiteY318" fmla="*/ 585653 h 10691813"/>
              <a:gd name="connsiteX319" fmla="*/ 6920997 w 7559674"/>
              <a:gd name="connsiteY319" fmla="*/ 554613 h 10691813"/>
              <a:gd name="connsiteX320" fmla="*/ 6849439 w 7559674"/>
              <a:gd name="connsiteY320" fmla="*/ 560101 h 10691813"/>
              <a:gd name="connsiteX321" fmla="*/ 6733443 w 7559674"/>
              <a:gd name="connsiteY321" fmla="*/ 533474 h 10691813"/>
              <a:gd name="connsiteX322" fmla="*/ 6733081 w 7559674"/>
              <a:gd name="connsiteY322" fmla="*/ 528218 h 10691813"/>
              <a:gd name="connsiteX323" fmla="*/ 6763186 w 7559674"/>
              <a:gd name="connsiteY323" fmla="*/ 504104 h 10691813"/>
              <a:gd name="connsiteX324" fmla="*/ 6760794 w 7559674"/>
              <a:gd name="connsiteY324" fmla="*/ 497661 h 10691813"/>
              <a:gd name="connsiteX325" fmla="*/ 6699871 w 7559674"/>
              <a:gd name="connsiteY325" fmla="*/ 508647 h 10691813"/>
              <a:gd name="connsiteX326" fmla="*/ 6664147 w 7559674"/>
              <a:gd name="connsiteY326" fmla="*/ 470803 h 10691813"/>
              <a:gd name="connsiteX327" fmla="*/ 6660772 w 7559674"/>
              <a:gd name="connsiteY327" fmla="*/ 466477 h 10691813"/>
              <a:gd name="connsiteX328" fmla="*/ 6723623 w 7559674"/>
              <a:gd name="connsiteY328" fmla="*/ 411619 h 10691813"/>
              <a:gd name="connsiteX329" fmla="*/ 6756110 w 7559674"/>
              <a:gd name="connsiteY329" fmla="*/ 444186 h 10691813"/>
              <a:gd name="connsiteX330" fmla="*/ 6723623 w 7559674"/>
              <a:gd name="connsiteY330" fmla="*/ 476753 h 10691813"/>
              <a:gd name="connsiteX331" fmla="*/ 6690895 w 7559674"/>
              <a:gd name="connsiteY331" fmla="*/ 444186 h 10691813"/>
              <a:gd name="connsiteX332" fmla="*/ 6723623 w 7559674"/>
              <a:gd name="connsiteY332" fmla="*/ 411619 h 10691813"/>
              <a:gd name="connsiteX333" fmla="*/ 6722195 w 7559674"/>
              <a:gd name="connsiteY333" fmla="*/ 400049 h 10691813"/>
              <a:gd name="connsiteX334" fmla="*/ 6673103 w 7559674"/>
              <a:gd name="connsiteY334" fmla="*/ 449322 h 10691813"/>
              <a:gd name="connsiteX335" fmla="*/ 6722195 w 7559674"/>
              <a:gd name="connsiteY335" fmla="*/ 498595 h 10691813"/>
              <a:gd name="connsiteX336" fmla="*/ 6771288 w 7559674"/>
              <a:gd name="connsiteY336" fmla="*/ 449322 h 10691813"/>
              <a:gd name="connsiteX337" fmla="*/ 6722195 w 7559674"/>
              <a:gd name="connsiteY337" fmla="*/ 400049 h 10691813"/>
              <a:gd name="connsiteX338" fmla="*/ 0 w 7559674"/>
              <a:gd name="connsiteY338" fmla="*/ 0 h 10691813"/>
              <a:gd name="connsiteX339" fmla="*/ 7559674 w 7559674"/>
              <a:gd name="connsiteY339" fmla="*/ 0 h 10691813"/>
              <a:gd name="connsiteX340" fmla="*/ 7559674 w 7559674"/>
              <a:gd name="connsiteY340" fmla="*/ 241299 h 10691813"/>
              <a:gd name="connsiteX341" fmla="*/ 7559674 w 7559674"/>
              <a:gd name="connsiteY341" fmla="*/ 1676399 h 10691813"/>
              <a:gd name="connsiteX342" fmla="*/ 7559674 w 7559674"/>
              <a:gd name="connsiteY342" fmla="*/ 10691813 h 10691813"/>
              <a:gd name="connsiteX343" fmla="*/ 0 w 7559674"/>
              <a:gd name="connsiteY343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</a:cxnLst>
            <a:rect l="l" t="t" r="r" b="b"/>
            <a:pathLst>
              <a:path w="7559674" h="10691813">
                <a:moveTo>
                  <a:pt x="6979537" y="805421"/>
                </a:moveTo>
                <a:cubicBezTo>
                  <a:pt x="6985960" y="805421"/>
                  <a:pt x="6988936" y="807452"/>
                  <a:pt x="6991438" y="809482"/>
                </a:cubicBezTo>
                <a:cubicBezTo>
                  <a:pt x="6991438" y="853337"/>
                  <a:pt x="6991438" y="853337"/>
                  <a:pt x="6991438" y="853337"/>
                </a:cubicBezTo>
                <a:lnTo>
                  <a:pt x="6991318" y="853337"/>
                </a:lnTo>
                <a:cubicBezTo>
                  <a:pt x="6991318" y="856564"/>
                  <a:pt x="6985960" y="858353"/>
                  <a:pt x="6980372" y="858353"/>
                </a:cubicBezTo>
                <a:cubicBezTo>
                  <a:pt x="6968350" y="858353"/>
                  <a:pt x="6959786" y="848191"/>
                  <a:pt x="6959786" y="830872"/>
                </a:cubicBezTo>
                <a:cubicBezTo>
                  <a:pt x="6959786" y="815573"/>
                  <a:pt x="6968119" y="805421"/>
                  <a:pt x="6979537" y="805421"/>
                </a:cubicBezTo>
                <a:close/>
                <a:moveTo>
                  <a:pt x="6874649" y="804667"/>
                </a:moveTo>
                <a:cubicBezTo>
                  <a:pt x="6879051" y="804667"/>
                  <a:pt x="6882268" y="805622"/>
                  <a:pt x="6885605" y="808849"/>
                </a:cubicBezTo>
                <a:cubicBezTo>
                  <a:pt x="6889183" y="812196"/>
                  <a:pt x="6891445" y="819614"/>
                  <a:pt x="6891445" y="831686"/>
                </a:cubicBezTo>
                <a:cubicBezTo>
                  <a:pt x="6891445" y="843406"/>
                  <a:pt x="6889183" y="851056"/>
                  <a:pt x="6885605" y="854403"/>
                </a:cubicBezTo>
                <a:cubicBezTo>
                  <a:pt x="6882268" y="857630"/>
                  <a:pt x="6879051" y="858464"/>
                  <a:pt x="6874649" y="858464"/>
                </a:cubicBezTo>
                <a:cubicBezTo>
                  <a:pt x="6870246" y="858464"/>
                  <a:pt x="6867261" y="857630"/>
                  <a:pt x="6863933" y="854403"/>
                </a:cubicBezTo>
                <a:cubicBezTo>
                  <a:pt x="6860476" y="851056"/>
                  <a:pt x="6858093" y="843638"/>
                  <a:pt x="6858093" y="831686"/>
                </a:cubicBezTo>
                <a:cubicBezTo>
                  <a:pt x="6858093" y="819845"/>
                  <a:pt x="6860476" y="812196"/>
                  <a:pt x="6863933" y="808849"/>
                </a:cubicBezTo>
                <a:cubicBezTo>
                  <a:pt x="6867271" y="805622"/>
                  <a:pt x="6870487" y="804667"/>
                  <a:pt x="6874649" y="804667"/>
                </a:cubicBezTo>
                <a:close/>
                <a:moveTo>
                  <a:pt x="6722185" y="804667"/>
                </a:moveTo>
                <a:cubicBezTo>
                  <a:pt x="6726618" y="804667"/>
                  <a:pt x="6729603" y="805622"/>
                  <a:pt x="6732951" y="808849"/>
                </a:cubicBezTo>
                <a:cubicBezTo>
                  <a:pt x="6736539" y="812196"/>
                  <a:pt x="6738811" y="819614"/>
                  <a:pt x="6738811" y="831686"/>
                </a:cubicBezTo>
                <a:cubicBezTo>
                  <a:pt x="6738811" y="843406"/>
                  <a:pt x="6736539" y="851056"/>
                  <a:pt x="6732951" y="854403"/>
                </a:cubicBezTo>
                <a:cubicBezTo>
                  <a:pt x="6729603" y="857630"/>
                  <a:pt x="6726377" y="858464"/>
                  <a:pt x="6722185" y="858464"/>
                </a:cubicBezTo>
                <a:cubicBezTo>
                  <a:pt x="6717763" y="858464"/>
                  <a:pt x="6714767" y="857630"/>
                  <a:pt x="6711179" y="854403"/>
                </a:cubicBezTo>
                <a:cubicBezTo>
                  <a:pt x="6707711" y="851056"/>
                  <a:pt x="6705319" y="843638"/>
                  <a:pt x="6705319" y="831686"/>
                </a:cubicBezTo>
                <a:cubicBezTo>
                  <a:pt x="6705319" y="819845"/>
                  <a:pt x="6707711" y="812196"/>
                  <a:pt x="6711179" y="808849"/>
                </a:cubicBezTo>
                <a:cubicBezTo>
                  <a:pt x="6714526" y="805622"/>
                  <a:pt x="6717753" y="804667"/>
                  <a:pt x="6722185" y="804667"/>
                </a:cubicBezTo>
                <a:close/>
                <a:moveTo>
                  <a:pt x="6608079" y="804667"/>
                </a:moveTo>
                <a:cubicBezTo>
                  <a:pt x="6612502" y="804667"/>
                  <a:pt x="6615497" y="805622"/>
                  <a:pt x="6618965" y="808849"/>
                </a:cubicBezTo>
                <a:cubicBezTo>
                  <a:pt x="6622443" y="812196"/>
                  <a:pt x="6624825" y="819614"/>
                  <a:pt x="6624825" y="831686"/>
                </a:cubicBezTo>
                <a:cubicBezTo>
                  <a:pt x="6624825" y="843406"/>
                  <a:pt x="6622554" y="851056"/>
                  <a:pt x="6618965" y="854403"/>
                </a:cubicBezTo>
                <a:cubicBezTo>
                  <a:pt x="6615618" y="857630"/>
                  <a:pt x="6612502" y="858464"/>
                  <a:pt x="6608079" y="858464"/>
                </a:cubicBezTo>
                <a:cubicBezTo>
                  <a:pt x="6603656" y="858464"/>
                  <a:pt x="6600661" y="857630"/>
                  <a:pt x="6597314" y="854403"/>
                </a:cubicBezTo>
                <a:cubicBezTo>
                  <a:pt x="6593725" y="851056"/>
                  <a:pt x="6591454" y="843638"/>
                  <a:pt x="6591454" y="831686"/>
                </a:cubicBezTo>
                <a:cubicBezTo>
                  <a:pt x="6591454" y="819845"/>
                  <a:pt x="6593725" y="812196"/>
                  <a:pt x="6597314" y="808849"/>
                </a:cubicBezTo>
                <a:cubicBezTo>
                  <a:pt x="6600661" y="805622"/>
                  <a:pt x="6603777" y="804667"/>
                  <a:pt x="6608079" y="804667"/>
                </a:cubicBezTo>
                <a:close/>
                <a:moveTo>
                  <a:pt x="7019101" y="799129"/>
                </a:moveTo>
                <a:cubicBezTo>
                  <a:pt x="7016970" y="799129"/>
                  <a:pt x="7016970" y="799843"/>
                  <a:pt x="7016970" y="801391"/>
                </a:cubicBezTo>
                <a:cubicBezTo>
                  <a:pt x="7016970" y="861570"/>
                  <a:pt x="7016970" y="861570"/>
                  <a:pt x="7016970" y="861570"/>
                </a:cubicBezTo>
                <a:cubicBezTo>
                  <a:pt x="7016970" y="863359"/>
                  <a:pt x="7016970" y="863831"/>
                  <a:pt x="7018869" y="863831"/>
                </a:cubicBezTo>
                <a:cubicBezTo>
                  <a:pt x="7025624" y="863831"/>
                  <a:pt x="7025624" y="863831"/>
                  <a:pt x="7025624" y="863831"/>
                </a:cubicBezTo>
                <a:cubicBezTo>
                  <a:pt x="7027514" y="863711"/>
                  <a:pt x="7027986" y="863711"/>
                  <a:pt x="7027986" y="861570"/>
                </a:cubicBezTo>
                <a:cubicBezTo>
                  <a:pt x="7027986" y="801391"/>
                  <a:pt x="7027986" y="801391"/>
                  <a:pt x="7027986" y="801391"/>
                </a:cubicBezTo>
                <a:cubicBezTo>
                  <a:pt x="7027986" y="799481"/>
                  <a:pt x="7027514" y="799129"/>
                  <a:pt x="7025614" y="799129"/>
                </a:cubicBezTo>
                <a:cubicBezTo>
                  <a:pt x="7019101" y="799129"/>
                  <a:pt x="7019101" y="799129"/>
                  <a:pt x="7019101" y="799129"/>
                </a:cubicBezTo>
                <a:close/>
                <a:moveTo>
                  <a:pt x="7128885" y="798817"/>
                </a:moveTo>
                <a:cubicBezTo>
                  <a:pt x="7126613" y="798817"/>
                  <a:pt x="7125768" y="798697"/>
                  <a:pt x="7125055" y="800848"/>
                </a:cubicBezTo>
                <a:cubicBezTo>
                  <a:pt x="7121466" y="811583"/>
                  <a:pt x="7112239" y="823162"/>
                  <a:pt x="7102901" y="828651"/>
                </a:cubicBezTo>
                <a:cubicBezTo>
                  <a:pt x="7102539" y="829012"/>
                  <a:pt x="7102419" y="829364"/>
                  <a:pt x="7102419" y="829364"/>
                </a:cubicBezTo>
                <a:cubicBezTo>
                  <a:pt x="7102419" y="829485"/>
                  <a:pt x="7102539" y="829837"/>
                  <a:pt x="7102539" y="830078"/>
                </a:cubicBezTo>
                <a:cubicBezTo>
                  <a:pt x="7124814" y="861932"/>
                  <a:pt x="7124814" y="861932"/>
                  <a:pt x="7124814" y="861932"/>
                </a:cubicBezTo>
                <a:cubicBezTo>
                  <a:pt x="7126130" y="863841"/>
                  <a:pt x="7126613" y="863841"/>
                  <a:pt x="7128523" y="863841"/>
                </a:cubicBezTo>
                <a:cubicBezTo>
                  <a:pt x="7137026" y="863841"/>
                  <a:pt x="7137026" y="863841"/>
                  <a:pt x="7137026" y="863841"/>
                </a:cubicBezTo>
                <a:cubicBezTo>
                  <a:pt x="7137619" y="863711"/>
                  <a:pt x="7138816" y="863711"/>
                  <a:pt x="7138816" y="862283"/>
                </a:cubicBezTo>
                <a:cubicBezTo>
                  <a:pt x="7138816" y="861811"/>
                  <a:pt x="7138454" y="861208"/>
                  <a:pt x="7137981" y="860735"/>
                </a:cubicBezTo>
                <a:cubicBezTo>
                  <a:pt x="7114269" y="829354"/>
                  <a:pt x="7114269" y="829354"/>
                  <a:pt x="7114269" y="829354"/>
                </a:cubicBezTo>
                <a:cubicBezTo>
                  <a:pt x="7114028" y="829113"/>
                  <a:pt x="7114028" y="829113"/>
                  <a:pt x="7114028" y="829113"/>
                </a:cubicBezTo>
                <a:cubicBezTo>
                  <a:pt x="7122411" y="822911"/>
                  <a:pt x="7131036" y="813241"/>
                  <a:pt x="7136423" y="802747"/>
                </a:cubicBezTo>
                <a:cubicBezTo>
                  <a:pt x="7136906" y="801551"/>
                  <a:pt x="7137026" y="800958"/>
                  <a:pt x="7137026" y="800245"/>
                </a:cubicBezTo>
                <a:cubicBezTo>
                  <a:pt x="7137026" y="799169"/>
                  <a:pt x="7136423" y="798817"/>
                  <a:pt x="7134755" y="798817"/>
                </a:cubicBezTo>
                <a:cubicBezTo>
                  <a:pt x="7128885" y="798817"/>
                  <a:pt x="7128885" y="798817"/>
                  <a:pt x="7128885" y="798817"/>
                </a:cubicBezTo>
                <a:close/>
                <a:moveTo>
                  <a:pt x="6639913" y="798817"/>
                </a:moveTo>
                <a:cubicBezTo>
                  <a:pt x="6639430" y="798817"/>
                  <a:pt x="6638234" y="798817"/>
                  <a:pt x="6638234" y="800486"/>
                </a:cubicBezTo>
                <a:cubicBezTo>
                  <a:pt x="6638234" y="800968"/>
                  <a:pt x="6638355" y="801561"/>
                  <a:pt x="6638717" y="802275"/>
                </a:cubicBezTo>
                <a:cubicBezTo>
                  <a:pt x="6661313" y="861911"/>
                  <a:pt x="6661313" y="861911"/>
                  <a:pt x="6661313" y="861911"/>
                </a:cubicBezTo>
                <a:cubicBezTo>
                  <a:pt x="6662026" y="863349"/>
                  <a:pt x="6662267" y="863821"/>
                  <a:pt x="6663343" y="863821"/>
                </a:cubicBezTo>
                <a:cubicBezTo>
                  <a:pt x="6668248" y="863821"/>
                  <a:pt x="6668248" y="863821"/>
                  <a:pt x="6668248" y="863821"/>
                </a:cubicBezTo>
                <a:cubicBezTo>
                  <a:pt x="6669686" y="863821"/>
                  <a:pt x="6670037" y="863580"/>
                  <a:pt x="6670520" y="861911"/>
                </a:cubicBezTo>
                <a:cubicBezTo>
                  <a:pt x="6692523" y="802044"/>
                  <a:pt x="6692523" y="802044"/>
                  <a:pt x="6692523" y="802044"/>
                </a:cubicBezTo>
                <a:cubicBezTo>
                  <a:pt x="6692764" y="800606"/>
                  <a:pt x="6692764" y="800486"/>
                  <a:pt x="6692764" y="800134"/>
                </a:cubicBezTo>
                <a:cubicBezTo>
                  <a:pt x="6692764" y="798817"/>
                  <a:pt x="6691809" y="798817"/>
                  <a:pt x="6691206" y="798817"/>
                </a:cubicBezTo>
                <a:cubicBezTo>
                  <a:pt x="6684984" y="798817"/>
                  <a:pt x="6684984" y="798817"/>
                  <a:pt x="6684984" y="798817"/>
                </a:cubicBezTo>
                <a:cubicBezTo>
                  <a:pt x="6684150" y="799059"/>
                  <a:pt x="6684029" y="799410"/>
                  <a:pt x="6683426" y="800606"/>
                </a:cubicBezTo>
                <a:cubicBezTo>
                  <a:pt x="6667163" y="848412"/>
                  <a:pt x="6667163" y="848412"/>
                  <a:pt x="6667163" y="848412"/>
                </a:cubicBezTo>
                <a:cubicBezTo>
                  <a:pt x="6650427" y="800848"/>
                  <a:pt x="6650427" y="800848"/>
                  <a:pt x="6650427" y="800848"/>
                </a:cubicBezTo>
                <a:cubicBezTo>
                  <a:pt x="6649713" y="799059"/>
                  <a:pt x="6649472" y="798817"/>
                  <a:pt x="6647562" y="798817"/>
                </a:cubicBezTo>
                <a:cubicBezTo>
                  <a:pt x="6639913" y="798817"/>
                  <a:pt x="6639913" y="798817"/>
                  <a:pt x="6639913" y="798817"/>
                </a:cubicBezTo>
                <a:close/>
                <a:moveTo>
                  <a:pt x="7061539" y="797732"/>
                </a:moveTo>
                <a:cubicBezTo>
                  <a:pt x="7050291" y="797732"/>
                  <a:pt x="7040129" y="803954"/>
                  <a:pt x="7040129" y="815543"/>
                </a:cubicBezTo>
                <a:cubicBezTo>
                  <a:pt x="7040129" y="826419"/>
                  <a:pt x="7047788" y="830962"/>
                  <a:pt x="7056995" y="834913"/>
                </a:cubicBezTo>
                <a:cubicBezTo>
                  <a:pt x="7064172" y="837898"/>
                  <a:pt x="7070867" y="840773"/>
                  <a:pt x="7070867" y="847467"/>
                </a:cubicBezTo>
                <a:cubicBezTo>
                  <a:pt x="7070867" y="852604"/>
                  <a:pt x="7066796" y="858464"/>
                  <a:pt x="7058071" y="858464"/>
                </a:cubicBezTo>
                <a:cubicBezTo>
                  <a:pt x="7049215" y="858464"/>
                  <a:pt x="7046712" y="851890"/>
                  <a:pt x="7042400" y="851890"/>
                </a:cubicBezTo>
                <a:cubicBezTo>
                  <a:pt x="7040370" y="851890"/>
                  <a:pt x="7037736" y="852845"/>
                  <a:pt x="7037736" y="856071"/>
                </a:cubicBezTo>
                <a:cubicBezTo>
                  <a:pt x="7037736" y="861208"/>
                  <a:pt x="7047788" y="865641"/>
                  <a:pt x="7057830" y="865641"/>
                </a:cubicBezTo>
                <a:cubicBezTo>
                  <a:pt x="7069188" y="865761"/>
                  <a:pt x="7080798" y="859780"/>
                  <a:pt x="7080798" y="846271"/>
                </a:cubicBezTo>
                <a:cubicBezTo>
                  <a:pt x="7080798" y="825112"/>
                  <a:pt x="7050060" y="828460"/>
                  <a:pt x="7050060" y="814468"/>
                </a:cubicBezTo>
                <a:cubicBezTo>
                  <a:pt x="7050060" y="809683"/>
                  <a:pt x="7053769" y="804899"/>
                  <a:pt x="7060825" y="804899"/>
                </a:cubicBezTo>
                <a:cubicBezTo>
                  <a:pt x="7068122" y="804899"/>
                  <a:pt x="7070032" y="809683"/>
                  <a:pt x="7073741" y="809683"/>
                </a:cubicBezTo>
                <a:cubicBezTo>
                  <a:pt x="7075651" y="809683"/>
                  <a:pt x="7078405" y="808608"/>
                  <a:pt x="7078405" y="805260"/>
                </a:cubicBezTo>
                <a:cubicBezTo>
                  <a:pt x="7078405" y="800476"/>
                  <a:pt x="7070273" y="797732"/>
                  <a:pt x="7061539" y="797732"/>
                </a:cubicBezTo>
                <a:close/>
                <a:moveTo>
                  <a:pt x="6931149" y="797370"/>
                </a:moveTo>
                <a:cubicBezTo>
                  <a:pt x="6924464" y="797370"/>
                  <a:pt x="6920283" y="798445"/>
                  <a:pt x="6916936" y="799280"/>
                </a:cubicBezTo>
                <a:cubicBezTo>
                  <a:pt x="6912634" y="800355"/>
                  <a:pt x="6911086" y="802376"/>
                  <a:pt x="6911086" y="804396"/>
                </a:cubicBezTo>
                <a:cubicBezTo>
                  <a:pt x="6911086" y="861449"/>
                  <a:pt x="6911086" y="861449"/>
                  <a:pt x="6911086" y="861449"/>
                </a:cubicBezTo>
                <a:cubicBezTo>
                  <a:pt x="6911086" y="863359"/>
                  <a:pt x="6911799" y="863469"/>
                  <a:pt x="6913599" y="863469"/>
                </a:cubicBezTo>
                <a:cubicBezTo>
                  <a:pt x="6919931" y="863469"/>
                  <a:pt x="6919931" y="863469"/>
                  <a:pt x="6919931" y="863469"/>
                </a:cubicBezTo>
                <a:cubicBezTo>
                  <a:pt x="6921479" y="863469"/>
                  <a:pt x="6922203" y="863349"/>
                  <a:pt x="6922203" y="861449"/>
                </a:cubicBezTo>
                <a:cubicBezTo>
                  <a:pt x="6922203" y="809160"/>
                  <a:pt x="6922203" y="809160"/>
                  <a:pt x="6922203" y="809160"/>
                </a:cubicBezTo>
                <a:cubicBezTo>
                  <a:pt x="6922203" y="805823"/>
                  <a:pt x="6924826" y="803562"/>
                  <a:pt x="6928535" y="803562"/>
                </a:cubicBezTo>
                <a:cubicBezTo>
                  <a:pt x="6936536" y="803562"/>
                  <a:pt x="6937733" y="809402"/>
                  <a:pt x="6942035" y="809402"/>
                </a:cubicBezTo>
                <a:cubicBezTo>
                  <a:pt x="6945120" y="809522"/>
                  <a:pt x="6947513" y="807613"/>
                  <a:pt x="6947513" y="803924"/>
                </a:cubicBezTo>
                <a:cubicBezTo>
                  <a:pt x="6947513" y="799280"/>
                  <a:pt x="6939874" y="797370"/>
                  <a:pt x="6931149" y="797370"/>
                </a:cubicBezTo>
                <a:close/>
                <a:moveTo>
                  <a:pt x="6874659" y="797370"/>
                </a:moveTo>
                <a:cubicBezTo>
                  <a:pt x="6869060" y="797370"/>
                  <a:pt x="6863109" y="799048"/>
                  <a:pt x="6858465" y="802034"/>
                </a:cubicBezTo>
                <a:cubicBezTo>
                  <a:pt x="6851319" y="807060"/>
                  <a:pt x="6846554" y="816619"/>
                  <a:pt x="6846554" y="831686"/>
                </a:cubicBezTo>
                <a:cubicBezTo>
                  <a:pt x="6846554" y="846633"/>
                  <a:pt x="6851319" y="856202"/>
                  <a:pt x="6858465" y="861218"/>
                </a:cubicBezTo>
                <a:cubicBezTo>
                  <a:pt x="6862868" y="864324"/>
                  <a:pt x="6868949" y="865761"/>
                  <a:pt x="6874659" y="865761"/>
                </a:cubicBezTo>
                <a:cubicBezTo>
                  <a:pt x="6880499" y="865761"/>
                  <a:pt x="6886449" y="864203"/>
                  <a:pt x="6890852" y="861218"/>
                </a:cubicBezTo>
                <a:cubicBezTo>
                  <a:pt x="6898119" y="856192"/>
                  <a:pt x="6902884" y="846633"/>
                  <a:pt x="6902884" y="831686"/>
                </a:cubicBezTo>
                <a:cubicBezTo>
                  <a:pt x="6902884" y="816619"/>
                  <a:pt x="6898119" y="807060"/>
                  <a:pt x="6890852" y="802034"/>
                </a:cubicBezTo>
                <a:cubicBezTo>
                  <a:pt x="6886328" y="798807"/>
                  <a:pt x="6880368" y="797370"/>
                  <a:pt x="6874659" y="797370"/>
                </a:cubicBezTo>
                <a:close/>
                <a:moveTo>
                  <a:pt x="6811695" y="797370"/>
                </a:moveTo>
                <a:cubicBezTo>
                  <a:pt x="6802186" y="797370"/>
                  <a:pt x="6795763" y="799400"/>
                  <a:pt x="6792316" y="800476"/>
                </a:cubicBezTo>
                <a:cubicBezTo>
                  <a:pt x="6788034" y="801913"/>
                  <a:pt x="6786727" y="803461"/>
                  <a:pt x="6786727" y="805612"/>
                </a:cubicBezTo>
                <a:cubicBezTo>
                  <a:pt x="6786727" y="861550"/>
                  <a:pt x="6786727" y="861550"/>
                  <a:pt x="6786727" y="861550"/>
                </a:cubicBezTo>
                <a:cubicBezTo>
                  <a:pt x="6786727" y="863580"/>
                  <a:pt x="6787199" y="863821"/>
                  <a:pt x="6789109" y="863821"/>
                </a:cubicBezTo>
                <a:cubicBezTo>
                  <a:pt x="6795291" y="863821"/>
                  <a:pt x="6795291" y="863821"/>
                  <a:pt x="6795291" y="863821"/>
                </a:cubicBezTo>
                <a:cubicBezTo>
                  <a:pt x="6797070" y="863821"/>
                  <a:pt x="6797904" y="863580"/>
                  <a:pt x="6797904" y="861308"/>
                </a:cubicBezTo>
                <a:cubicBezTo>
                  <a:pt x="6797904" y="809794"/>
                  <a:pt x="6797904" y="809794"/>
                  <a:pt x="6797904" y="809794"/>
                </a:cubicBezTo>
                <a:cubicBezTo>
                  <a:pt x="6797904" y="807040"/>
                  <a:pt x="6802659" y="804175"/>
                  <a:pt x="6811343" y="804175"/>
                </a:cubicBezTo>
                <a:cubicBezTo>
                  <a:pt x="6825848" y="804175"/>
                  <a:pt x="6825848" y="813613"/>
                  <a:pt x="6825848" y="819474"/>
                </a:cubicBezTo>
                <a:cubicBezTo>
                  <a:pt x="6825848" y="861308"/>
                  <a:pt x="6825848" y="861308"/>
                  <a:pt x="6825848" y="861308"/>
                </a:cubicBezTo>
                <a:cubicBezTo>
                  <a:pt x="6825848" y="863580"/>
                  <a:pt x="6826561" y="863821"/>
                  <a:pt x="6828703" y="863821"/>
                </a:cubicBezTo>
                <a:cubicBezTo>
                  <a:pt x="6835598" y="863821"/>
                  <a:pt x="6835598" y="863821"/>
                  <a:pt x="6835598" y="863821"/>
                </a:cubicBezTo>
                <a:cubicBezTo>
                  <a:pt x="6836784" y="863590"/>
                  <a:pt x="6836784" y="862394"/>
                  <a:pt x="6836784" y="861318"/>
                </a:cubicBezTo>
                <a:cubicBezTo>
                  <a:pt x="6836784" y="818046"/>
                  <a:pt x="6836784" y="818046"/>
                  <a:pt x="6836784" y="818046"/>
                </a:cubicBezTo>
                <a:cubicBezTo>
                  <a:pt x="6836784" y="810517"/>
                  <a:pt x="6836543" y="797370"/>
                  <a:pt x="6811695" y="797370"/>
                </a:cubicBezTo>
                <a:close/>
                <a:moveTo>
                  <a:pt x="6721954" y="797370"/>
                </a:moveTo>
                <a:cubicBezTo>
                  <a:pt x="6716215" y="797370"/>
                  <a:pt x="6710355" y="799048"/>
                  <a:pt x="6705691" y="802034"/>
                </a:cubicBezTo>
                <a:cubicBezTo>
                  <a:pt x="6698514" y="807060"/>
                  <a:pt x="6693729" y="816619"/>
                  <a:pt x="6693729" y="831686"/>
                </a:cubicBezTo>
                <a:cubicBezTo>
                  <a:pt x="6693729" y="846633"/>
                  <a:pt x="6698514" y="856202"/>
                  <a:pt x="6705691" y="861218"/>
                </a:cubicBezTo>
                <a:cubicBezTo>
                  <a:pt x="6710113" y="864324"/>
                  <a:pt x="6716215" y="865761"/>
                  <a:pt x="6721954" y="865761"/>
                </a:cubicBezTo>
                <a:cubicBezTo>
                  <a:pt x="6727814" y="865761"/>
                  <a:pt x="6733674" y="864203"/>
                  <a:pt x="6738218" y="861218"/>
                </a:cubicBezTo>
                <a:cubicBezTo>
                  <a:pt x="6745515" y="856192"/>
                  <a:pt x="6750300" y="846633"/>
                  <a:pt x="6750300" y="831686"/>
                </a:cubicBezTo>
                <a:cubicBezTo>
                  <a:pt x="6750300" y="816619"/>
                  <a:pt x="6745515" y="807060"/>
                  <a:pt x="6738218" y="802034"/>
                </a:cubicBezTo>
                <a:cubicBezTo>
                  <a:pt x="6733916" y="798807"/>
                  <a:pt x="6727814" y="797370"/>
                  <a:pt x="6721954" y="797370"/>
                </a:cubicBezTo>
                <a:close/>
                <a:moveTo>
                  <a:pt x="6608089" y="797370"/>
                </a:moveTo>
                <a:cubicBezTo>
                  <a:pt x="6602350" y="797370"/>
                  <a:pt x="6596369" y="799048"/>
                  <a:pt x="6591826" y="802034"/>
                </a:cubicBezTo>
                <a:cubicBezTo>
                  <a:pt x="6584528" y="807060"/>
                  <a:pt x="6579744" y="816619"/>
                  <a:pt x="6579744" y="831686"/>
                </a:cubicBezTo>
                <a:cubicBezTo>
                  <a:pt x="6579744" y="846633"/>
                  <a:pt x="6584528" y="856202"/>
                  <a:pt x="6591826" y="861218"/>
                </a:cubicBezTo>
                <a:cubicBezTo>
                  <a:pt x="6596248" y="864324"/>
                  <a:pt x="6602229" y="865761"/>
                  <a:pt x="6608089" y="865761"/>
                </a:cubicBezTo>
                <a:cubicBezTo>
                  <a:pt x="6613949" y="865761"/>
                  <a:pt x="6619689" y="864203"/>
                  <a:pt x="6624353" y="861218"/>
                </a:cubicBezTo>
                <a:cubicBezTo>
                  <a:pt x="6631530" y="856192"/>
                  <a:pt x="6636314" y="846633"/>
                  <a:pt x="6636314" y="831686"/>
                </a:cubicBezTo>
                <a:cubicBezTo>
                  <a:pt x="6636314" y="816619"/>
                  <a:pt x="6631530" y="807060"/>
                  <a:pt x="6624353" y="802034"/>
                </a:cubicBezTo>
                <a:cubicBezTo>
                  <a:pt x="6619689" y="798807"/>
                  <a:pt x="6613949" y="797370"/>
                  <a:pt x="6608089" y="797370"/>
                </a:cubicBezTo>
                <a:close/>
                <a:moveTo>
                  <a:pt x="6545005" y="797370"/>
                </a:moveTo>
                <a:cubicBezTo>
                  <a:pt x="6535446" y="797370"/>
                  <a:pt x="6529114" y="799400"/>
                  <a:pt x="6525535" y="800476"/>
                </a:cubicBezTo>
                <a:cubicBezTo>
                  <a:pt x="6521354" y="801913"/>
                  <a:pt x="6519916" y="803461"/>
                  <a:pt x="6519916" y="805612"/>
                </a:cubicBezTo>
                <a:cubicBezTo>
                  <a:pt x="6519916" y="861550"/>
                  <a:pt x="6519916" y="861550"/>
                  <a:pt x="6519916" y="861550"/>
                </a:cubicBezTo>
                <a:cubicBezTo>
                  <a:pt x="6519916" y="863580"/>
                  <a:pt x="6520399" y="863821"/>
                  <a:pt x="6522188" y="863821"/>
                </a:cubicBezTo>
                <a:cubicBezTo>
                  <a:pt x="6528400" y="863821"/>
                  <a:pt x="6528400" y="863821"/>
                  <a:pt x="6528400" y="863821"/>
                </a:cubicBezTo>
                <a:cubicBezTo>
                  <a:pt x="6530189" y="863821"/>
                  <a:pt x="6531023" y="863580"/>
                  <a:pt x="6531023" y="861308"/>
                </a:cubicBezTo>
                <a:cubicBezTo>
                  <a:pt x="6531023" y="809794"/>
                  <a:pt x="6531023" y="809794"/>
                  <a:pt x="6531023" y="809794"/>
                </a:cubicBezTo>
                <a:cubicBezTo>
                  <a:pt x="6531023" y="807040"/>
                  <a:pt x="6535798" y="804175"/>
                  <a:pt x="6544523" y="804175"/>
                </a:cubicBezTo>
                <a:cubicBezTo>
                  <a:pt x="6559098" y="804175"/>
                  <a:pt x="6559098" y="813613"/>
                  <a:pt x="6559098" y="819474"/>
                </a:cubicBezTo>
                <a:cubicBezTo>
                  <a:pt x="6559098" y="861308"/>
                  <a:pt x="6559098" y="861308"/>
                  <a:pt x="6559098" y="861308"/>
                </a:cubicBezTo>
                <a:cubicBezTo>
                  <a:pt x="6559098" y="863580"/>
                  <a:pt x="6559811" y="863821"/>
                  <a:pt x="6561962" y="863821"/>
                </a:cubicBezTo>
                <a:cubicBezTo>
                  <a:pt x="6568888" y="863821"/>
                  <a:pt x="6568888" y="863821"/>
                  <a:pt x="6568888" y="863821"/>
                </a:cubicBezTo>
                <a:cubicBezTo>
                  <a:pt x="6570094" y="863590"/>
                  <a:pt x="6570215" y="862394"/>
                  <a:pt x="6570215" y="861318"/>
                </a:cubicBezTo>
                <a:cubicBezTo>
                  <a:pt x="6570215" y="818046"/>
                  <a:pt x="6570215" y="818046"/>
                  <a:pt x="6570215" y="818046"/>
                </a:cubicBezTo>
                <a:cubicBezTo>
                  <a:pt x="6570215" y="810517"/>
                  <a:pt x="6570094" y="797370"/>
                  <a:pt x="6545005" y="797370"/>
                </a:cubicBezTo>
                <a:close/>
                <a:moveTo>
                  <a:pt x="6993580" y="775648"/>
                </a:moveTo>
                <a:cubicBezTo>
                  <a:pt x="6991438" y="775648"/>
                  <a:pt x="6991318" y="776362"/>
                  <a:pt x="6991318" y="778513"/>
                </a:cubicBezTo>
                <a:cubicBezTo>
                  <a:pt x="6991318" y="801220"/>
                  <a:pt x="6991318" y="801220"/>
                  <a:pt x="6991318" y="801220"/>
                </a:cubicBezTo>
                <a:cubicBezTo>
                  <a:pt x="6987388" y="799189"/>
                  <a:pt x="6983578" y="797752"/>
                  <a:pt x="6977748" y="797752"/>
                </a:cubicBezTo>
                <a:cubicBezTo>
                  <a:pt x="6958348" y="797752"/>
                  <a:pt x="6948468" y="816277"/>
                  <a:pt x="6948468" y="831686"/>
                </a:cubicBezTo>
                <a:cubicBezTo>
                  <a:pt x="6948468" y="854634"/>
                  <a:pt x="6960962" y="865741"/>
                  <a:pt x="6980010" y="865741"/>
                </a:cubicBezTo>
                <a:cubicBezTo>
                  <a:pt x="6989177" y="865761"/>
                  <a:pt x="7002154" y="861218"/>
                  <a:pt x="7002154" y="856916"/>
                </a:cubicBezTo>
                <a:cubicBezTo>
                  <a:pt x="7002154" y="778161"/>
                  <a:pt x="7002154" y="778161"/>
                  <a:pt x="7002154" y="778161"/>
                </a:cubicBezTo>
                <a:cubicBezTo>
                  <a:pt x="7002154" y="775769"/>
                  <a:pt x="7001440" y="775648"/>
                  <a:pt x="6999771" y="775648"/>
                </a:cubicBezTo>
                <a:cubicBezTo>
                  <a:pt x="6993580" y="775648"/>
                  <a:pt x="6993580" y="775648"/>
                  <a:pt x="6993580" y="775648"/>
                </a:cubicBezTo>
                <a:close/>
                <a:moveTo>
                  <a:pt x="7091884" y="775417"/>
                </a:moveTo>
                <a:cubicBezTo>
                  <a:pt x="7090568" y="775417"/>
                  <a:pt x="7089844" y="775659"/>
                  <a:pt x="7089844" y="777448"/>
                </a:cubicBezTo>
                <a:cubicBezTo>
                  <a:pt x="7089844" y="861801"/>
                  <a:pt x="7089844" y="861801"/>
                  <a:pt x="7089844" y="861801"/>
                </a:cubicBezTo>
                <a:cubicBezTo>
                  <a:pt x="7089844" y="863469"/>
                  <a:pt x="7090206" y="863711"/>
                  <a:pt x="7091884" y="863711"/>
                </a:cubicBezTo>
                <a:cubicBezTo>
                  <a:pt x="7098468" y="863711"/>
                  <a:pt x="7098468" y="863711"/>
                  <a:pt x="7098468" y="863711"/>
                </a:cubicBezTo>
                <a:cubicBezTo>
                  <a:pt x="7100016" y="863711"/>
                  <a:pt x="7100740" y="863711"/>
                  <a:pt x="7100740" y="861921"/>
                </a:cubicBezTo>
                <a:cubicBezTo>
                  <a:pt x="7100740" y="777206"/>
                  <a:pt x="7100740" y="777206"/>
                  <a:pt x="7100740" y="777206"/>
                </a:cubicBezTo>
                <a:cubicBezTo>
                  <a:pt x="7100740" y="775417"/>
                  <a:pt x="7099906" y="775417"/>
                  <a:pt x="7098468" y="775417"/>
                </a:cubicBezTo>
                <a:cubicBezTo>
                  <a:pt x="7091884" y="775417"/>
                  <a:pt x="7091884" y="775417"/>
                  <a:pt x="7091884" y="775417"/>
                </a:cubicBezTo>
                <a:close/>
                <a:moveTo>
                  <a:pt x="7022780" y="774694"/>
                </a:moveTo>
                <a:cubicBezTo>
                  <a:pt x="7018749" y="774694"/>
                  <a:pt x="7015904" y="777558"/>
                  <a:pt x="7015904" y="781368"/>
                </a:cubicBezTo>
                <a:cubicBezTo>
                  <a:pt x="7015904" y="784946"/>
                  <a:pt x="7018397" y="787921"/>
                  <a:pt x="7022538" y="787921"/>
                </a:cubicBezTo>
                <a:cubicBezTo>
                  <a:pt x="7026800" y="787801"/>
                  <a:pt x="7029414" y="784464"/>
                  <a:pt x="7029293" y="780895"/>
                </a:cubicBezTo>
                <a:cubicBezTo>
                  <a:pt x="7029052" y="777196"/>
                  <a:pt x="7026097" y="774694"/>
                  <a:pt x="7022780" y="774694"/>
                </a:cubicBezTo>
                <a:close/>
                <a:moveTo>
                  <a:pt x="7155441" y="765215"/>
                </a:moveTo>
                <a:lnTo>
                  <a:pt x="7155685" y="765395"/>
                </a:lnTo>
                <a:lnTo>
                  <a:pt x="7155441" y="765456"/>
                </a:lnTo>
                <a:cubicBezTo>
                  <a:pt x="7155441" y="765456"/>
                  <a:pt x="7155441" y="765456"/>
                  <a:pt x="7155441" y="765215"/>
                </a:cubicBezTo>
                <a:close/>
                <a:moveTo>
                  <a:pt x="7148164" y="756490"/>
                </a:moveTo>
                <a:cubicBezTo>
                  <a:pt x="7152094" y="756490"/>
                  <a:pt x="7152094" y="756490"/>
                  <a:pt x="7152094" y="756490"/>
                </a:cubicBezTo>
                <a:cubicBezTo>
                  <a:pt x="7154124" y="756490"/>
                  <a:pt x="7157461" y="756490"/>
                  <a:pt x="7157461" y="759716"/>
                </a:cubicBezTo>
                <a:cubicBezTo>
                  <a:pt x="7157461" y="762943"/>
                  <a:pt x="7154004" y="762943"/>
                  <a:pt x="7152456" y="762943"/>
                </a:cubicBezTo>
                <a:cubicBezTo>
                  <a:pt x="7148164" y="762943"/>
                  <a:pt x="7148164" y="762943"/>
                  <a:pt x="7148164" y="762943"/>
                </a:cubicBezTo>
                <a:close/>
                <a:moveTo>
                  <a:pt x="7144826" y="753494"/>
                </a:moveTo>
                <a:lnTo>
                  <a:pt x="7144826" y="775136"/>
                </a:lnTo>
                <a:cubicBezTo>
                  <a:pt x="7148405" y="775136"/>
                  <a:pt x="7148405" y="775136"/>
                  <a:pt x="7148405" y="775136"/>
                </a:cubicBezTo>
                <a:cubicBezTo>
                  <a:pt x="7148405" y="765928"/>
                  <a:pt x="7148405" y="765928"/>
                  <a:pt x="7148405" y="765928"/>
                </a:cubicBezTo>
                <a:cubicBezTo>
                  <a:pt x="7150435" y="765928"/>
                  <a:pt x="7150435" y="765928"/>
                  <a:pt x="7150435" y="765928"/>
                </a:cubicBezTo>
                <a:cubicBezTo>
                  <a:pt x="7153300" y="765928"/>
                  <a:pt x="7154365" y="767004"/>
                  <a:pt x="7156868" y="771668"/>
                </a:cubicBezTo>
                <a:cubicBezTo>
                  <a:pt x="7158778" y="775015"/>
                  <a:pt x="7158778" y="775015"/>
                  <a:pt x="7158778" y="775015"/>
                </a:cubicBezTo>
                <a:cubicBezTo>
                  <a:pt x="7162950" y="775015"/>
                  <a:pt x="7162950" y="775015"/>
                  <a:pt x="7162950" y="775015"/>
                </a:cubicBezTo>
                <a:cubicBezTo>
                  <a:pt x="7160326" y="770713"/>
                  <a:pt x="7160326" y="770713"/>
                  <a:pt x="7160326" y="770713"/>
                </a:cubicBezTo>
                <a:cubicBezTo>
                  <a:pt x="7159014" y="768622"/>
                  <a:pt x="7158090" y="767396"/>
                  <a:pt x="7157344" y="766618"/>
                </a:cubicBezTo>
                <a:lnTo>
                  <a:pt x="7155685" y="765395"/>
                </a:lnTo>
                <a:lnTo>
                  <a:pt x="7158253" y="764754"/>
                </a:lnTo>
                <a:cubicBezTo>
                  <a:pt x="7160584" y="763593"/>
                  <a:pt x="7161522" y="761239"/>
                  <a:pt x="7161522" y="759355"/>
                </a:cubicBezTo>
                <a:cubicBezTo>
                  <a:pt x="7161522" y="757565"/>
                  <a:pt x="7160688" y="756007"/>
                  <a:pt x="7159492" y="755173"/>
                </a:cubicBezTo>
                <a:cubicBezTo>
                  <a:pt x="7157703" y="753494"/>
                  <a:pt x="7154848" y="753494"/>
                  <a:pt x="7152456" y="753494"/>
                </a:cubicBezTo>
                <a:cubicBezTo>
                  <a:pt x="7144826" y="753494"/>
                  <a:pt x="7144826" y="753494"/>
                  <a:pt x="7144826" y="753494"/>
                </a:cubicBezTo>
                <a:close/>
                <a:moveTo>
                  <a:pt x="7153290" y="747524"/>
                </a:moveTo>
                <a:cubicBezTo>
                  <a:pt x="7162467" y="747524"/>
                  <a:pt x="7169976" y="754932"/>
                  <a:pt x="7169976" y="764139"/>
                </a:cubicBezTo>
                <a:cubicBezTo>
                  <a:pt x="7169976" y="773346"/>
                  <a:pt x="7162588" y="780996"/>
                  <a:pt x="7153290" y="780996"/>
                </a:cubicBezTo>
                <a:cubicBezTo>
                  <a:pt x="7144113" y="780996"/>
                  <a:pt x="7136725" y="773346"/>
                  <a:pt x="7136725" y="764139"/>
                </a:cubicBezTo>
                <a:cubicBezTo>
                  <a:pt x="7136604" y="754932"/>
                  <a:pt x="7143992" y="747524"/>
                  <a:pt x="7153290" y="747524"/>
                </a:cubicBezTo>
                <a:close/>
                <a:moveTo>
                  <a:pt x="7153290" y="744056"/>
                </a:moveTo>
                <a:cubicBezTo>
                  <a:pt x="7142324" y="744056"/>
                  <a:pt x="7133388" y="753022"/>
                  <a:pt x="7133388" y="764139"/>
                </a:cubicBezTo>
                <a:cubicBezTo>
                  <a:pt x="7133388" y="775377"/>
                  <a:pt x="7142324" y="784222"/>
                  <a:pt x="7153290" y="784222"/>
                </a:cubicBezTo>
                <a:cubicBezTo>
                  <a:pt x="7164377" y="784222"/>
                  <a:pt x="7173192" y="775136"/>
                  <a:pt x="7173192" y="764139"/>
                </a:cubicBezTo>
                <a:cubicBezTo>
                  <a:pt x="7173192" y="753143"/>
                  <a:pt x="7164256" y="744056"/>
                  <a:pt x="7153290" y="744056"/>
                </a:cubicBezTo>
                <a:close/>
                <a:moveTo>
                  <a:pt x="6954553" y="613780"/>
                </a:moveTo>
                <a:cubicBezTo>
                  <a:pt x="6955104" y="613734"/>
                  <a:pt x="6955760" y="614003"/>
                  <a:pt x="6956238" y="614541"/>
                </a:cubicBezTo>
                <a:cubicBezTo>
                  <a:pt x="6963525" y="622180"/>
                  <a:pt x="6961022" y="679856"/>
                  <a:pt x="6959464" y="691315"/>
                </a:cubicBezTo>
                <a:cubicBezTo>
                  <a:pt x="6959102" y="694180"/>
                  <a:pt x="6956479" y="696452"/>
                  <a:pt x="6955765" y="690602"/>
                </a:cubicBezTo>
                <a:cubicBezTo>
                  <a:pt x="6954931" y="683204"/>
                  <a:pt x="6950991" y="666126"/>
                  <a:pt x="6949795" y="659080"/>
                </a:cubicBezTo>
                <a:cubicBezTo>
                  <a:pt x="6948478" y="652395"/>
                  <a:pt x="6952187" y="631980"/>
                  <a:pt x="6953494" y="614903"/>
                </a:cubicBezTo>
                <a:cubicBezTo>
                  <a:pt x="6953554" y="614184"/>
                  <a:pt x="6954001" y="613825"/>
                  <a:pt x="6954553" y="613780"/>
                </a:cubicBezTo>
                <a:close/>
                <a:moveTo>
                  <a:pt x="6815987" y="568092"/>
                </a:moveTo>
                <a:cubicBezTo>
                  <a:pt x="6834392" y="570605"/>
                  <a:pt x="6853027" y="571078"/>
                  <a:pt x="6871301" y="570002"/>
                </a:cubicBezTo>
                <a:cubicBezTo>
                  <a:pt x="6874287" y="581340"/>
                  <a:pt x="6873925" y="596146"/>
                  <a:pt x="6869743" y="600328"/>
                </a:cubicBezTo>
                <a:cubicBezTo>
                  <a:pt x="6863049" y="607133"/>
                  <a:pt x="6832834" y="605816"/>
                  <a:pt x="6824229" y="604509"/>
                </a:cubicBezTo>
                <a:cubicBezTo>
                  <a:pt x="6821837" y="604148"/>
                  <a:pt x="6819455" y="603796"/>
                  <a:pt x="6818138" y="597584"/>
                </a:cubicBezTo>
                <a:cubicBezTo>
                  <a:pt x="6816701" y="590296"/>
                  <a:pt x="6816580" y="576928"/>
                  <a:pt x="6815987" y="568092"/>
                </a:cubicBezTo>
                <a:close/>
                <a:moveTo>
                  <a:pt x="6912513" y="565107"/>
                </a:moveTo>
                <a:cubicBezTo>
                  <a:pt x="6917649" y="574656"/>
                  <a:pt x="6918011" y="580154"/>
                  <a:pt x="6916574" y="584929"/>
                </a:cubicBezTo>
                <a:cubicBezTo>
                  <a:pt x="6915136" y="589703"/>
                  <a:pt x="6908452" y="592447"/>
                  <a:pt x="6907015" y="591854"/>
                </a:cubicBezTo>
                <a:cubicBezTo>
                  <a:pt x="6906774" y="581582"/>
                  <a:pt x="6904029" y="573822"/>
                  <a:pt x="6899245" y="566896"/>
                </a:cubicBezTo>
                <a:cubicBezTo>
                  <a:pt x="6903436" y="566183"/>
                  <a:pt x="6907859" y="565590"/>
                  <a:pt x="6912513" y="565107"/>
                </a:cubicBezTo>
                <a:close/>
                <a:moveTo>
                  <a:pt x="6770122" y="558191"/>
                </a:moveTo>
                <a:cubicBezTo>
                  <a:pt x="6775972" y="559981"/>
                  <a:pt x="6781952" y="561539"/>
                  <a:pt x="6787802" y="562966"/>
                </a:cubicBezTo>
                <a:cubicBezTo>
                  <a:pt x="6783742" y="588638"/>
                  <a:pt x="6775740" y="595915"/>
                  <a:pt x="6771559" y="597594"/>
                </a:cubicBezTo>
                <a:cubicBezTo>
                  <a:pt x="6768322" y="598901"/>
                  <a:pt x="6761276" y="599614"/>
                  <a:pt x="6763789" y="591503"/>
                </a:cubicBezTo>
                <a:cubicBezTo>
                  <a:pt x="6766302" y="583381"/>
                  <a:pt x="6768684" y="569530"/>
                  <a:pt x="6770122" y="558191"/>
                </a:cubicBezTo>
                <a:close/>
                <a:moveTo>
                  <a:pt x="6749660" y="551642"/>
                </a:moveTo>
                <a:cubicBezTo>
                  <a:pt x="6751677" y="551776"/>
                  <a:pt x="6754843" y="553000"/>
                  <a:pt x="6760934" y="555327"/>
                </a:cubicBezTo>
                <a:cubicBezTo>
                  <a:pt x="6760100" y="575028"/>
                  <a:pt x="6755084" y="586256"/>
                  <a:pt x="6753164" y="596277"/>
                </a:cubicBezTo>
                <a:cubicBezTo>
                  <a:pt x="6751013" y="606550"/>
                  <a:pt x="6762482" y="608932"/>
                  <a:pt x="6772634" y="606429"/>
                </a:cubicBezTo>
                <a:cubicBezTo>
                  <a:pt x="6782666" y="603926"/>
                  <a:pt x="6792225" y="593412"/>
                  <a:pt x="6796407" y="564876"/>
                </a:cubicBezTo>
                <a:cubicBezTo>
                  <a:pt x="6800347" y="565831"/>
                  <a:pt x="6803573" y="566313"/>
                  <a:pt x="6807634" y="566906"/>
                </a:cubicBezTo>
                <a:cubicBezTo>
                  <a:pt x="6808117" y="596518"/>
                  <a:pt x="6809906" y="603203"/>
                  <a:pt x="6811102" y="605826"/>
                </a:cubicBezTo>
                <a:cubicBezTo>
                  <a:pt x="6813374" y="611314"/>
                  <a:pt x="6818872" y="613114"/>
                  <a:pt x="6823285" y="613465"/>
                </a:cubicBezTo>
                <a:cubicBezTo>
                  <a:pt x="6846464" y="615255"/>
                  <a:pt x="6868919" y="614541"/>
                  <a:pt x="6876800" y="606781"/>
                </a:cubicBezTo>
                <a:cubicBezTo>
                  <a:pt x="6884801" y="598901"/>
                  <a:pt x="6882057" y="579682"/>
                  <a:pt x="6879785" y="569288"/>
                </a:cubicBezTo>
                <a:cubicBezTo>
                  <a:pt x="6883484" y="568927"/>
                  <a:pt x="6886479" y="568575"/>
                  <a:pt x="6890058" y="568092"/>
                </a:cubicBezTo>
                <a:cubicBezTo>
                  <a:pt x="6897707" y="576928"/>
                  <a:pt x="6898662" y="586597"/>
                  <a:pt x="6898662" y="592689"/>
                </a:cubicBezTo>
                <a:cubicBezTo>
                  <a:pt x="6898662" y="599494"/>
                  <a:pt x="6906191" y="603072"/>
                  <a:pt x="6916705" y="595795"/>
                </a:cubicBezTo>
                <a:cubicBezTo>
                  <a:pt x="6927098" y="588507"/>
                  <a:pt x="6926143" y="575732"/>
                  <a:pt x="6920404" y="564152"/>
                </a:cubicBezTo>
                <a:cubicBezTo>
                  <a:pt x="6944296" y="562242"/>
                  <a:pt x="6943100" y="577883"/>
                  <a:pt x="6941783" y="597232"/>
                </a:cubicBezTo>
                <a:cubicBezTo>
                  <a:pt x="6940587" y="616340"/>
                  <a:pt x="6936285" y="643439"/>
                  <a:pt x="6929842" y="646545"/>
                </a:cubicBezTo>
                <a:cubicBezTo>
                  <a:pt x="6923268" y="649289"/>
                  <a:pt x="6912996" y="631739"/>
                  <a:pt x="6859481" y="630905"/>
                </a:cubicBezTo>
                <a:cubicBezTo>
                  <a:pt x="6821495" y="630191"/>
                  <a:pt x="6792346" y="635328"/>
                  <a:pt x="6786968" y="670066"/>
                </a:cubicBezTo>
                <a:cubicBezTo>
                  <a:pt x="6786606" y="672569"/>
                  <a:pt x="6785179" y="672217"/>
                  <a:pt x="6783862" y="670900"/>
                </a:cubicBezTo>
                <a:cubicBezTo>
                  <a:pt x="6773469" y="659562"/>
                  <a:pt x="6763910" y="654426"/>
                  <a:pt x="6748621" y="645590"/>
                </a:cubicBezTo>
                <a:cubicBezTo>
                  <a:pt x="6733212" y="636514"/>
                  <a:pt x="6722939" y="624341"/>
                  <a:pt x="6721029" y="612279"/>
                </a:cubicBezTo>
                <a:cubicBezTo>
                  <a:pt x="6719120" y="600217"/>
                  <a:pt x="6723542" y="584105"/>
                  <a:pt x="6745284" y="554492"/>
                </a:cubicBezTo>
                <a:cubicBezTo>
                  <a:pt x="6746777" y="552462"/>
                  <a:pt x="6747644" y="551507"/>
                  <a:pt x="6749660" y="551642"/>
                </a:cubicBezTo>
                <a:close/>
                <a:moveTo>
                  <a:pt x="6692584" y="538094"/>
                </a:moveTo>
                <a:cubicBezTo>
                  <a:pt x="6687208" y="538049"/>
                  <a:pt x="6677642" y="540546"/>
                  <a:pt x="6681486" y="545989"/>
                </a:cubicBezTo>
                <a:cubicBezTo>
                  <a:pt x="6686613" y="553477"/>
                  <a:pt x="6696745" y="541114"/>
                  <a:pt x="6695910" y="538973"/>
                </a:cubicBezTo>
                <a:cubicBezTo>
                  <a:pt x="6695702" y="538407"/>
                  <a:pt x="6694376" y="538110"/>
                  <a:pt x="6692584" y="538094"/>
                </a:cubicBezTo>
                <a:close/>
                <a:moveTo>
                  <a:pt x="6689121" y="523091"/>
                </a:moveTo>
                <a:cubicBezTo>
                  <a:pt x="6693561" y="522168"/>
                  <a:pt x="6699428" y="525325"/>
                  <a:pt x="6712425" y="533113"/>
                </a:cubicBezTo>
                <a:cubicBezTo>
                  <a:pt x="6733453" y="545888"/>
                  <a:pt x="6739906" y="543265"/>
                  <a:pt x="6732730" y="554603"/>
                </a:cubicBezTo>
                <a:cubicBezTo>
                  <a:pt x="6728307" y="561891"/>
                  <a:pt x="6713370" y="581230"/>
                  <a:pt x="6709671" y="604992"/>
                </a:cubicBezTo>
                <a:cubicBezTo>
                  <a:pt x="6704655" y="598307"/>
                  <a:pt x="6697840" y="581712"/>
                  <a:pt x="6692111" y="577169"/>
                </a:cubicBezTo>
                <a:cubicBezTo>
                  <a:pt x="6680883" y="568334"/>
                  <a:pt x="6671203" y="575138"/>
                  <a:pt x="6667022" y="570002"/>
                </a:cubicBezTo>
                <a:cubicBezTo>
                  <a:pt x="6662358" y="564393"/>
                  <a:pt x="6660448" y="564031"/>
                  <a:pt x="6664630" y="558664"/>
                </a:cubicBezTo>
                <a:cubicBezTo>
                  <a:pt x="6664630" y="558664"/>
                  <a:pt x="6669645" y="552100"/>
                  <a:pt x="6671555" y="549346"/>
                </a:cubicBezTo>
                <a:cubicBezTo>
                  <a:pt x="6673706" y="546481"/>
                  <a:pt x="6673113" y="541104"/>
                  <a:pt x="6674068" y="538842"/>
                </a:cubicBezTo>
                <a:cubicBezTo>
                  <a:pt x="6674902" y="536570"/>
                  <a:pt x="6680039" y="529765"/>
                  <a:pt x="6684944" y="525353"/>
                </a:cubicBezTo>
                <a:cubicBezTo>
                  <a:pt x="6686319" y="524159"/>
                  <a:pt x="6687640" y="523398"/>
                  <a:pt x="6689121" y="523091"/>
                </a:cubicBezTo>
                <a:close/>
                <a:moveTo>
                  <a:pt x="6660772" y="466477"/>
                </a:moveTo>
                <a:cubicBezTo>
                  <a:pt x="6659757" y="466687"/>
                  <a:pt x="6659011" y="468717"/>
                  <a:pt x="6659011" y="473074"/>
                </a:cubicBezTo>
                <a:cubicBezTo>
                  <a:pt x="6659011" y="494926"/>
                  <a:pt x="6668570" y="508054"/>
                  <a:pt x="6671917" y="511763"/>
                </a:cubicBezTo>
                <a:cubicBezTo>
                  <a:pt x="6675144" y="515462"/>
                  <a:pt x="6676692" y="519161"/>
                  <a:pt x="6674902" y="521312"/>
                </a:cubicBezTo>
                <a:cubicBezTo>
                  <a:pt x="6670128" y="526921"/>
                  <a:pt x="6664991" y="533133"/>
                  <a:pt x="6664871" y="535636"/>
                </a:cubicBezTo>
                <a:cubicBezTo>
                  <a:pt x="6664630" y="538380"/>
                  <a:pt x="6664871" y="539697"/>
                  <a:pt x="6663795" y="542802"/>
                </a:cubicBezTo>
                <a:cubicBezTo>
                  <a:pt x="6662720" y="545788"/>
                  <a:pt x="6658900" y="550200"/>
                  <a:pt x="6652809" y="557608"/>
                </a:cubicBezTo>
                <a:cubicBezTo>
                  <a:pt x="6649462" y="561911"/>
                  <a:pt x="6651613" y="566564"/>
                  <a:pt x="6654478" y="569670"/>
                </a:cubicBezTo>
                <a:cubicBezTo>
                  <a:pt x="6657825" y="573490"/>
                  <a:pt x="6660096" y="577913"/>
                  <a:pt x="6664278" y="579822"/>
                </a:cubicBezTo>
                <a:cubicBezTo>
                  <a:pt x="6668580" y="581732"/>
                  <a:pt x="6672400" y="580416"/>
                  <a:pt x="6677415" y="581260"/>
                </a:cubicBezTo>
                <a:cubicBezTo>
                  <a:pt x="6682190" y="582094"/>
                  <a:pt x="6688171" y="584959"/>
                  <a:pt x="6692945" y="593443"/>
                </a:cubicBezTo>
                <a:cubicBezTo>
                  <a:pt x="6699871" y="605856"/>
                  <a:pt x="6707279" y="625206"/>
                  <a:pt x="6720657" y="641198"/>
                </a:cubicBezTo>
                <a:cubicBezTo>
                  <a:pt x="6726628" y="648244"/>
                  <a:pt x="6726628" y="661261"/>
                  <a:pt x="6726628" y="665432"/>
                </a:cubicBezTo>
                <a:cubicBezTo>
                  <a:pt x="6726990" y="702925"/>
                  <a:pt x="6707399" y="738387"/>
                  <a:pt x="6694855" y="760953"/>
                </a:cubicBezTo>
                <a:cubicBezTo>
                  <a:pt x="6691870" y="766210"/>
                  <a:pt x="6692583" y="770623"/>
                  <a:pt x="6696524" y="770623"/>
                </a:cubicBezTo>
                <a:cubicBezTo>
                  <a:pt x="6701067" y="770623"/>
                  <a:pt x="6718024" y="770623"/>
                  <a:pt x="6720899" y="770623"/>
                </a:cubicBezTo>
                <a:cubicBezTo>
                  <a:pt x="6724005" y="770623"/>
                  <a:pt x="6725914" y="767275"/>
                  <a:pt x="6726156" y="763697"/>
                </a:cubicBezTo>
                <a:cubicBezTo>
                  <a:pt x="6728307" y="733009"/>
                  <a:pt x="6745626" y="676770"/>
                  <a:pt x="6758653" y="667222"/>
                </a:cubicBezTo>
                <a:cubicBezTo>
                  <a:pt x="6780515" y="680952"/>
                  <a:pt x="6802257" y="710323"/>
                  <a:pt x="6791622" y="761787"/>
                </a:cubicBezTo>
                <a:cubicBezTo>
                  <a:pt x="6791139" y="764652"/>
                  <a:pt x="6788516" y="770864"/>
                  <a:pt x="6795090" y="770864"/>
                </a:cubicBezTo>
                <a:cubicBezTo>
                  <a:pt x="6795090" y="770864"/>
                  <a:pt x="6813605" y="770864"/>
                  <a:pt x="6815997" y="770864"/>
                </a:cubicBezTo>
                <a:cubicBezTo>
                  <a:pt x="6818741" y="770864"/>
                  <a:pt x="6823164" y="769788"/>
                  <a:pt x="6822802" y="764773"/>
                </a:cubicBezTo>
                <a:cubicBezTo>
                  <a:pt x="6821727" y="744710"/>
                  <a:pt x="6804880" y="702332"/>
                  <a:pt x="6800467" y="677374"/>
                </a:cubicBezTo>
                <a:cubicBezTo>
                  <a:pt x="6797723" y="661613"/>
                  <a:pt x="6810268" y="633438"/>
                  <a:pt x="6857571" y="655049"/>
                </a:cubicBezTo>
                <a:cubicBezTo>
                  <a:pt x="6875734" y="638695"/>
                  <a:pt x="6899627" y="648606"/>
                  <a:pt x="6889344" y="680007"/>
                </a:cubicBezTo>
                <a:cubicBezTo>
                  <a:pt x="6879312" y="711288"/>
                  <a:pt x="6870588" y="725018"/>
                  <a:pt x="6836181" y="761797"/>
                </a:cubicBezTo>
                <a:cubicBezTo>
                  <a:pt x="6832361" y="766099"/>
                  <a:pt x="6831999" y="770633"/>
                  <a:pt x="6838332" y="770633"/>
                </a:cubicBezTo>
                <a:cubicBezTo>
                  <a:pt x="6841438" y="770633"/>
                  <a:pt x="6857209" y="770633"/>
                  <a:pt x="6860435" y="770633"/>
                </a:cubicBezTo>
                <a:cubicBezTo>
                  <a:pt x="6865210" y="770633"/>
                  <a:pt x="6867130" y="769195"/>
                  <a:pt x="6868557" y="765496"/>
                </a:cubicBezTo>
                <a:cubicBezTo>
                  <a:pt x="6869874" y="761556"/>
                  <a:pt x="6885645" y="711650"/>
                  <a:pt x="6916584" y="688249"/>
                </a:cubicBezTo>
                <a:cubicBezTo>
                  <a:pt x="6918976" y="686460"/>
                  <a:pt x="6921007" y="678459"/>
                  <a:pt x="6925781" y="660195"/>
                </a:cubicBezTo>
                <a:cubicBezTo>
                  <a:pt x="6940718" y="679897"/>
                  <a:pt x="6942748" y="715710"/>
                  <a:pt x="6917056" y="761918"/>
                </a:cubicBezTo>
                <a:cubicBezTo>
                  <a:pt x="6914433" y="766813"/>
                  <a:pt x="6915981" y="770512"/>
                  <a:pt x="6919207" y="770512"/>
                </a:cubicBezTo>
                <a:cubicBezTo>
                  <a:pt x="6920997" y="770512"/>
                  <a:pt x="6934979" y="770512"/>
                  <a:pt x="6939160" y="770512"/>
                </a:cubicBezTo>
                <a:cubicBezTo>
                  <a:pt x="6942859" y="770512"/>
                  <a:pt x="6943934" y="768481"/>
                  <a:pt x="6945372" y="762873"/>
                </a:cubicBezTo>
                <a:cubicBezTo>
                  <a:pt x="6947161" y="755947"/>
                  <a:pt x="6947764" y="752600"/>
                  <a:pt x="6950146" y="746036"/>
                </a:cubicBezTo>
                <a:cubicBezTo>
                  <a:pt x="6951584" y="741975"/>
                  <a:pt x="6952177" y="741262"/>
                  <a:pt x="6968189" y="741382"/>
                </a:cubicBezTo>
                <a:cubicBezTo>
                  <a:pt x="6973205" y="741382"/>
                  <a:pt x="6972853" y="738759"/>
                  <a:pt x="6972853" y="734457"/>
                </a:cubicBezTo>
                <a:cubicBezTo>
                  <a:pt x="6973084" y="672569"/>
                  <a:pt x="6973446" y="607857"/>
                  <a:pt x="6968782" y="585653"/>
                </a:cubicBezTo>
                <a:cubicBezTo>
                  <a:pt x="6962329" y="554492"/>
                  <a:pt x="6935210" y="553537"/>
                  <a:pt x="6920997" y="554613"/>
                </a:cubicBezTo>
                <a:cubicBezTo>
                  <a:pt x="6906180" y="555689"/>
                  <a:pt x="6878227" y="560101"/>
                  <a:pt x="6849439" y="560101"/>
                </a:cubicBezTo>
                <a:cubicBezTo>
                  <a:pt x="6810610" y="560101"/>
                  <a:pt x="6766885" y="549115"/>
                  <a:pt x="6733443" y="533474"/>
                </a:cubicBezTo>
                <a:cubicBezTo>
                  <a:pt x="6727593" y="530851"/>
                  <a:pt x="6730578" y="529655"/>
                  <a:pt x="6733081" y="528218"/>
                </a:cubicBezTo>
                <a:cubicBezTo>
                  <a:pt x="6745626" y="521292"/>
                  <a:pt x="6756492" y="515080"/>
                  <a:pt x="6763186" y="504104"/>
                </a:cubicBezTo>
                <a:cubicBezTo>
                  <a:pt x="6768322" y="495751"/>
                  <a:pt x="6766413" y="493117"/>
                  <a:pt x="6760794" y="497661"/>
                </a:cubicBezTo>
                <a:cubicBezTo>
                  <a:pt x="6745626" y="510316"/>
                  <a:pt x="6723995" y="517362"/>
                  <a:pt x="6699871" y="508647"/>
                </a:cubicBezTo>
                <a:cubicBezTo>
                  <a:pt x="6675616" y="500053"/>
                  <a:pt x="6666298" y="476653"/>
                  <a:pt x="6664147" y="470803"/>
                </a:cubicBezTo>
                <a:cubicBezTo>
                  <a:pt x="6663072" y="467878"/>
                  <a:pt x="6661788" y="466267"/>
                  <a:pt x="6660772" y="466477"/>
                </a:cubicBezTo>
                <a:close/>
                <a:moveTo>
                  <a:pt x="6723623" y="411619"/>
                </a:moveTo>
                <a:cubicBezTo>
                  <a:pt x="6741655" y="411619"/>
                  <a:pt x="6756110" y="426294"/>
                  <a:pt x="6756110" y="444186"/>
                </a:cubicBezTo>
                <a:cubicBezTo>
                  <a:pt x="6756110" y="462198"/>
                  <a:pt x="6741655" y="476753"/>
                  <a:pt x="6723623" y="476753"/>
                </a:cubicBezTo>
                <a:cubicBezTo>
                  <a:pt x="6705590" y="476753"/>
                  <a:pt x="6690895" y="462198"/>
                  <a:pt x="6690895" y="444186"/>
                </a:cubicBezTo>
                <a:cubicBezTo>
                  <a:pt x="6690895" y="426063"/>
                  <a:pt x="6705590" y="411619"/>
                  <a:pt x="6723623" y="411619"/>
                </a:cubicBezTo>
                <a:close/>
                <a:moveTo>
                  <a:pt x="6722195" y="400049"/>
                </a:moveTo>
                <a:cubicBezTo>
                  <a:pt x="6694965" y="400049"/>
                  <a:pt x="6673103" y="422243"/>
                  <a:pt x="6673103" y="449322"/>
                </a:cubicBezTo>
                <a:cubicBezTo>
                  <a:pt x="6673103" y="476643"/>
                  <a:pt x="6695197" y="498595"/>
                  <a:pt x="6722195" y="498595"/>
                </a:cubicBezTo>
                <a:cubicBezTo>
                  <a:pt x="6749425" y="498595"/>
                  <a:pt x="6771288" y="476401"/>
                  <a:pt x="6771288" y="449322"/>
                </a:cubicBezTo>
                <a:cubicBezTo>
                  <a:pt x="6771288" y="422002"/>
                  <a:pt x="6749425" y="400049"/>
                  <a:pt x="6722195" y="400049"/>
                </a:cubicBezTo>
                <a:close/>
                <a:moveTo>
                  <a:pt x="0" y="0"/>
                </a:moveTo>
                <a:lnTo>
                  <a:pt x="7559674" y="0"/>
                </a:lnTo>
                <a:lnTo>
                  <a:pt x="7559674" y="241299"/>
                </a:lnTo>
                <a:lnTo>
                  <a:pt x="7559674" y="1676399"/>
                </a:lnTo>
                <a:lnTo>
                  <a:pt x="7559674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898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xmlns="" id="{F43F6319-27D6-4698-997C-9590F0039FE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-2239471" y="-764185"/>
            <a:ext cx="8381246" cy="3272690"/>
          </a:xfrm>
          <a:custGeom>
            <a:avLst/>
            <a:gdLst>
              <a:gd name="connsiteX0" fmla="*/ 4734847 w 9570643"/>
              <a:gd name="connsiteY0" fmla="*/ 966 h 9396435"/>
              <a:gd name="connsiteX1" fmla="*/ 7766048 w 9570643"/>
              <a:gd name="connsiteY1" fmla="*/ 1365446 h 9396435"/>
              <a:gd name="connsiteX2" fmla="*/ 8015175 w 9570643"/>
              <a:gd name="connsiteY2" fmla="*/ 7815071 h 9396435"/>
              <a:gd name="connsiteX3" fmla="*/ 1201745 w 9570643"/>
              <a:gd name="connsiteY3" fmla="*/ 8087924 h 9396435"/>
              <a:gd name="connsiteX4" fmla="*/ 1711863 w 9570643"/>
              <a:gd name="connsiteY4" fmla="*/ 1458375 h 9396435"/>
              <a:gd name="connsiteX5" fmla="*/ 4734847 w 9570643"/>
              <a:gd name="connsiteY5" fmla="*/ 966 h 9396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70643" h="9396435">
                <a:moveTo>
                  <a:pt x="4734847" y="966"/>
                </a:moveTo>
                <a:cubicBezTo>
                  <a:pt x="5808455" y="-25394"/>
                  <a:pt x="6811246" y="489423"/>
                  <a:pt x="7766048" y="1365446"/>
                </a:cubicBezTo>
                <a:cubicBezTo>
                  <a:pt x="9561345" y="3016408"/>
                  <a:pt x="10607284" y="5760760"/>
                  <a:pt x="8015175" y="7815071"/>
                </a:cubicBezTo>
                <a:cubicBezTo>
                  <a:pt x="5757213" y="9606413"/>
                  <a:pt x="2597649" y="10110599"/>
                  <a:pt x="1201745" y="8087924"/>
                </a:cubicBezTo>
                <a:cubicBezTo>
                  <a:pt x="-530282" y="5580836"/>
                  <a:pt x="-415604" y="3421734"/>
                  <a:pt x="1711863" y="1458375"/>
                </a:cubicBezTo>
                <a:cubicBezTo>
                  <a:pt x="2785112" y="468818"/>
                  <a:pt x="3787546" y="24226"/>
                  <a:pt x="4734847" y="966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xmlns="" id="{9F16E1EE-C349-430A-8730-9AD87214E3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-2211777" y="-703348"/>
            <a:ext cx="8325878" cy="3151037"/>
          </a:xfrm>
          <a:custGeom>
            <a:avLst/>
            <a:gdLst>
              <a:gd name="connsiteX0" fmla="*/ 5587825 w 9704957"/>
              <a:gd name="connsiteY0" fmla="*/ 122 h 9235126"/>
              <a:gd name="connsiteX1" fmla="*/ 9353111 w 9704957"/>
              <a:gd name="connsiteY1" fmla="*/ 2003625 h 9235126"/>
              <a:gd name="connsiteX2" fmla="*/ 6569894 w 9704957"/>
              <a:gd name="connsiteY2" fmla="*/ 7866745 h 9235126"/>
              <a:gd name="connsiteX3" fmla="*/ 246606 w 9704957"/>
              <a:gd name="connsiteY3" fmla="*/ 6805126 h 9235126"/>
              <a:gd name="connsiteX4" fmla="*/ 2470757 w 9704957"/>
              <a:gd name="connsiteY4" fmla="*/ 554496 h 9235126"/>
              <a:gd name="connsiteX5" fmla="*/ 5587825 w 9704957"/>
              <a:gd name="connsiteY5" fmla="*/ 122 h 9235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704957" h="9235126">
                <a:moveTo>
                  <a:pt x="5587825" y="122"/>
                </a:moveTo>
                <a:cubicBezTo>
                  <a:pt x="7273646" y="9780"/>
                  <a:pt x="8750148" y="597132"/>
                  <a:pt x="9353111" y="2003625"/>
                </a:cubicBezTo>
                <a:cubicBezTo>
                  <a:pt x="10485370" y="4649596"/>
                  <a:pt x="8705241" y="5949373"/>
                  <a:pt x="6569894" y="7866745"/>
                </a:cubicBezTo>
                <a:cubicBezTo>
                  <a:pt x="3911813" y="10256394"/>
                  <a:pt x="599806" y="9269453"/>
                  <a:pt x="246606" y="6805126"/>
                </a:cubicBezTo>
                <a:cubicBezTo>
                  <a:pt x="-193380" y="3739351"/>
                  <a:pt x="-346771" y="1545474"/>
                  <a:pt x="2470757" y="554496"/>
                </a:cubicBezTo>
                <a:cubicBezTo>
                  <a:pt x="3489486" y="196503"/>
                  <a:pt x="4576333" y="-5673"/>
                  <a:pt x="5587825" y="122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xmlns="" id="{EF4BB131-97DE-416C-990A-F937626B42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-2190839" y="-917794"/>
            <a:ext cx="8162637" cy="3557130"/>
          </a:xfrm>
          <a:custGeom>
            <a:avLst/>
            <a:gdLst>
              <a:gd name="connsiteX0" fmla="*/ 4595596 w 9117362"/>
              <a:gd name="connsiteY0" fmla="*/ 502 h 9989968"/>
              <a:gd name="connsiteX1" fmla="*/ 8709830 w 9117362"/>
              <a:gd name="connsiteY1" fmla="*/ 3583340 h 9989968"/>
              <a:gd name="connsiteX2" fmla="*/ 5896492 w 9117362"/>
              <a:gd name="connsiteY2" fmla="*/ 9807996 h 9989968"/>
              <a:gd name="connsiteX3" fmla="*/ 172416 w 9117362"/>
              <a:gd name="connsiteY3" fmla="*/ 5446246 h 9989968"/>
              <a:gd name="connsiteX4" fmla="*/ 3521398 w 9117362"/>
              <a:gd name="connsiteY4" fmla="*/ 203882 h 9989968"/>
              <a:gd name="connsiteX5" fmla="*/ 4595596 w 9117362"/>
              <a:gd name="connsiteY5" fmla="*/ 502 h 998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17362" h="9989968">
                <a:moveTo>
                  <a:pt x="4595596" y="502"/>
                </a:moveTo>
                <a:cubicBezTo>
                  <a:pt x="6438821" y="-33237"/>
                  <a:pt x="7796754" y="1639154"/>
                  <a:pt x="8709830" y="3583340"/>
                </a:cubicBezTo>
                <a:cubicBezTo>
                  <a:pt x="9894713" y="6106433"/>
                  <a:pt x="8356150" y="9148933"/>
                  <a:pt x="5896492" y="9807996"/>
                </a:cubicBezTo>
                <a:cubicBezTo>
                  <a:pt x="2414469" y="10741001"/>
                  <a:pt x="830979" y="7904036"/>
                  <a:pt x="172416" y="5446246"/>
                </a:cubicBezTo>
                <a:cubicBezTo>
                  <a:pt x="-486647" y="2986590"/>
                  <a:pt x="767953" y="1172037"/>
                  <a:pt x="3521398" y="203882"/>
                </a:cubicBezTo>
                <a:cubicBezTo>
                  <a:pt x="3896277" y="71507"/>
                  <a:pt x="4254258" y="6749"/>
                  <a:pt x="4595596" y="502"/>
                </a:cubicBezTo>
                <a:close/>
              </a:path>
            </a:pathLst>
          </a:custGeom>
          <a:ln w="76200">
            <a:solidFill>
              <a:srgbClr val="FFFFFF">
                <a:alpha val="40000"/>
              </a:srgbClr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3955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621238" y="256314"/>
            <a:ext cx="1921774" cy="508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1" name="Footer Placeholder 7">
            <a:extLst>
              <a:ext uri="{FF2B5EF4-FFF2-40B4-BE49-F238E27FC236}">
                <a16:creationId xmlns:a16="http://schemas.microsoft.com/office/drawing/2014/main" xmlns="" id="{B1951E4C-99A2-460C-92E0-A691AFE6EA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33" name="Slide Number Placeholder 8">
            <a:extLst>
              <a:ext uri="{FF2B5EF4-FFF2-40B4-BE49-F238E27FC236}">
                <a16:creationId xmlns:a16="http://schemas.microsoft.com/office/drawing/2014/main" xmlns="" id="{659EAE31-C488-4D95-A75F-16953525D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0434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8DB1A1C-F73E-451E-8083-6F4B41AA8846}"/>
              </a:ext>
            </a:extLst>
          </p:cNvPr>
          <p:cNvSpPr/>
          <p:nvPr userDrawn="1"/>
        </p:nvSpPr>
        <p:spPr>
          <a:xfrm>
            <a:off x="2" y="0"/>
            <a:ext cx="12191998" cy="6858000"/>
          </a:xfrm>
          <a:prstGeom prst="rect">
            <a:avLst/>
          </a:prstGeom>
          <a:solidFill>
            <a:srgbClr val="F7F6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Graphic 7">
            <a:extLst>
              <a:ext uri="{FF2B5EF4-FFF2-40B4-BE49-F238E27FC236}">
                <a16:creationId xmlns:a16="http://schemas.microsoft.com/office/drawing/2014/main" xmlns="" id="{EDFE80E0-6CD3-47BC-AEFA-A1289C03DF09}"/>
              </a:ext>
            </a:extLst>
          </p:cNvPr>
          <p:cNvSpPr/>
          <p:nvPr userDrawn="1"/>
        </p:nvSpPr>
        <p:spPr>
          <a:xfrm rot="9900000">
            <a:off x="-1984380" y="-890288"/>
            <a:ext cx="7870239" cy="3524198"/>
          </a:xfrm>
          <a:custGeom>
            <a:avLst/>
            <a:gdLst>
              <a:gd name="connsiteX0" fmla="*/ 5619585 w 5619266"/>
              <a:gd name="connsiteY0" fmla="*/ 3638451 h 6326707"/>
              <a:gd name="connsiteX1" fmla="*/ 2686229 w 5619266"/>
              <a:gd name="connsiteY1" fmla="*/ 6319633 h 6326707"/>
              <a:gd name="connsiteX2" fmla="*/ 43366 w 5619266"/>
              <a:gd name="connsiteY2" fmla="*/ 3376388 h 6326707"/>
              <a:gd name="connsiteX3" fmla="*/ 2808607 w 5619266"/>
              <a:gd name="connsiteY3" fmla="*/ 496 h 6326707"/>
              <a:gd name="connsiteX4" fmla="*/ 5619585 w 5619266"/>
              <a:gd name="connsiteY4" fmla="*/ 3638451 h 6326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19266" h="6326707">
                <a:moveTo>
                  <a:pt x="5619585" y="3638451"/>
                </a:moveTo>
                <a:cubicBezTo>
                  <a:pt x="5619585" y="5265208"/>
                  <a:pt x="4545381" y="6177477"/>
                  <a:pt x="2686229" y="6319633"/>
                </a:cubicBezTo>
                <a:cubicBezTo>
                  <a:pt x="1065652" y="6445720"/>
                  <a:pt x="330150" y="4977187"/>
                  <a:pt x="43366" y="3376388"/>
                </a:cubicBezTo>
                <a:cubicBezTo>
                  <a:pt x="-270614" y="1623545"/>
                  <a:pt x="1181849" y="496"/>
                  <a:pt x="2808607" y="496"/>
                </a:cubicBezTo>
                <a:cubicBezTo>
                  <a:pt x="5111532" y="496"/>
                  <a:pt x="5619585" y="2012928"/>
                  <a:pt x="5619585" y="3638451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5" name="Graphic 7">
            <a:extLst>
              <a:ext uri="{FF2B5EF4-FFF2-40B4-BE49-F238E27FC236}">
                <a16:creationId xmlns:a16="http://schemas.microsoft.com/office/drawing/2014/main" xmlns="" id="{23EABDCD-6FF7-4212-BCC5-30CAD1B56214}"/>
              </a:ext>
            </a:extLst>
          </p:cNvPr>
          <p:cNvSpPr/>
          <p:nvPr userDrawn="1"/>
        </p:nvSpPr>
        <p:spPr>
          <a:xfrm>
            <a:off x="-2211777" y="-703549"/>
            <a:ext cx="8325036" cy="3150719"/>
          </a:xfrm>
          <a:custGeom>
            <a:avLst/>
            <a:gdLst>
              <a:gd name="connsiteX0" fmla="*/ 1513581 w 5943988"/>
              <a:gd name="connsiteY0" fmla="*/ 340107 h 5656232"/>
              <a:gd name="connsiteX1" fmla="*/ 5728812 w 5943988"/>
              <a:gd name="connsiteY1" fmla="*/ 1227654 h 5656232"/>
              <a:gd name="connsiteX2" fmla="*/ 4024177 w 5943988"/>
              <a:gd name="connsiteY2" fmla="*/ 4818636 h 5656232"/>
              <a:gd name="connsiteX3" fmla="*/ 151357 w 5943988"/>
              <a:gd name="connsiteY3" fmla="*/ 4168427 h 5656232"/>
              <a:gd name="connsiteX4" fmla="*/ 1513581 w 5943988"/>
              <a:gd name="connsiteY4" fmla="*/ 340107 h 565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3988" h="5656232">
                <a:moveTo>
                  <a:pt x="1513581" y="340107"/>
                </a:moveTo>
                <a:cubicBezTo>
                  <a:pt x="3177423" y="-244586"/>
                  <a:pt x="5137938" y="-150640"/>
                  <a:pt x="5728812" y="1227654"/>
                </a:cubicBezTo>
                <a:cubicBezTo>
                  <a:pt x="6422286" y="2848231"/>
                  <a:pt x="5332012" y="3644304"/>
                  <a:pt x="4024177" y="4818636"/>
                </a:cubicBezTo>
                <a:cubicBezTo>
                  <a:pt x="2396184" y="6282223"/>
                  <a:pt x="367681" y="5677752"/>
                  <a:pt x="151357" y="4168427"/>
                </a:cubicBezTo>
                <a:cubicBezTo>
                  <a:pt x="-118121" y="2290733"/>
                  <a:pt x="-212068" y="947051"/>
                  <a:pt x="1513581" y="34010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21" name="Graphic 7">
            <a:extLst>
              <a:ext uri="{FF2B5EF4-FFF2-40B4-BE49-F238E27FC236}">
                <a16:creationId xmlns:a16="http://schemas.microsoft.com/office/drawing/2014/main" xmlns="" id="{CC8999B7-BBA2-4387-BD56-A6A50F03A41D}"/>
              </a:ext>
            </a:extLst>
          </p:cNvPr>
          <p:cNvSpPr/>
          <p:nvPr userDrawn="1"/>
        </p:nvSpPr>
        <p:spPr>
          <a:xfrm>
            <a:off x="-2239471" y="-764373"/>
            <a:ext cx="8380420" cy="3272367"/>
          </a:xfrm>
          <a:custGeom>
            <a:avLst/>
            <a:gdLst>
              <a:gd name="connsiteX0" fmla="*/ 4855624 w 5983531"/>
              <a:gd name="connsiteY0" fmla="*/ 854167 h 5874617"/>
              <a:gd name="connsiteX1" fmla="*/ 5011377 w 5983531"/>
              <a:gd name="connsiteY1" fmla="*/ 4886450 h 5874617"/>
              <a:gd name="connsiteX2" fmla="*/ 751645 w 5983531"/>
              <a:gd name="connsiteY2" fmla="*/ 5057037 h 5874617"/>
              <a:gd name="connsiteX3" fmla="*/ 1070569 w 5983531"/>
              <a:gd name="connsiteY3" fmla="*/ 912266 h 5874617"/>
              <a:gd name="connsiteX4" fmla="*/ 4855624 w 5983531"/>
              <a:gd name="connsiteY4" fmla="*/ 854167 h 5874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83531" h="5874617">
                <a:moveTo>
                  <a:pt x="4855624" y="854167"/>
                </a:moveTo>
                <a:cubicBezTo>
                  <a:pt x="5978037" y="1886343"/>
                  <a:pt x="6631954" y="3602102"/>
                  <a:pt x="5011377" y="4886450"/>
                </a:cubicBezTo>
                <a:cubicBezTo>
                  <a:pt x="3599707" y="6006391"/>
                  <a:pt x="1624359" y="6321606"/>
                  <a:pt x="751645" y="5057037"/>
                </a:cubicBezTo>
                <a:cubicBezTo>
                  <a:pt x="-331212" y="3489614"/>
                  <a:pt x="-259516" y="2139751"/>
                  <a:pt x="1070569" y="912266"/>
                </a:cubicBezTo>
                <a:cubicBezTo>
                  <a:pt x="2502017" y="-407559"/>
                  <a:pt x="3731974" y="-176772"/>
                  <a:pt x="4855624" y="854167"/>
                </a:cubicBezTo>
                <a:close/>
              </a:path>
            </a:pathLst>
          </a:custGeom>
          <a:noFill/>
          <a:ln w="76200" cap="flat">
            <a:solidFill>
              <a:srgbClr val="CCC5BD">
                <a:alpha val="4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35" name="Date Placeholder 34">
            <a:extLst>
              <a:ext uri="{FF2B5EF4-FFF2-40B4-BE49-F238E27FC236}">
                <a16:creationId xmlns:a16="http://schemas.microsoft.com/office/drawing/2014/main" xmlns="" id="{16CC0A8F-7B8D-4AD6-B6DA-4D80C946458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BEA2850B-113B-47F3-8450-A687CCADD26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650268" y="3703847"/>
            <a:ext cx="7739350" cy="958289"/>
          </a:xfrm>
        </p:spPr>
        <p:txBody>
          <a:bodyPr bIns="144000" anchor="t" anchorCtr="0"/>
          <a:lstStyle>
            <a:lvl1pPr algn="l">
              <a:lnSpc>
                <a:spcPct val="100000"/>
              </a:lnSpc>
              <a:defRPr sz="214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xmlns="" id="{AFC45DEA-9E03-4092-B2D5-C43F775A8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0268" y="3429060"/>
            <a:ext cx="3251340" cy="145042"/>
          </a:xfrm>
        </p:spPr>
        <p:txBody>
          <a:bodyPr/>
          <a:lstStyle>
            <a:lvl1pPr marL="0" indent="0">
              <a:buNone/>
              <a:defRPr sz="673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insert tex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xmlns="" id="{033DB5F1-654D-42E1-B091-65630D17757F}"/>
              </a:ext>
            </a:extLst>
          </p:cNvPr>
          <p:cNvSpPr/>
          <p:nvPr userDrawn="1"/>
        </p:nvSpPr>
        <p:spPr>
          <a:xfrm>
            <a:off x="10515112" y="256602"/>
            <a:ext cx="1053582" cy="298719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tx2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716"/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xmlns="" id="{3DC8914B-849B-4878-9961-6CD33AA46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xmlns="" id="{0F24F8F7-BA87-41A1-AEC9-3E5E605CB3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3861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60" Type="http://schemas.openxmlformats.org/officeDocument/2006/relationships/tags" Target="../tags/tag19.xml"/><Relationship Id="rId61" Type="http://schemas.openxmlformats.org/officeDocument/2006/relationships/tags" Target="../tags/tag20.xml"/><Relationship Id="rId62" Type="http://schemas.openxmlformats.org/officeDocument/2006/relationships/tags" Target="../tags/tag21.xml"/><Relationship Id="rId63" Type="http://schemas.openxmlformats.org/officeDocument/2006/relationships/tags" Target="../tags/tag22.xml"/><Relationship Id="rId64" Type="http://schemas.openxmlformats.org/officeDocument/2006/relationships/tags" Target="../tags/tag23.xml"/><Relationship Id="rId65" Type="http://schemas.openxmlformats.org/officeDocument/2006/relationships/tags" Target="../tags/tag24.xml"/><Relationship Id="rId66" Type="http://schemas.openxmlformats.org/officeDocument/2006/relationships/tags" Target="../tags/tag25.xml"/><Relationship Id="rId67" Type="http://schemas.openxmlformats.org/officeDocument/2006/relationships/tags" Target="../tags/tag26.xml"/><Relationship Id="rId68" Type="http://schemas.openxmlformats.org/officeDocument/2006/relationships/tags" Target="../tags/tag27.xml"/><Relationship Id="rId69" Type="http://schemas.openxmlformats.org/officeDocument/2006/relationships/tags" Target="../tags/tag28.xml"/><Relationship Id="rId120" Type="http://schemas.openxmlformats.org/officeDocument/2006/relationships/tags" Target="../tags/tag79.xml"/><Relationship Id="rId121" Type="http://schemas.openxmlformats.org/officeDocument/2006/relationships/tags" Target="../tags/tag80.xml"/><Relationship Id="rId122" Type="http://schemas.openxmlformats.org/officeDocument/2006/relationships/tags" Target="../tags/tag81.xml"/><Relationship Id="rId123" Type="http://schemas.openxmlformats.org/officeDocument/2006/relationships/tags" Target="../tags/tag82.xml"/><Relationship Id="rId124" Type="http://schemas.openxmlformats.org/officeDocument/2006/relationships/tags" Target="../tags/tag83.xml"/><Relationship Id="rId125" Type="http://schemas.openxmlformats.org/officeDocument/2006/relationships/tags" Target="../tags/tag84.xml"/><Relationship Id="rId126" Type="http://schemas.openxmlformats.org/officeDocument/2006/relationships/tags" Target="../tags/tag85.xml"/><Relationship Id="rId127" Type="http://schemas.openxmlformats.org/officeDocument/2006/relationships/tags" Target="../tags/tag86.xml"/><Relationship Id="rId128" Type="http://schemas.openxmlformats.org/officeDocument/2006/relationships/tags" Target="../tags/tag87.xml"/><Relationship Id="rId129" Type="http://schemas.openxmlformats.org/officeDocument/2006/relationships/tags" Target="../tags/tag88.xml"/><Relationship Id="rId40" Type="http://schemas.openxmlformats.org/officeDocument/2006/relationships/slideLayout" Target="../slideLayouts/slideLayout40.xml"/><Relationship Id="rId41" Type="http://schemas.openxmlformats.org/officeDocument/2006/relationships/theme" Target="../theme/theme1.xml"/><Relationship Id="rId42" Type="http://schemas.openxmlformats.org/officeDocument/2006/relationships/tags" Target="../tags/tag1.xml"/><Relationship Id="rId90" Type="http://schemas.openxmlformats.org/officeDocument/2006/relationships/tags" Target="../tags/tag49.xml"/><Relationship Id="rId91" Type="http://schemas.openxmlformats.org/officeDocument/2006/relationships/tags" Target="../tags/tag50.xml"/><Relationship Id="rId92" Type="http://schemas.openxmlformats.org/officeDocument/2006/relationships/tags" Target="../tags/tag51.xml"/><Relationship Id="rId93" Type="http://schemas.openxmlformats.org/officeDocument/2006/relationships/tags" Target="../tags/tag52.xml"/><Relationship Id="rId94" Type="http://schemas.openxmlformats.org/officeDocument/2006/relationships/tags" Target="../tags/tag53.xml"/><Relationship Id="rId95" Type="http://schemas.openxmlformats.org/officeDocument/2006/relationships/tags" Target="../tags/tag54.xml"/><Relationship Id="rId96" Type="http://schemas.openxmlformats.org/officeDocument/2006/relationships/tags" Target="../tags/tag55.xml"/><Relationship Id="rId101" Type="http://schemas.openxmlformats.org/officeDocument/2006/relationships/tags" Target="../tags/tag60.xml"/><Relationship Id="rId102" Type="http://schemas.openxmlformats.org/officeDocument/2006/relationships/tags" Target="../tags/tag61.xml"/><Relationship Id="rId103" Type="http://schemas.openxmlformats.org/officeDocument/2006/relationships/tags" Target="../tags/tag62.xml"/><Relationship Id="rId104" Type="http://schemas.openxmlformats.org/officeDocument/2006/relationships/tags" Target="../tags/tag63.xml"/><Relationship Id="rId105" Type="http://schemas.openxmlformats.org/officeDocument/2006/relationships/tags" Target="../tags/tag64.xml"/><Relationship Id="rId106" Type="http://schemas.openxmlformats.org/officeDocument/2006/relationships/tags" Target="../tags/tag65.xml"/><Relationship Id="rId107" Type="http://schemas.openxmlformats.org/officeDocument/2006/relationships/tags" Target="../tags/tag66.xml"/><Relationship Id="rId108" Type="http://schemas.openxmlformats.org/officeDocument/2006/relationships/tags" Target="../tags/tag67.xml"/><Relationship Id="rId109" Type="http://schemas.openxmlformats.org/officeDocument/2006/relationships/tags" Target="../tags/tag68.xml"/><Relationship Id="rId97" Type="http://schemas.openxmlformats.org/officeDocument/2006/relationships/tags" Target="../tags/tag56.xml"/><Relationship Id="rId98" Type="http://schemas.openxmlformats.org/officeDocument/2006/relationships/tags" Target="../tags/tag57.xml"/><Relationship Id="rId99" Type="http://schemas.openxmlformats.org/officeDocument/2006/relationships/tags" Target="../tags/tag58.xml"/><Relationship Id="rId43" Type="http://schemas.openxmlformats.org/officeDocument/2006/relationships/tags" Target="../tags/tag2.xml"/><Relationship Id="rId44" Type="http://schemas.openxmlformats.org/officeDocument/2006/relationships/tags" Target="../tags/tag3.xml"/><Relationship Id="rId45" Type="http://schemas.openxmlformats.org/officeDocument/2006/relationships/tags" Target="../tags/tag4.xml"/><Relationship Id="rId46" Type="http://schemas.openxmlformats.org/officeDocument/2006/relationships/tags" Target="../tags/tag5.xml"/><Relationship Id="rId47" Type="http://schemas.openxmlformats.org/officeDocument/2006/relationships/tags" Target="../tags/tag6.xml"/><Relationship Id="rId48" Type="http://schemas.openxmlformats.org/officeDocument/2006/relationships/tags" Target="../tags/tag7.xml"/><Relationship Id="rId49" Type="http://schemas.openxmlformats.org/officeDocument/2006/relationships/tags" Target="../tags/tag8.xml"/><Relationship Id="rId100" Type="http://schemas.openxmlformats.org/officeDocument/2006/relationships/tags" Target="../tags/tag5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70" Type="http://schemas.openxmlformats.org/officeDocument/2006/relationships/tags" Target="../tags/tag29.xml"/><Relationship Id="rId71" Type="http://schemas.openxmlformats.org/officeDocument/2006/relationships/tags" Target="../tags/tag30.xml"/><Relationship Id="rId72" Type="http://schemas.openxmlformats.org/officeDocument/2006/relationships/tags" Target="../tags/tag31.xml"/><Relationship Id="rId73" Type="http://schemas.openxmlformats.org/officeDocument/2006/relationships/tags" Target="../tags/tag32.xml"/><Relationship Id="rId74" Type="http://schemas.openxmlformats.org/officeDocument/2006/relationships/tags" Target="../tags/tag33.xml"/><Relationship Id="rId75" Type="http://schemas.openxmlformats.org/officeDocument/2006/relationships/tags" Target="../tags/tag34.xml"/><Relationship Id="rId76" Type="http://schemas.openxmlformats.org/officeDocument/2006/relationships/tags" Target="../tags/tag35.xml"/><Relationship Id="rId77" Type="http://schemas.openxmlformats.org/officeDocument/2006/relationships/tags" Target="../tags/tag36.xml"/><Relationship Id="rId78" Type="http://schemas.openxmlformats.org/officeDocument/2006/relationships/tags" Target="../tags/tag37.xml"/><Relationship Id="rId79" Type="http://schemas.openxmlformats.org/officeDocument/2006/relationships/tags" Target="../tags/tag38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50" Type="http://schemas.openxmlformats.org/officeDocument/2006/relationships/tags" Target="../tags/tag9.xml"/><Relationship Id="rId51" Type="http://schemas.openxmlformats.org/officeDocument/2006/relationships/tags" Target="../tags/tag10.xml"/><Relationship Id="rId52" Type="http://schemas.openxmlformats.org/officeDocument/2006/relationships/tags" Target="../tags/tag11.xml"/><Relationship Id="rId53" Type="http://schemas.openxmlformats.org/officeDocument/2006/relationships/tags" Target="../tags/tag12.xml"/><Relationship Id="rId54" Type="http://schemas.openxmlformats.org/officeDocument/2006/relationships/tags" Target="../tags/tag13.xml"/><Relationship Id="rId55" Type="http://schemas.openxmlformats.org/officeDocument/2006/relationships/tags" Target="../tags/tag14.xml"/><Relationship Id="rId56" Type="http://schemas.openxmlformats.org/officeDocument/2006/relationships/tags" Target="../tags/tag15.xml"/><Relationship Id="rId57" Type="http://schemas.openxmlformats.org/officeDocument/2006/relationships/tags" Target="../tags/tag16.xml"/><Relationship Id="rId58" Type="http://schemas.openxmlformats.org/officeDocument/2006/relationships/tags" Target="../tags/tag17.xml"/><Relationship Id="rId59" Type="http://schemas.openxmlformats.org/officeDocument/2006/relationships/tags" Target="../tags/tag18.xml"/><Relationship Id="rId110" Type="http://schemas.openxmlformats.org/officeDocument/2006/relationships/tags" Target="../tags/tag69.xml"/><Relationship Id="rId111" Type="http://schemas.openxmlformats.org/officeDocument/2006/relationships/tags" Target="../tags/tag70.xml"/><Relationship Id="rId112" Type="http://schemas.openxmlformats.org/officeDocument/2006/relationships/tags" Target="../tags/tag71.xml"/><Relationship Id="rId113" Type="http://schemas.openxmlformats.org/officeDocument/2006/relationships/tags" Target="../tags/tag72.xml"/><Relationship Id="rId114" Type="http://schemas.openxmlformats.org/officeDocument/2006/relationships/tags" Target="../tags/tag73.xml"/><Relationship Id="rId115" Type="http://schemas.openxmlformats.org/officeDocument/2006/relationships/tags" Target="../tags/tag74.xml"/><Relationship Id="rId116" Type="http://schemas.openxmlformats.org/officeDocument/2006/relationships/tags" Target="../tags/tag75.xml"/><Relationship Id="rId117" Type="http://schemas.openxmlformats.org/officeDocument/2006/relationships/tags" Target="../tags/tag76.xml"/><Relationship Id="rId118" Type="http://schemas.openxmlformats.org/officeDocument/2006/relationships/tags" Target="../tags/tag77.xml"/><Relationship Id="rId119" Type="http://schemas.openxmlformats.org/officeDocument/2006/relationships/tags" Target="../tags/tag78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80" Type="http://schemas.openxmlformats.org/officeDocument/2006/relationships/tags" Target="../tags/tag39.xml"/><Relationship Id="rId81" Type="http://schemas.openxmlformats.org/officeDocument/2006/relationships/tags" Target="../tags/tag40.xml"/><Relationship Id="rId82" Type="http://schemas.openxmlformats.org/officeDocument/2006/relationships/tags" Target="../tags/tag41.xml"/><Relationship Id="rId83" Type="http://schemas.openxmlformats.org/officeDocument/2006/relationships/tags" Target="../tags/tag42.xml"/><Relationship Id="rId84" Type="http://schemas.openxmlformats.org/officeDocument/2006/relationships/tags" Target="../tags/tag43.xml"/><Relationship Id="rId85" Type="http://schemas.openxmlformats.org/officeDocument/2006/relationships/tags" Target="../tags/tag44.xml"/><Relationship Id="rId86" Type="http://schemas.openxmlformats.org/officeDocument/2006/relationships/tags" Target="../tags/tag45.xml"/><Relationship Id="rId87" Type="http://schemas.openxmlformats.org/officeDocument/2006/relationships/tags" Target="../tags/tag46.xml"/><Relationship Id="rId88" Type="http://schemas.openxmlformats.org/officeDocument/2006/relationships/tags" Target="../tags/tag47.xml"/><Relationship Id="rId89" Type="http://schemas.openxmlformats.org/officeDocument/2006/relationships/tags" Target="../tags/tag48.xml"/></Relationships>
</file>

<file path=ppt/slideMasters/_rels/slideMaster10.xml.rels><?xml version="1.0" encoding="UTF-8" standalone="yes"?>
<Relationships xmlns="http://schemas.openxmlformats.org/package/2006/relationships"><Relationship Id="rId10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3.xml"/><Relationship Id="rId15" Type="http://schemas.openxmlformats.org/officeDocument/2006/relationships/slideLayout" Target="../slideLayouts/slideLayout254.xml"/><Relationship Id="rId16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58.xml"/><Relationship Id="rId60" Type="http://schemas.openxmlformats.org/officeDocument/2006/relationships/tags" Target="../tags/tag378.xml"/><Relationship Id="rId61" Type="http://schemas.openxmlformats.org/officeDocument/2006/relationships/tags" Target="../tags/tag379.xml"/><Relationship Id="rId62" Type="http://schemas.openxmlformats.org/officeDocument/2006/relationships/tags" Target="../tags/tag380.xml"/><Relationship Id="rId63" Type="http://schemas.openxmlformats.org/officeDocument/2006/relationships/tags" Target="../tags/tag381.xml"/><Relationship Id="rId64" Type="http://schemas.openxmlformats.org/officeDocument/2006/relationships/tags" Target="../tags/tag382.xml"/><Relationship Id="rId65" Type="http://schemas.openxmlformats.org/officeDocument/2006/relationships/tags" Target="../tags/tag383.xml"/><Relationship Id="rId66" Type="http://schemas.openxmlformats.org/officeDocument/2006/relationships/tags" Target="../tags/tag384.xml"/><Relationship Id="rId67" Type="http://schemas.openxmlformats.org/officeDocument/2006/relationships/tags" Target="../tags/tag385.xml"/><Relationship Id="rId68" Type="http://schemas.openxmlformats.org/officeDocument/2006/relationships/tags" Target="../tags/tag386.xml"/><Relationship Id="rId69" Type="http://schemas.openxmlformats.org/officeDocument/2006/relationships/tags" Target="../tags/tag387.xml"/><Relationship Id="rId120" Type="http://schemas.openxmlformats.org/officeDocument/2006/relationships/tags" Target="../tags/tag438.xml"/><Relationship Id="rId121" Type="http://schemas.openxmlformats.org/officeDocument/2006/relationships/tags" Target="../tags/tag439.xml"/><Relationship Id="rId122" Type="http://schemas.openxmlformats.org/officeDocument/2006/relationships/tags" Target="../tags/tag440.xml"/><Relationship Id="rId123" Type="http://schemas.openxmlformats.org/officeDocument/2006/relationships/tags" Target="../tags/tag441.xml"/><Relationship Id="rId124" Type="http://schemas.openxmlformats.org/officeDocument/2006/relationships/tags" Target="../tags/tag442.xml"/><Relationship Id="rId125" Type="http://schemas.openxmlformats.org/officeDocument/2006/relationships/tags" Target="../tags/tag443.xml"/><Relationship Id="rId126" Type="http://schemas.openxmlformats.org/officeDocument/2006/relationships/tags" Target="../tags/tag444.xml"/><Relationship Id="rId127" Type="http://schemas.openxmlformats.org/officeDocument/2006/relationships/tags" Target="../tags/tag445.xml"/><Relationship Id="rId40" Type="http://schemas.openxmlformats.org/officeDocument/2006/relationships/tags" Target="../tags/tag358.xml"/><Relationship Id="rId41" Type="http://schemas.openxmlformats.org/officeDocument/2006/relationships/tags" Target="../tags/tag359.xml"/><Relationship Id="rId42" Type="http://schemas.openxmlformats.org/officeDocument/2006/relationships/tags" Target="../tags/tag360.xml"/><Relationship Id="rId90" Type="http://schemas.openxmlformats.org/officeDocument/2006/relationships/tags" Target="../tags/tag408.xml"/><Relationship Id="rId91" Type="http://schemas.openxmlformats.org/officeDocument/2006/relationships/tags" Target="../tags/tag409.xml"/><Relationship Id="rId92" Type="http://schemas.openxmlformats.org/officeDocument/2006/relationships/tags" Target="../tags/tag410.xml"/><Relationship Id="rId93" Type="http://schemas.openxmlformats.org/officeDocument/2006/relationships/tags" Target="../tags/tag411.xml"/><Relationship Id="rId94" Type="http://schemas.openxmlformats.org/officeDocument/2006/relationships/tags" Target="../tags/tag412.xml"/><Relationship Id="rId95" Type="http://schemas.openxmlformats.org/officeDocument/2006/relationships/tags" Target="../tags/tag413.xml"/><Relationship Id="rId96" Type="http://schemas.openxmlformats.org/officeDocument/2006/relationships/tags" Target="../tags/tag414.xml"/><Relationship Id="rId101" Type="http://schemas.openxmlformats.org/officeDocument/2006/relationships/tags" Target="../tags/tag419.xml"/><Relationship Id="rId102" Type="http://schemas.openxmlformats.org/officeDocument/2006/relationships/tags" Target="../tags/tag420.xml"/><Relationship Id="rId103" Type="http://schemas.openxmlformats.org/officeDocument/2006/relationships/tags" Target="../tags/tag421.xml"/><Relationship Id="rId104" Type="http://schemas.openxmlformats.org/officeDocument/2006/relationships/tags" Target="../tags/tag422.xml"/><Relationship Id="rId105" Type="http://schemas.openxmlformats.org/officeDocument/2006/relationships/tags" Target="../tags/tag423.xml"/><Relationship Id="rId106" Type="http://schemas.openxmlformats.org/officeDocument/2006/relationships/tags" Target="../tags/tag424.xml"/><Relationship Id="rId107" Type="http://schemas.openxmlformats.org/officeDocument/2006/relationships/tags" Target="../tags/tag425.xml"/><Relationship Id="rId108" Type="http://schemas.openxmlformats.org/officeDocument/2006/relationships/tags" Target="../tags/tag426.xml"/><Relationship Id="rId109" Type="http://schemas.openxmlformats.org/officeDocument/2006/relationships/tags" Target="../tags/tag427.xml"/><Relationship Id="rId97" Type="http://schemas.openxmlformats.org/officeDocument/2006/relationships/tags" Target="../tags/tag415.xml"/><Relationship Id="rId98" Type="http://schemas.openxmlformats.org/officeDocument/2006/relationships/tags" Target="../tags/tag416.xml"/><Relationship Id="rId99" Type="http://schemas.openxmlformats.org/officeDocument/2006/relationships/tags" Target="../tags/tag417.xml"/><Relationship Id="rId43" Type="http://schemas.openxmlformats.org/officeDocument/2006/relationships/tags" Target="../tags/tag361.xml"/><Relationship Id="rId44" Type="http://schemas.openxmlformats.org/officeDocument/2006/relationships/tags" Target="../tags/tag362.xml"/><Relationship Id="rId45" Type="http://schemas.openxmlformats.org/officeDocument/2006/relationships/tags" Target="../tags/tag363.xml"/><Relationship Id="rId46" Type="http://schemas.openxmlformats.org/officeDocument/2006/relationships/tags" Target="../tags/tag364.xml"/><Relationship Id="rId47" Type="http://schemas.openxmlformats.org/officeDocument/2006/relationships/tags" Target="../tags/tag365.xml"/><Relationship Id="rId48" Type="http://schemas.openxmlformats.org/officeDocument/2006/relationships/tags" Target="../tags/tag366.xml"/><Relationship Id="rId49" Type="http://schemas.openxmlformats.org/officeDocument/2006/relationships/tags" Target="../tags/tag367.xml"/><Relationship Id="rId100" Type="http://schemas.openxmlformats.org/officeDocument/2006/relationships/tags" Target="../tags/tag418.xml"/><Relationship Id="rId20" Type="http://schemas.openxmlformats.org/officeDocument/2006/relationships/slideLayout" Target="../slideLayouts/slideLayout259.xml"/><Relationship Id="rId21" Type="http://schemas.openxmlformats.org/officeDocument/2006/relationships/slideLayout" Target="../slideLayouts/slideLayout260.xml"/><Relationship Id="rId22" Type="http://schemas.openxmlformats.org/officeDocument/2006/relationships/slideLayout" Target="../slideLayouts/slideLayout261.xml"/><Relationship Id="rId70" Type="http://schemas.openxmlformats.org/officeDocument/2006/relationships/tags" Target="../tags/tag388.xml"/><Relationship Id="rId71" Type="http://schemas.openxmlformats.org/officeDocument/2006/relationships/tags" Target="../tags/tag389.xml"/><Relationship Id="rId72" Type="http://schemas.openxmlformats.org/officeDocument/2006/relationships/tags" Target="../tags/tag390.xml"/><Relationship Id="rId73" Type="http://schemas.openxmlformats.org/officeDocument/2006/relationships/tags" Target="../tags/tag391.xml"/><Relationship Id="rId74" Type="http://schemas.openxmlformats.org/officeDocument/2006/relationships/tags" Target="../tags/tag392.xml"/><Relationship Id="rId75" Type="http://schemas.openxmlformats.org/officeDocument/2006/relationships/tags" Target="../tags/tag393.xml"/><Relationship Id="rId76" Type="http://schemas.openxmlformats.org/officeDocument/2006/relationships/tags" Target="../tags/tag394.xml"/><Relationship Id="rId77" Type="http://schemas.openxmlformats.org/officeDocument/2006/relationships/tags" Target="../tags/tag395.xml"/><Relationship Id="rId78" Type="http://schemas.openxmlformats.org/officeDocument/2006/relationships/tags" Target="../tags/tag396.xml"/><Relationship Id="rId79" Type="http://schemas.openxmlformats.org/officeDocument/2006/relationships/tags" Target="../tags/tag397.xml"/><Relationship Id="rId23" Type="http://schemas.openxmlformats.org/officeDocument/2006/relationships/slideLayout" Target="../slideLayouts/slideLayout262.xml"/><Relationship Id="rId24" Type="http://schemas.openxmlformats.org/officeDocument/2006/relationships/slideLayout" Target="../slideLayouts/slideLayout263.xml"/><Relationship Id="rId25" Type="http://schemas.openxmlformats.org/officeDocument/2006/relationships/slideLayout" Target="../slideLayouts/slideLayout264.xml"/><Relationship Id="rId26" Type="http://schemas.openxmlformats.org/officeDocument/2006/relationships/slideLayout" Target="../slideLayouts/slideLayout265.xml"/><Relationship Id="rId27" Type="http://schemas.openxmlformats.org/officeDocument/2006/relationships/slideLayout" Target="../slideLayouts/slideLayout266.xml"/><Relationship Id="rId28" Type="http://schemas.openxmlformats.org/officeDocument/2006/relationships/slideLayout" Target="../slideLayouts/slideLayout267.xml"/><Relationship Id="rId29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46.xml"/><Relationship Id="rId8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48.xml"/><Relationship Id="rId50" Type="http://schemas.openxmlformats.org/officeDocument/2006/relationships/tags" Target="../tags/tag368.xml"/><Relationship Id="rId51" Type="http://schemas.openxmlformats.org/officeDocument/2006/relationships/tags" Target="../tags/tag369.xml"/><Relationship Id="rId52" Type="http://schemas.openxmlformats.org/officeDocument/2006/relationships/tags" Target="../tags/tag370.xml"/><Relationship Id="rId53" Type="http://schemas.openxmlformats.org/officeDocument/2006/relationships/tags" Target="../tags/tag371.xml"/><Relationship Id="rId54" Type="http://schemas.openxmlformats.org/officeDocument/2006/relationships/tags" Target="../tags/tag372.xml"/><Relationship Id="rId55" Type="http://schemas.openxmlformats.org/officeDocument/2006/relationships/tags" Target="../tags/tag373.xml"/><Relationship Id="rId56" Type="http://schemas.openxmlformats.org/officeDocument/2006/relationships/tags" Target="../tags/tag374.xml"/><Relationship Id="rId57" Type="http://schemas.openxmlformats.org/officeDocument/2006/relationships/tags" Target="../tags/tag375.xml"/><Relationship Id="rId58" Type="http://schemas.openxmlformats.org/officeDocument/2006/relationships/tags" Target="../tags/tag376.xml"/><Relationship Id="rId59" Type="http://schemas.openxmlformats.org/officeDocument/2006/relationships/tags" Target="../tags/tag377.xml"/><Relationship Id="rId110" Type="http://schemas.openxmlformats.org/officeDocument/2006/relationships/tags" Target="../tags/tag428.xml"/><Relationship Id="rId111" Type="http://schemas.openxmlformats.org/officeDocument/2006/relationships/tags" Target="../tags/tag429.xml"/><Relationship Id="rId112" Type="http://schemas.openxmlformats.org/officeDocument/2006/relationships/tags" Target="../tags/tag430.xml"/><Relationship Id="rId113" Type="http://schemas.openxmlformats.org/officeDocument/2006/relationships/tags" Target="../tags/tag431.xml"/><Relationship Id="rId114" Type="http://schemas.openxmlformats.org/officeDocument/2006/relationships/tags" Target="../tags/tag432.xml"/><Relationship Id="rId115" Type="http://schemas.openxmlformats.org/officeDocument/2006/relationships/tags" Target="../tags/tag433.xml"/><Relationship Id="rId116" Type="http://schemas.openxmlformats.org/officeDocument/2006/relationships/tags" Target="../tags/tag434.xml"/><Relationship Id="rId117" Type="http://schemas.openxmlformats.org/officeDocument/2006/relationships/tags" Target="../tags/tag435.xml"/><Relationship Id="rId118" Type="http://schemas.openxmlformats.org/officeDocument/2006/relationships/tags" Target="../tags/tag436.xml"/><Relationship Id="rId119" Type="http://schemas.openxmlformats.org/officeDocument/2006/relationships/tags" Target="../tags/tag437.xml"/><Relationship Id="rId30" Type="http://schemas.openxmlformats.org/officeDocument/2006/relationships/slideLayout" Target="../slideLayouts/slideLayout269.xml"/><Relationship Id="rId31" Type="http://schemas.openxmlformats.org/officeDocument/2006/relationships/slideLayout" Target="../slideLayouts/slideLayout270.xml"/><Relationship Id="rId32" Type="http://schemas.openxmlformats.org/officeDocument/2006/relationships/slideLayout" Target="../slideLayouts/slideLayout271.xml"/><Relationship Id="rId33" Type="http://schemas.openxmlformats.org/officeDocument/2006/relationships/slideLayout" Target="../slideLayouts/slideLayout272.xml"/><Relationship Id="rId34" Type="http://schemas.openxmlformats.org/officeDocument/2006/relationships/slideLayout" Target="../slideLayouts/slideLayout273.xml"/><Relationship Id="rId35" Type="http://schemas.openxmlformats.org/officeDocument/2006/relationships/slideLayout" Target="../slideLayouts/slideLayout274.xml"/><Relationship Id="rId36" Type="http://schemas.openxmlformats.org/officeDocument/2006/relationships/slideLayout" Target="../slideLayouts/slideLayout275.xml"/><Relationship Id="rId37" Type="http://schemas.openxmlformats.org/officeDocument/2006/relationships/slideLayout" Target="../slideLayouts/slideLayout276.xml"/><Relationship Id="rId38" Type="http://schemas.openxmlformats.org/officeDocument/2006/relationships/slideLayout" Target="../slideLayouts/slideLayout277.xml"/><Relationship Id="rId39" Type="http://schemas.openxmlformats.org/officeDocument/2006/relationships/theme" Target="../theme/theme10.xml"/><Relationship Id="rId80" Type="http://schemas.openxmlformats.org/officeDocument/2006/relationships/tags" Target="../tags/tag398.xml"/><Relationship Id="rId81" Type="http://schemas.openxmlformats.org/officeDocument/2006/relationships/tags" Target="../tags/tag399.xml"/><Relationship Id="rId82" Type="http://schemas.openxmlformats.org/officeDocument/2006/relationships/tags" Target="../tags/tag400.xml"/><Relationship Id="rId83" Type="http://schemas.openxmlformats.org/officeDocument/2006/relationships/tags" Target="../tags/tag401.xml"/><Relationship Id="rId84" Type="http://schemas.openxmlformats.org/officeDocument/2006/relationships/tags" Target="../tags/tag402.xml"/><Relationship Id="rId85" Type="http://schemas.openxmlformats.org/officeDocument/2006/relationships/tags" Target="../tags/tag403.xml"/><Relationship Id="rId86" Type="http://schemas.openxmlformats.org/officeDocument/2006/relationships/tags" Target="../tags/tag404.xml"/><Relationship Id="rId87" Type="http://schemas.openxmlformats.org/officeDocument/2006/relationships/tags" Target="../tags/tag405.xml"/><Relationship Id="rId88" Type="http://schemas.openxmlformats.org/officeDocument/2006/relationships/tags" Target="../tags/tag406.xml"/><Relationship Id="rId89" Type="http://schemas.openxmlformats.org/officeDocument/2006/relationships/tags" Target="../tags/tag407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82.xml"/><Relationship Id="rId6" Type="http://schemas.openxmlformats.org/officeDocument/2006/relationships/theme" Target="../theme/theme11.xml"/><Relationship Id="rId1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79.xml"/></Relationships>
</file>

<file path=ppt/slideMasters/_rels/slideMaster12.xml.rels><?xml version="1.0" encoding="UTF-8" standalone="yes"?>
<Relationships xmlns="http://schemas.openxmlformats.org/package/2006/relationships"><Relationship Id="rId10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5.xml"/><Relationship Id="rId14" Type="http://schemas.openxmlformats.org/officeDocument/2006/relationships/slideLayout" Target="../slideLayouts/slideLayout296.xml"/><Relationship Id="rId15" Type="http://schemas.openxmlformats.org/officeDocument/2006/relationships/slideLayout" Target="../slideLayouts/slideLayout297.xml"/><Relationship Id="rId16" Type="http://schemas.openxmlformats.org/officeDocument/2006/relationships/slideLayout" Target="../slideLayouts/slideLayout298.xml"/><Relationship Id="rId17" Type="http://schemas.openxmlformats.org/officeDocument/2006/relationships/slideLayout" Target="../slideLayouts/slideLayout299.xml"/><Relationship Id="rId18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1.xml"/><Relationship Id="rId60" Type="http://schemas.openxmlformats.org/officeDocument/2006/relationships/tags" Target="../tags/tag466.xml"/><Relationship Id="rId61" Type="http://schemas.openxmlformats.org/officeDocument/2006/relationships/tags" Target="../tags/tag467.xml"/><Relationship Id="rId62" Type="http://schemas.openxmlformats.org/officeDocument/2006/relationships/tags" Target="../tags/tag468.xml"/><Relationship Id="rId63" Type="http://schemas.openxmlformats.org/officeDocument/2006/relationships/tags" Target="../tags/tag469.xml"/><Relationship Id="rId64" Type="http://schemas.openxmlformats.org/officeDocument/2006/relationships/tags" Target="../tags/tag470.xml"/><Relationship Id="rId65" Type="http://schemas.openxmlformats.org/officeDocument/2006/relationships/tags" Target="../tags/tag471.xml"/><Relationship Id="rId66" Type="http://schemas.openxmlformats.org/officeDocument/2006/relationships/tags" Target="../tags/tag472.xml"/><Relationship Id="rId67" Type="http://schemas.openxmlformats.org/officeDocument/2006/relationships/tags" Target="../tags/tag473.xml"/><Relationship Id="rId68" Type="http://schemas.openxmlformats.org/officeDocument/2006/relationships/tags" Target="../tags/tag474.xml"/><Relationship Id="rId69" Type="http://schemas.openxmlformats.org/officeDocument/2006/relationships/tags" Target="../tags/tag475.xml"/><Relationship Id="rId120" Type="http://schemas.openxmlformats.org/officeDocument/2006/relationships/tags" Target="../tags/tag526.xml"/><Relationship Id="rId121" Type="http://schemas.openxmlformats.org/officeDocument/2006/relationships/tags" Target="../tags/tag527.xml"/><Relationship Id="rId122" Type="http://schemas.openxmlformats.org/officeDocument/2006/relationships/tags" Target="../tags/tag528.xml"/><Relationship Id="rId123" Type="http://schemas.openxmlformats.org/officeDocument/2006/relationships/tags" Target="../tags/tag529.xml"/><Relationship Id="rId124" Type="http://schemas.openxmlformats.org/officeDocument/2006/relationships/tags" Target="../tags/tag530.xml"/><Relationship Id="rId125" Type="http://schemas.openxmlformats.org/officeDocument/2006/relationships/tags" Target="../tags/tag531.xml"/><Relationship Id="rId126" Type="http://schemas.openxmlformats.org/officeDocument/2006/relationships/tags" Target="../tags/tag532.xml"/><Relationship Id="rId127" Type="http://schemas.openxmlformats.org/officeDocument/2006/relationships/tags" Target="../tags/tag533.xml"/><Relationship Id="rId40" Type="http://schemas.openxmlformats.org/officeDocument/2006/relationships/tags" Target="../tags/tag446.xml"/><Relationship Id="rId41" Type="http://schemas.openxmlformats.org/officeDocument/2006/relationships/tags" Target="../tags/tag447.xml"/><Relationship Id="rId42" Type="http://schemas.openxmlformats.org/officeDocument/2006/relationships/tags" Target="../tags/tag448.xml"/><Relationship Id="rId90" Type="http://schemas.openxmlformats.org/officeDocument/2006/relationships/tags" Target="../tags/tag496.xml"/><Relationship Id="rId91" Type="http://schemas.openxmlformats.org/officeDocument/2006/relationships/tags" Target="../tags/tag497.xml"/><Relationship Id="rId92" Type="http://schemas.openxmlformats.org/officeDocument/2006/relationships/tags" Target="../tags/tag498.xml"/><Relationship Id="rId93" Type="http://schemas.openxmlformats.org/officeDocument/2006/relationships/tags" Target="../tags/tag499.xml"/><Relationship Id="rId94" Type="http://schemas.openxmlformats.org/officeDocument/2006/relationships/tags" Target="../tags/tag500.xml"/><Relationship Id="rId95" Type="http://schemas.openxmlformats.org/officeDocument/2006/relationships/tags" Target="../tags/tag501.xml"/><Relationship Id="rId96" Type="http://schemas.openxmlformats.org/officeDocument/2006/relationships/tags" Target="../tags/tag502.xml"/><Relationship Id="rId101" Type="http://schemas.openxmlformats.org/officeDocument/2006/relationships/tags" Target="../tags/tag507.xml"/><Relationship Id="rId102" Type="http://schemas.openxmlformats.org/officeDocument/2006/relationships/tags" Target="../tags/tag508.xml"/><Relationship Id="rId103" Type="http://schemas.openxmlformats.org/officeDocument/2006/relationships/tags" Target="../tags/tag509.xml"/><Relationship Id="rId104" Type="http://schemas.openxmlformats.org/officeDocument/2006/relationships/tags" Target="../tags/tag510.xml"/><Relationship Id="rId105" Type="http://schemas.openxmlformats.org/officeDocument/2006/relationships/tags" Target="../tags/tag511.xml"/><Relationship Id="rId106" Type="http://schemas.openxmlformats.org/officeDocument/2006/relationships/tags" Target="../tags/tag512.xml"/><Relationship Id="rId107" Type="http://schemas.openxmlformats.org/officeDocument/2006/relationships/tags" Target="../tags/tag513.xml"/><Relationship Id="rId108" Type="http://schemas.openxmlformats.org/officeDocument/2006/relationships/tags" Target="../tags/tag514.xml"/><Relationship Id="rId109" Type="http://schemas.openxmlformats.org/officeDocument/2006/relationships/tags" Target="../tags/tag515.xml"/><Relationship Id="rId97" Type="http://schemas.openxmlformats.org/officeDocument/2006/relationships/tags" Target="../tags/tag503.xml"/><Relationship Id="rId98" Type="http://schemas.openxmlformats.org/officeDocument/2006/relationships/tags" Target="../tags/tag504.xml"/><Relationship Id="rId99" Type="http://schemas.openxmlformats.org/officeDocument/2006/relationships/tags" Target="../tags/tag505.xml"/><Relationship Id="rId43" Type="http://schemas.openxmlformats.org/officeDocument/2006/relationships/tags" Target="../tags/tag449.xml"/><Relationship Id="rId44" Type="http://schemas.openxmlformats.org/officeDocument/2006/relationships/tags" Target="../tags/tag450.xml"/><Relationship Id="rId45" Type="http://schemas.openxmlformats.org/officeDocument/2006/relationships/tags" Target="../tags/tag451.xml"/><Relationship Id="rId46" Type="http://schemas.openxmlformats.org/officeDocument/2006/relationships/tags" Target="../tags/tag452.xml"/><Relationship Id="rId47" Type="http://schemas.openxmlformats.org/officeDocument/2006/relationships/tags" Target="../tags/tag453.xml"/><Relationship Id="rId48" Type="http://schemas.openxmlformats.org/officeDocument/2006/relationships/tags" Target="../tags/tag454.xml"/><Relationship Id="rId49" Type="http://schemas.openxmlformats.org/officeDocument/2006/relationships/tags" Target="../tags/tag455.xml"/><Relationship Id="rId100" Type="http://schemas.openxmlformats.org/officeDocument/2006/relationships/tags" Target="../tags/tag506.xml"/><Relationship Id="rId20" Type="http://schemas.openxmlformats.org/officeDocument/2006/relationships/slideLayout" Target="../slideLayouts/slideLayout302.xml"/><Relationship Id="rId21" Type="http://schemas.openxmlformats.org/officeDocument/2006/relationships/slideLayout" Target="../slideLayouts/slideLayout303.xml"/><Relationship Id="rId22" Type="http://schemas.openxmlformats.org/officeDocument/2006/relationships/slideLayout" Target="../slideLayouts/slideLayout304.xml"/><Relationship Id="rId70" Type="http://schemas.openxmlformats.org/officeDocument/2006/relationships/tags" Target="../tags/tag476.xml"/><Relationship Id="rId71" Type="http://schemas.openxmlformats.org/officeDocument/2006/relationships/tags" Target="../tags/tag477.xml"/><Relationship Id="rId72" Type="http://schemas.openxmlformats.org/officeDocument/2006/relationships/tags" Target="../tags/tag478.xml"/><Relationship Id="rId73" Type="http://schemas.openxmlformats.org/officeDocument/2006/relationships/tags" Target="../tags/tag479.xml"/><Relationship Id="rId74" Type="http://schemas.openxmlformats.org/officeDocument/2006/relationships/tags" Target="../tags/tag480.xml"/><Relationship Id="rId75" Type="http://schemas.openxmlformats.org/officeDocument/2006/relationships/tags" Target="../tags/tag481.xml"/><Relationship Id="rId76" Type="http://schemas.openxmlformats.org/officeDocument/2006/relationships/tags" Target="../tags/tag482.xml"/><Relationship Id="rId77" Type="http://schemas.openxmlformats.org/officeDocument/2006/relationships/tags" Target="../tags/tag483.xml"/><Relationship Id="rId78" Type="http://schemas.openxmlformats.org/officeDocument/2006/relationships/tags" Target="../tags/tag484.xml"/><Relationship Id="rId79" Type="http://schemas.openxmlformats.org/officeDocument/2006/relationships/tags" Target="../tags/tag485.xml"/><Relationship Id="rId23" Type="http://schemas.openxmlformats.org/officeDocument/2006/relationships/slideLayout" Target="../slideLayouts/slideLayout305.xml"/><Relationship Id="rId24" Type="http://schemas.openxmlformats.org/officeDocument/2006/relationships/slideLayout" Target="../slideLayouts/slideLayout306.xml"/><Relationship Id="rId25" Type="http://schemas.openxmlformats.org/officeDocument/2006/relationships/slideLayout" Target="../slideLayouts/slideLayout307.xml"/><Relationship Id="rId26" Type="http://schemas.openxmlformats.org/officeDocument/2006/relationships/slideLayout" Target="../slideLayouts/slideLayout308.xml"/><Relationship Id="rId27" Type="http://schemas.openxmlformats.org/officeDocument/2006/relationships/slideLayout" Target="../slideLayouts/slideLayout309.xml"/><Relationship Id="rId28" Type="http://schemas.openxmlformats.org/officeDocument/2006/relationships/slideLayout" Target="../slideLayouts/slideLayout310.xml"/><Relationship Id="rId29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88.xml"/><Relationship Id="rId7" Type="http://schemas.openxmlformats.org/officeDocument/2006/relationships/slideLayout" Target="../slideLayouts/slideLayout289.xml"/><Relationship Id="rId8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1.xml"/><Relationship Id="rId50" Type="http://schemas.openxmlformats.org/officeDocument/2006/relationships/tags" Target="../tags/tag456.xml"/><Relationship Id="rId51" Type="http://schemas.openxmlformats.org/officeDocument/2006/relationships/tags" Target="../tags/tag457.xml"/><Relationship Id="rId52" Type="http://schemas.openxmlformats.org/officeDocument/2006/relationships/tags" Target="../tags/tag458.xml"/><Relationship Id="rId53" Type="http://schemas.openxmlformats.org/officeDocument/2006/relationships/tags" Target="../tags/tag459.xml"/><Relationship Id="rId54" Type="http://schemas.openxmlformats.org/officeDocument/2006/relationships/tags" Target="../tags/tag460.xml"/><Relationship Id="rId55" Type="http://schemas.openxmlformats.org/officeDocument/2006/relationships/tags" Target="../tags/tag461.xml"/><Relationship Id="rId56" Type="http://schemas.openxmlformats.org/officeDocument/2006/relationships/tags" Target="../tags/tag462.xml"/><Relationship Id="rId57" Type="http://schemas.openxmlformats.org/officeDocument/2006/relationships/tags" Target="../tags/tag463.xml"/><Relationship Id="rId58" Type="http://schemas.openxmlformats.org/officeDocument/2006/relationships/tags" Target="../tags/tag464.xml"/><Relationship Id="rId59" Type="http://schemas.openxmlformats.org/officeDocument/2006/relationships/tags" Target="../tags/tag465.xml"/><Relationship Id="rId110" Type="http://schemas.openxmlformats.org/officeDocument/2006/relationships/tags" Target="../tags/tag516.xml"/><Relationship Id="rId111" Type="http://schemas.openxmlformats.org/officeDocument/2006/relationships/tags" Target="../tags/tag517.xml"/><Relationship Id="rId112" Type="http://schemas.openxmlformats.org/officeDocument/2006/relationships/tags" Target="../tags/tag518.xml"/><Relationship Id="rId113" Type="http://schemas.openxmlformats.org/officeDocument/2006/relationships/tags" Target="../tags/tag519.xml"/><Relationship Id="rId114" Type="http://schemas.openxmlformats.org/officeDocument/2006/relationships/tags" Target="../tags/tag520.xml"/><Relationship Id="rId115" Type="http://schemas.openxmlformats.org/officeDocument/2006/relationships/tags" Target="../tags/tag521.xml"/><Relationship Id="rId116" Type="http://schemas.openxmlformats.org/officeDocument/2006/relationships/tags" Target="../tags/tag522.xml"/><Relationship Id="rId117" Type="http://schemas.openxmlformats.org/officeDocument/2006/relationships/tags" Target="../tags/tag523.xml"/><Relationship Id="rId118" Type="http://schemas.openxmlformats.org/officeDocument/2006/relationships/tags" Target="../tags/tag524.xml"/><Relationship Id="rId119" Type="http://schemas.openxmlformats.org/officeDocument/2006/relationships/tags" Target="../tags/tag525.xml"/><Relationship Id="rId30" Type="http://schemas.openxmlformats.org/officeDocument/2006/relationships/slideLayout" Target="../slideLayouts/slideLayout312.xml"/><Relationship Id="rId31" Type="http://schemas.openxmlformats.org/officeDocument/2006/relationships/slideLayout" Target="../slideLayouts/slideLayout313.xml"/><Relationship Id="rId32" Type="http://schemas.openxmlformats.org/officeDocument/2006/relationships/slideLayout" Target="../slideLayouts/slideLayout314.xml"/><Relationship Id="rId33" Type="http://schemas.openxmlformats.org/officeDocument/2006/relationships/slideLayout" Target="../slideLayouts/slideLayout315.xml"/><Relationship Id="rId34" Type="http://schemas.openxmlformats.org/officeDocument/2006/relationships/slideLayout" Target="../slideLayouts/slideLayout316.xml"/><Relationship Id="rId35" Type="http://schemas.openxmlformats.org/officeDocument/2006/relationships/slideLayout" Target="../slideLayouts/slideLayout317.xml"/><Relationship Id="rId36" Type="http://schemas.openxmlformats.org/officeDocument/2006/relationships/slideLayout" Target="../slideLayouts/slideLayout318.xml"/><Relationship Id="rId37" Type="http://schemas.openxmlformats.org/officeDocument/2006/relationships/slideLayout" Target="../slideLayouts/slideLayout319.xml"/><Relationship Id="rId38" Type="http://schemas.openxmlformats.org/officeDocument/2006/relationships/slideLayout" Target="../slideLayouts/slideLayout320.xml"/><Relationship Id="rId39" Type="http://schemas.openxmlformats.org/officeDocument/2006/relationships/theme" Target="../theme/theme12.xml"/><Relationship Id="rId80" Type="http://schemas.openxmlformats.org/officeDocument/2006/relationships/tags" Target="../tags/tag486.xml"/><Relationship Id="rId81" Type="http://schemas.openxmlformats.org/officeDocument/2006/relationships/tags" Target="../tags/tag487.xml"/><Relationship Id="rId82" Type="http://schemas.openxmlformats.org/officeDocument/2006/relationships/tags" Target="../tags/tag488.xml"/><Relationship Id="rId83" Type="http://schemas.openxmlformats.org/officeDocument/2006/relationships/tags" Target="../tags/tag489.xml"/><Relationship Id="rId84" Type="http://schemas.openxmlformats.org/officeDocument/2006/relationships/tags" Target="../tags/tag490.xml"/><Relationship Id="rId85" Type="http://schemas.openxmlformats.org/officeDocument/2006/relationships/tags" Target="../tags/tag491.xml"/><Relationship Id="rId86" Type="http://schemas.openxmlformats.org/officeDocument/2006/relationships/tags" Target="../tags/tag492.xml"/><Relationship Id="rId87" Type="http://schemas.openxmlformats.org/officeDocument/2006/relationships/tags" Target="../tags/tag493.xml"/><Relationship Id="rId88" Type="http://schemas.openxmlformats.org/officeDocument/2006/relationships/tags" Target="../tags/tag494.xml"/><Relationship Id="rId89" Type="http://schemas.openxmlformats.org/officeDocument/2006/relationships/tags" Target="../tags/tag495.xml"/></Relationships>
</file>

<file path=ppt/slideMasters/_rels/slideMaster2.xml.rels><?xml version="1.0" encoding="UTF-8" standalone="yes"?>
<Relationships xmlns="http://schemas.openxmlformats.org/package/2006/relationships"><Relationship Id="rId10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59.xml"/><Relationship Id="rId60" Type="http://schemas.openxmlformats.org/officeDocument/2006/relationships/tags" Target="../tags/tag90.xml"/><Relationship Id="rId61" Type="http://schemas.openxmlformats.org/officeDocument/2006/relationships/tags" Target="../tags/tag91.xml"/><Relationship Id="rId62" Type="http://schemas.openxmlformats.org/officeDocument/2006/relationships/tags" Target="../tags/tag92.xml"/><Relationship Id="rId63" Type="http://schemas.openxmlformats.org/officeDocument/2006/relationships/tags" Target="../tags/tag93.xml"/><Relationship Id="rId64" Type="http://schemas.openxmlformats.org/officeDocument/2006/relationships/tags" Target="../tags/tag94.xml"/><Relationship Id="rId65" Type="http://schemas.openxmlformats.org/officeDocument/2006/relationships/tags" Target="../tags/tag95.xml"/><Relationship Id="rId66" Type="http://schemas.openxmlformats.org/officeDocument/2006/relationships/tags" Target="../tags/tag96.xml"/><Relationship Id="rId67" Type="http://schemas.openxmlformats.org/officeDocument/2006/relationships/tags" Target="../tags/tag97.xml"/><Relationship Id="rId68" Type="http://schemas.openxmlformats.org/officeDocument/2006/relationships/tags" Target="../tags/tag98.xml"/><Relationship Id="rId69" Type="http://schemas.openxmlformats.org/officeDocument/2006/relationships/tags" Target="../tags/tag99.xml"/><Relationship Id="rId120" Type="http://schemas.openxmlformats.org/officeDocument/2006/relationships/tags" Target="../tags/tag150.xml"/><Relationship Id="rId121" Type="http://schemas.openxmlformats.org/officeDocument/2006/relationships/tags" Target="../tags/tag151.xml"/><Relationship Id="rId122" Type="http://schemas.openxmlformats.org/officeDocument/2006/relationships/tags" Target="../tags/tag152.xml"/><Relationship Id="rId123" Type="http://schemas.openxmlformats.org/officeDocument/2006/relationships/tags" Target="../tags/tag153.xml"/><Relationship Id="rId124" Type="http://schemas.openxmlformats.org/officeDocument/2006/relationships/tags" Target="../tags/tag154.xml"/><Relationship Id="rId125" Type="http://schemas.openxmlformats.org/officeDocument/2006/relationships/tags" Target="../tags/tag155.xml"/><Relationship Id="rId126" Type="http://schemas.openxmlformats.org/officeDocument/2006/relationships/tags" Target="../tags/tag156.xml"/><Relationship Id="rId127" Type="http://schemas.openxmlformats.org/officeDocument/2006/relationships/tags" Target="../tags/tag157.xml"/><Relationship Id="rId128" Type="http://schemas.openxmlformats.org/officeDocument/2006/relationships/tags" Target="../tags/tag158.xml"/><Relationship Id="rId129" Type="http://schemas.openxmlformats.org/officeDocument/2006/relationships/tags" Target="../tags/tag159.xml"/><Relationship Id="rId4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2.xml"/><Relationship Id="rId90" Type="http://schemas.openxmlformats.org/officeDocument/2006/relationships/tags" Target="../tags/tag120.xml"/><Relationship Id="rId91" Type="http://schemas.openxmlformats.org/officeDocument/2006/relationships/tags" Target="../tags/tag121.xml"/><Relationship Id="rId92" Type="http://schemas.openxmlformats.org/officeDocument/2006/relationships/tags" Target="../tags/tag122.xml"/><Relationship Id="rId93" Type="http://schemas.openxmlformats.org/officeDocument/2006/relationships/tags" Target="../tags/tag123.xml"/><Relationship Id="rId94" Type="http://schemas.openxmlformats.org/officeDocument/2006/relationships/tags" Target="../tags/tag124.xml"/><Relationship Id="rId95" Type="http://schemas.openxmlformats.org/officeDocument/2006/relationships/tags" Target="../tags/tag125.xml"/><Relationship Id="rId96" Type="http://schemas.openxmlformats.org/officeDocument/2006/relationships/tags" Target="../tags/tag126.xml"/><Relationship Id="rId101" Type="http://schemas.openxmlformats.org/officeDocument/2006/relationships/tags" Target="../tags/tag131.xml"/><Relationship Id="rId102" Type="http://schemas.openxmlformats.org/officeDocument/2006/relationships/tags" Target="../tags/tag132.xml"/><Relationship Id="rId103" Type="http://schemas.openxmlformats.org/officeDocument/2006/relationships/tags" Target="../tags/tag133.xml"/><Relationship Id="rId104" Type="http://schemas.openxmlformats.org/officeDocument/2006/relationships/tags" Target="../tags/tag134.xml"/><Relationship Id="rId105" Type="http://schemas.openxmlformats.org/officeDocument/2006/relationships/tags" Target="../tags/tag135.xml"/><Relationship Id="rId106" Type="http://schemas.openxmlformats.org/officeDocument/2006/relationships/tags" Target="../tags/tag136.xml"/><Relationship Id="rId107" Type="http://schemas.openxmlformats.org/officeDocument/2006/relationships/tags" Target="../tags/tag137.xml"/><Relationship Id="rId108" Type="http://schemas.openxmlformats.org/officeDocument/2006/relationships/tags" Target="../tags/tag138.xml"/><Relationship Id="rId109" Type="http://schemas.openxmlformats.org/officeDocument/2006/relationships/tags" Target="../tags/tag139.xml"/><Relationship Id="rId97" Type="http://schemas.openxmlformats.org/officeDocument/2006/relationships/tags" Target="../tags/tag127.xml"/><Relationship Id="rId98" Type="http://schemas.openxmlformats.org/officeDocument/2006/relationships/tags" Target="../tags/tag128.xml"/><Relationship Id="rId99" Type="http://schemas.openxmlformats.org/officeDocument/2006/relationships/tags" Target="../tags/tag129.xml"/><Relationship Id="rId43" Type="http://schemas.openxmlformats.org/officeDocument/2006/relationships/slideLayout" Target="../slideLayouts/slideLayout83.xml"/><Relationship Id="rId44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88.xml"/><Relationship Id="rId49" Type="http://schemas.openxmlformats.org/officeDocument/2006/relationships/slideLayout" Target="../slideLayouts/slideLayout89.xml"/><Relationship Id="rId100" Type="http://schemas.openxmlformats.org/officeDocument/2006/relationships/tags" Target="../tags/tag130.xml"/><Relationship Id="rId20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2.xml"/><Relationship Id="rId70" Type="http://schemas.openxmlformats.org/officeDocument/2006/relationships/tags" Target="../tags/tag100.xml"/><Relationship Id="rId71" Type="http://schemas.openxmlformats.org/officeDocument/2006/relationships/tags" Target="../tags/tag101.xml"/><Relationship Id="rId72" Type="http://schemas.openxmlformats.org/officeDocument/2006/relationships/tags" Target="../tags/tag102.xml"/><Relationship Id="rId73" Type="http://schemas.openxmlformats.org/officeDocument/2006/relationships/tags" Target="../tags/tag103.xml"/><Relationship Id="rId74" Type="http://schemas.openxmlformats.org/officeDocument/2006/relationships/tags" Target="../tags/tag104.xml"/><Relationship Id="rId75" Type="http://schemas.openxmlformats.org/officeDocument/2006/relationships/tags" Target="../tags/tag105.xml"/><Relationship Id="rId76" Type="http://schemas.openxmlformats.org/officeDocument/2006/relationships/tags" Target="../tags/tag106.xml"/><Relationship Id="rId77" Type="http://schemas.openxmlformats.org/officeDocument/2006/relationships/tags" Target="../tags/tag107.xml"/><Relationship Id="rId78" Type="http://schemas.openxmlformats.org/officeDocument/2006/relationships/tags" Target="../tags/tag108.xml"/><Relationship Id="rId79" Type="http://schemas.openxmlformats.org/officeDocument/2006/relationships/tags" Target="../tags/tag109.xml"/><Relationship Id="rId23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69.xml"/><Relationship Id="rId130" Type="http://schemas.openxmlformats.org/officeDocument/2006/relationships/tags" Target="../tags/tag160.xml"/><Relationship Id="rId131" Type="http://schemas.openxmlformats.org/officeDocument/2006/relationships/tags" Target="../tags/tag161.xml"/><Relationship Id="rId132" Type="http://schemas.openxmlformats.org/officeDocument/2006/relationships/tags" Target="../tags/tag162.xml"/><Relationship Id="rId133" Type="http://schemas.openxmlformats.org/officeDocument/2006/relationships/tags" Target="../tags/tag163.xml"/><Relationship Id="rId134" Type="http://schemas.openxmlformats.org/officeDocument/2006/relationships/tags" Target="../tags/tag164.xml"/><Relationship Id="rId135" Type="http://schemas.openxmlformats.org/officeDocument/2006/relationships/tags" Target="../tags/tag165.xml"/><Relationship Id="rId136" Type="http://schemas.openxmlformats.org/officeDocument/2006/relationships/tags" Target="../tags/tag166.xml"/><Relationship Id="rId137" Type="http://schemas.openxmlformats.org/officeDocument/2006/relationships/tags" Target="../tags/tag167.xml"/><Relationship Id="rId138" Type="http://schemas.openxmlformats.org/officeDocument/2006/relationships/tags" Target="../tags/tag168.xml"/><Relationship Id="rId139" Type="http://schemas.openxmlformats.org/officeDocument/2006/relationships/tags" Target="../tags/tag169.xml"/><Relationship Id="rId1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2.xml"/><Relationship Id="rId3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5.xml"/><Relationship Id="rId6" Type="http://schemas.openxmlformats.org/officeDocument/2006/relationships/slideLayout" Target="../slideLayouts/slideLayout46.xml"/><Relationship Id="rId7" Type="http://schemas.openxmlformats.org/officeDocument/2006/relationships/slideLayout" Target="../slideLayouts/slideLayout47.xml"/><Relationship Id="rId8" Type="http://schemas.openxmlformats.org/officeDocument/2006/relationships/slideLayout" Target="../slideLayouts/slideLayout48.xml"/><Relationship Id="rId9" Type="http://schemas.openxmlformats.org/officeDocument/2006/relationships/slideLayout" Target="../slideLayouts/slideLayout49.xml"/><Relationship Id="rId50" Type="http://schemas.openxmlformats.org/officeDocument/2006/relationships/slideLayout" Target="../slideLayouts/slideLayout90.xml"/><Relationship Id="rId51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93.xml"/><Relationship Id="rId54" Type="http://schemas.openxmlformats.org/officeDocument/2006/relationships/slideLayout" Target="../slideLayouts/slideLayout94.xml"/><Relationship Id="rId55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97.xml"/><Relationship Id="rId58" Type="http://schemas.openxmlformats.org/officeDocument/2006/relationships/theme" Target="../theme/theme2.xml"/><Relationship Id="rId59" Type="http://schemas.openxmlformats.org/officeDocument/2006/relationships/tags" Target="../tags/tag89.xml"/><Relationship Id="rId110" Type="http://schemas.openxmlformats.org/officeDocument/2006/relationships/tags" Target="../tags/tag140.xml"/><Relationship Id="rId111" Type="http://schemas.openxmlformats.org/officeDocument/2006/relationships/tags" Target="../tags/tag141.xml"/><Relationship Id="rId112" Type="http://schemas.openxmlformats.org/officeDocument/2006/relationships/tags" Target="../tags/tag142.xml"/><Relationship Id="rId113" Type="http://schemas.openxmlformats.org/officeDocument/2006/relationships/tags" Target="../tags/tag143.xml"/><Relationship Id="rId114" Type="http://schemas.openxmlformats.org/officeDocument/2006/relationships/tags" Target="../tags/tag144.xml"/><Relationship Id="rId115" Type="http://schemas.openxmlformats.org/officeDocument/2006/relationships/tags" Target="../tags/tag145.xml"/><Relationship Id="rId116" Type="http://schemas.openxmlformats.org/officeDocument/2006/relationships/tags" Target="../tags/tag146.xml"/><Relationship Id="rId117" Type="http://schemas.openxmlformats.org/officeDocument/2006/relationships/tags" Target="../tags/tag147.xml"/><Relationship Id="rId118" Type="http://schemas.openxmlformats.org/officeDocument/2006/relationships/tags" Target="../tags/tag148.xml"/><Relationship Id="rId119" Type="http://schemas.openxmlformats.org/officeDocument/2006/relationships/tags" Target="../tags/tag149.xml"/><Relationship Id="rId30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79.xml"/><Relationship Id="rId80" Type="http://schemas.openxmlformats.org/officeDocument/2006/relationships/tags" Target="../tags/tag110.xml"/><Relationship Id="rId81" Type="http://schemas.openxmlformats.org/officeDocument/2006/relationships/tags" Target="../tags/tag111.xml"/><Relationship Id="rId82" Type="http://schemas.openxmlformats.org/officeDocument/2006/relationships/tags" Target="../tags/tag112.xml"/><Relationship Id="rId83" Type="http://schemas.openxmlformats.org/officeDocument/2006/relationships/tags" Target="../tags/tag113.xml"/><Relationship Id="rId84" Type="http://schemas.openxmlformats.org/officeDocument/2006/relationships/tags" Target="../tags/tag114.xml"/><Relationship Id="rId85" Type="http://schemas.openxmlformats.org/officeDocument/2006/relationships/tags" Target="../tags/tag115.xml"/><Relationship Id="rId86" Type="http://schemas.openxmlformats.org/officeDocument/2006/relationships/tags" Target="../tags/tag116.xml"/><Relationship Id="rId87" Type="http://schemas.openxmlformats.org/officeDocument/2006/relationships/tags" Target="../tags/tag117.xml"/><Relationship Id="rId88" Type="http://schemas.openxmlformats.org/officeDocument/2006/relationships/tags" Target="../tags/tag118.xml"/><Relationship Id="rId89" Type="http://schemas.openxmlformats.org/officeDocument/2006/relationships/tags" Target="../tags/tag119.xml"/><Relationship Id="rId140" Type="http://schemas.openxmlformats.org/officeDocument/2006/relationships/tags" Target="../tags/tag170.xml"/><Relationship Id="rId141" Type="http://schemas.openxmlformats.org/officeDocument/2006/relationships/tags" Target="../tags/tag171.xml"/><Relationship Id="rId142" Type="http://schemas.openxmlformats.org/officeDocument/2006/relationships/tags" Target="../tags/tag172.xml"/><Relationship Id="rId143" Type="http://schemas.openxmlformats.org/officeDocument/2006/relationships/tags" Target="../tags/tag173.xml"/><Relationship Id="rId144" Type="http://schemas.openxmlformats.org/officeDocument/2006/relationships/tags" Target="../tags/tag174.xml"/><Relationship Id="rId145" Type="http://schemas.openxmlformats.org/officeDocument/2006/relationships/tags" Target="../tags/tag175.xml"/><Relationship Id="rId146" Type="http://schemas.openxmlformats.org/officeDocument/2006/relationships/tags" Target="../tags/tag176.xml"/></Relationships>
</file>

<file path=ppt/slideMasters/_rels/slideMaster3.xml.rels><?xml version="1.0" encoding="UTF-8" standalone="yes"?>
<Relationships xmlns="http://schemas.openxmlformats.org/package/2006/relationships"><Relationship Id="rId10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16.xml"/><Relationship Id="rId60" Type="http://schemas.openxmlformats.org/officeDocument/2006/relationships/tags" Target="../tags/tag180.xml"/><Relationship Id="rId61" Type="http://schemas.openxmlformats.org/officeDocument/2006/relationships/tags" Target="../tags/tag181.xml"/><Relationship Id="rId62" Type="http://schemas.openxmlformats.org/officeDocument/2006/relationships/tags" Target="../tags/tag182.xml"/><Relationship Id="rId63" Type="http://schemas.openxmlformats.org/officeDocument/2006/relationships/tags" Target="../tags/tag183.xml"/><Relationship Id="rId64" Type="http://schemas.openxmlformats.org/officeDocument/2006/relationships/tags" Target="../tags/tag184.xml"/><Relationship Id="rId65" Type="http://schemas.openxmlformats.org/officeDocument/2006/relationships/tags" Target="../tags/tag185.xml"/><Relationship Id="rId66" Type="http://schemas.openxmlformats.org/officeDocument/2006/relationships/tags" Target="../tags/tag186.xml"/><Relationship Id="rId67" Type="http://schemas.openxmlformats.org/officeDocument/2006/relationships/tags" Target="../tags/tag187.xml"/><Relationship Id="rId68" Type="http://schemas.openxmlformats.org/officeDocument/2006/relationships/tags" Target="../tags/tag188.xml"/><Relationship Id="rId69" Type="http://schemas.openxmlformats.org/officeDocument/2006/relationships/tags" Target="../tags/tag189.xml"/><Relationship Id="rId120" Type="http://schemas.openxmlformats.org/officeDocument/2006/relationships/tags" Target="../tags/tag240.xml"/><Relationship Id="rId121" Type="http://schemas.openxmlformats.org/officeDocument/2006/relationships/tags" Target="../tags/tag241.xml"/><Relationship Id="rId122" Type="http://schemas.openxmlformats.org/officeDocument/2006/relationships/tags" Target="../tags/tag242.xml"/><Relationship Id="rId123" Type="http://schemas.openxmlformats.org/officeDocument/2006/relationships/tags" Target="../tags/tag243.xml"/><Relationship Id="rId124" Type="http://schemas.openxmlformats.org/officeDocument/2006/relationships/tags" Target="../tags/tag244.xml"/><Relationship Id="rId125" Type="http://schemas.openxmlformats.org/officeDocument/2006/relationships/tags" Target="../tags/tag245.xml"/><Relationship Id="rId126" Type="http://schemas.openxmlformats.org/officeDocument/2006/relationships/tags" Target="../tags/tag246.xml"/><Relationship Id="rId127" Type="http://schemas.openxmlformats.org/officeDocument/2006/relationships/tags" Target="../tags/tag247.xml"/><Relationship Id="rId128" Type="http://schemas.openxmlformats.org/officeDocument/2006/relationships/tags" Target="../tags/tag248.xml"/><Relationship Id="rId129" Type="http://schemas.openxmlformats.org/officeDocument/2006/relationships/tags" Target="../tags/tag249.xml"/><Relationship Id="rId40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38.xml"/><Relationship Id="rId42" Type="http://schemas.openxmlformats.org/officeDocument/2006/relationships/slideLayout" Target="../slideLayouts/slideLayout139.xml"/><Relationship Id="rId90" Type="http://schemas.openxmlformats.org/officeDocument/2006/relationships/tags" Target="../tags/tag210.xml"/><Relationship Id="rId91" Type="http://schemas.openxmlformats.org/officeDocument/2006/relationships/tags" Target="../tags/tag211.xml"/><Relationship Id="rId92" Type="http://schemas.openxmlformats.org/officeDocument/2006/relationships/tags" Target="../tags/tag212.xml"/><Relationship Id="rId93" Type="http://schemas.openxmlformats.org/officeDocument/2006/relationships/tags" Target="../tags/tag213.xml"/><Relationship Id="rId94" Type="http://schemas.openxmlformats.org/officeDocument/2006/relationships/tags" Target="../tags/tag214.xml"/><Relationship Id="rId95" Type="http://schemas.openxmlformats.org/officeDocument/2006/relationships/tags" Target="../tags/tag215.xml"/><Relationship Id="rId96" Type="http://schemas.openxmlformats.org/officeDocument/2006/relationships/tags" Target="../tags/tag216.xml"/><Relationship Id="rId101" Type="http://schemas.openxmlformats.org/officeDocument/2006/relationships/tags" Target="../tags/tag221.xml"/><Relationship Id="rId102" Type="http://schemas.openxmlformats.org/officeDocument/2006/relationships/tags" Target="../tags/tag222.xml"/><Relationship Id="rId103" Type="http://schemas.openxmlformats.org/officeDocument/2006/relationships/tags" Target="../tags/tag223.xml"/><Relationship Id="rId104" Type="http://schemas.openxmlformats.org/officeDocument/2006/relationships/tags" Target="../tags/tag224.xml"/><Relationship Id="rId105" Type="http://schemas.openxmlformats.org/officeDocument/2006/relationships/tags" Target="../tags/tag225.xml"/><Relationship Id="rId106" Type="http://schemas.openxmlformats.org/officeDocument/2006/relationships/tags" Target="../tags/tag226.xml"/><Relationship Id="rId107" Type="http://schemas.openxmlformats.org/officeDocument/2006/relationships/tags" Target="../tags/tag227.xml"/><Relationship Id="rId108" Type="http://schemas.openxmlformats.org/officeDocument/2006/relationships/tags" Target="../tags/tag228.xml"/><Relationship Id="rId109" Type="http://schemas.openxmlformats.org/officeDocument/2006/relationships/tags" Target="../tags/tag229.xml"/><Relationship Id="rId97" Type="http://schemas.openxmlformats.org/officeDocument/2006/relationships/tags" Target="../tags/tag217.xml"/><Relationship Id="rId98" Type="http://schemas.openxmlformats.org/officeDocument/2006/relationships/tags" Target="../tags/tag218.xml"/><Relationship Id="rId99" Type="http://schemas.openxmlformats.org/officeDocument/2006/relationships/tags" Target="../tags/tag219.xml"/><Relationship Id="rId43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41.xml"/><Relationship Id="rId45" Type="http://schemas.openxmlformats.org/officeDocument/2006/relationships/slideLayout" Target="../slideLayouts/slideLayout142.xml"/><Relationship Id="rId46" Type="http://schemas.openxmlformats.org/officeDocument/2006/relationships/slideLayout" Target="../slideLayouts/slideLayout143.xml"/><Relationship Id="rId47" Type="http://schemas.openxmlformats.org/officeDocument/2006/relationships/slideLayout" Target="../slideLayouts/slideLayout144.xml"/><Relationship Id="rId48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46.xml"/><Relationship Id="rId100" Type="http://schemas.openxmlformats.org/officeDocument/2006/relationships/tags" Target="../tags/tag220.xml"/><Relationship Id="rId20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19.xml"/><Relationship Id="rId70" Type="http://schemas.openxmlformats.org/officeDocument/2006/relationships/tags" Target="../tags/tag190.xml"/><Relationship Id="rId71" Type="http://schemas.openxmlformats.org/officeDocument/2006/relationships/tags" Target="../tags/tag191.xml"/><Relationship Id="rId72" Type="http://schemas.openxmlformats.org/officeDocument/2006/relationships/tags" Target="../tags/tag192.xml"/><Relationship Id="rId73" Type="http://schemas.openxmlformats.org/officeDocument/2006/relationships/tags" Target="../tags/tag193.xml"/><Relationship Id="rId74" Type="http://schemas.openxmlformats.org/officeDocument/2006/relationships/tags" Target="../tags/tag194.xml"/><Relationship Id="rId75" Type="http://schemas.openxmlformats.org/officeDocument/2006/relationships/tags" Target="../tags/tag195.xml"/><Relationship Id="rId76" Type="http://schemas.openxmlformats.org/officeDocument/2006/relationships/tags" Target="../tags/tag196.xml"/><Relationship Id="rId77" Type="http://schemas.openxmlformats.org/officeDocument/2006/relationships/tags" Target="../tags/tag197.xml"/><Relationship Id="rId78" Type="http://schemas.openxmlformats.org/officeDocument/2006/relationships/tags" Target="../tags/tag198.xml"/><Relationship Id="rId79" Type="http://schemas.openxmlformats.org/officeDocument/2006/relationships/tags" Target="../tags/tag199.xml"/><Relationship Id="rId23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26.xml"/><Relationship Id="rId130" Type="http://schemas.openxmlformats.org/officeDocument/2006/relationships/tags" Target="../tags/tag250.xml"/><Relationship Id="rId131" Type="http://schemas.openxmlformats.org/officeDocument/2006/relationships/tags" Target="../tags/tag251.xml"/><Relationship Id="rId132" Type="http://schemas.openxmlformats.org/officeDocument/2006/relationships/tags" Target="../tags/tag252.xml"/><Relationship Id="rId133" Type="http://schemas.openxmlformats.org/officeDocument/2006/relationships/tags" Target="../tags/tag253.xml"/><Relationship Id="rId134" Type="http://schemas.openxmlformats.org/officeDocument/2006/relationships/tags" Target="../tags/tag254.xml"/><Relationship Id="rId135" Type="http://schemas.openxmlformats.org/officeDocument/2006/relationships/tags" Target="../tags/tag255.xml"/><Relationship Id="rId136" Type="http://schemas.openxmlformats.org/officeDocument/2006/relationships/tags" Target="../tags/tag256.xml"/><Relationship Id="rId137" Type="http://schemas.openxmlformats.org/officeDocument/2006/relationships/tags" Target="../tags/tag257.xml"/><Relationship Id="rId138" Type="http://schemas.openxmlformats.org/officeDocument/2006/relationships/tags" Target="../tags/tag258.xml"/><Relationship Id="rId139" Type="http://schemas.openxmlformats.org/officeDocument/2006/relationships/tags" Target="../tags/tag259.xml"/><Relationship Id="rId1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9.xml"/><Relationship Id="rId3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4.xml"/><Relationship Id="rId8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47.xml"/><Relationship Id="rId51" Type="http://schemas.openxmlformats.org/officeDocument/2006/relationships/slideLayout" Target="../slideLayouts/slideLayout148.xml"/><Relationship Id="rId52" Type="http://schemas.openxmlformats.org/officeDocument/2006/relationships/slideLayout" Target="../slideLayouts/slideLayout149.xml"/><Relationship Id="rId53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51.xml"/><Relationship Id="rId55" Type="http://schemas.openxmlformats.org/officeDocument/2006/relationships/slideLayout" Target="../slideLayouts/slideLayout152.xml"/><Relationship Id="rId56" Type="http://schemas.openxmlformats.org/officeDocument/2006/relationships/theme" Target="../theme/theme3.xml"/><Relationship Id="rId57" Type="http://schemas.openxmlformats.org/officeDocument/2006/relationships/tags" Target="../tags/tag177.xml"/><Relationship Id="rId58" Type="http://schemas.openxmlformats.org/officeDocument/2006/relationships/tags" Target="../tags/tag178.xml"/><Relationship Id="rId59" Type="http://schemas.openxmlformats.org/officeDocument/2006/relationships/tags" Target="../tags/tag179.xml"/><Relationship Id="rId110" Type="http://schemas.openxmlformats.org/officeDocument/2006/relationships/tags" Target="../tags/tag230.xml"/><Relationship Id="rId111" Type="http://schemas.openxmlformats.org/officeDocument/2006/relationships/tags" Target="../tags/tag231.xml"/><Relationship Id="rId112" Type="http://schemas.openxmlformats.org/officeDocument/2006/relationships/tags" Target="../tags/tag232.xml"/><Relationship Id="rId113" Type="http://schemas.openxmlformats.org/officeDocument/2006/relationships/tags" Target="../tags/tag233.xml"/><Relationship Id="rId114" Type="http://schemas.openxmlformats.org/officeDocument/2006/relationships/tags" Target="../tags/tag234.xml"/><Relationship Id="rId115" Type="http://schemas.openxmlformats.org/officeDocument/2006/relationships/tags" Target="../tags/tag235.xml"/><Relationship Id="rId116" Type="http://schemas.openxmlformats.org/officeDocument/2006/relationships/tags" Target="../tags/tag236.xml"/><Relationship Id="rId117" Type="http://schemas.openxmlformats.org/officeDocument/2006/relationships/tags" Target="../tags/tag237.xml"/><Relationship Id="rId118" Type="http://schemas.openxmlformats.org/officeDocument/2006/relationships/tags" Target="../tags/tag238.xml"/><Relationship Id="rId119" Type="http://schemas.openxmlformats.org/officeDocument/2006/relationships/tags" Target="../tags/tag239.xml"/><Relationship Id="rId30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36.xml"/><Relationship Id="rId80" Type="http://schemas.openxmlformats.org/officeDocument/2006/relationships/tags" Target="../tags/tag200.xml"/><Relationship Id="rId81" Type="http://schemas.openxmlformats.org/officeDocument/2006/relationships/tags" Target="../tags/tag201.xml"/><Relationship Id="rId82" Type="http://schemas.openxmlformats.org/officeDocument/2006/relationships/tags" Target="../tags/tag202.xml"/><Relationship Id="rId83" Type="http://schemas.openxmlformats.org/officeDocument/2006/relationships/tags" Target="../tags/tag203.xml"/><Relationship Id="rId84" Type="http://schemas.openxmlformats.org/officeDocument/2006/relationships/tags" Target="../tags/tag204.xml"/><Relationship Id="rId85" Type="http://schemas.openxmlformats.org/officeDocument/2006/relationships/tags" Target="../tags/tag205.xml"/><Relationship Id="rId86" Type="http://schemas.openxmlformats.org/officeDocument/2006/relationships/tags" Target="../tags/tag206.xml"/><Relationship Id="rId87" Type="http://schemas.openxmlformats.org/officeDocument/2006/relationships/tags" Target="../tags/tag207.xml"/><Relationship Id="rId88" Type="http://schemas.openxmlformats.org/officeDocument/2006/relationships/tags" Target="../tags/tag208.xml"/><Relationship Id="rId89" Type="http://schemas.openxmlformats.org/officeDocument/2006/relationships/tags" Target="../tags/tag209.xml"/><Relationship Id="rId140" Type="http://schemas.openxmlformats.org/officeDocument/2006/relationships/tags" Target="../tags/tag260.xml"/><Relationship Id="rId141" Type="http://schemas.openxmlformats.org/officeDocument/2006/relationships/tags" Target="../tags/tag261.xml"/><Relationship Id="rId142" Type="http://schemas.openxmlformats.org/officeDocument/2006/relationships/tags" Target="../tags/tag262.xml"/><Relationship Id="rId143" Type="http://schemas.openxmlformats.org/officeDocument/2006/relationships/tags" Target="../tags/tag263.xml"/><Relationship Id="rId144" Type="http://schemas.openxmlformats.org/officeDocument/2006/relationships/tags" Target="../tags/tag264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74.xml"/><Relationship Id="rId23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76.xml"/><Relationship Id="rId25" Type="http://schemas.openxmlformats.org/officeDocument/2006/relationships/slideLayout" Target="../slideLayouts/slideLayout177.xml"/><Relationship Id="rId26" Type="http://schemas.openxmlformats.org/officeDocument/2006/relationships/slideLayout" Target="../slideLayouts/slideLayout178.xml"/><Relationship Id="rId27" Type="http://schemas.openxmlformats.org/officeDocument/2006/relationships/slideLayout" Target="../slideLayouts/slideLayout179.xml"/><Relationship Id="rId28" Type="http://schemas.openxmlformats.org/officeDocument/2006/relationships/slideLayout" Target="../slideLayouts/slideLayout180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7.xml"/><Relationship Id="rId30" Type="http://schemas.openxmlformats.org/officeDocument/2006/relationships/theme" Target="../theme/theme4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265.xml"/><Relationship Id="rId9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59.xml"/><Relationship Id="rId8" Type="http://schemas.openxmlformats.org/officeDocument/2006/relationships/slideLayout" Target="../slideLayouts/slideLayout160.xml"/><Relationship Id="rId33" Type="http://schemas.openxmlformats.org/officeDocument/2006/relationships/oleObject" Target="../embeddings/oleObject1.bin"/><Relationship Id="rId34" Type="http://schemas.openxmlformats.org/officeDocument/2006/relationships/image" Target="NULL"/><Relationship Id="rId10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71.xml"/></Relationships>
</file>

<file path=ppt/slideMasters/_rels/slideMaster5.xml.rels><?xml version="1.0" encoding="UTF-8" standalone="yes"?>
<Relationships xmlns="http://schemas.openxmlformats.org/package/2006/relationships"><Relationship Id="rId101" Type="http://schemas.openxmlformats.org/officeDocument/2006/relationships/tags" Target="../tags/tag336.xml"/><Relationship Id="rId102" Type="http://schemas.openxmlformats.org/officeDocument/2006/relationships/tags" Target="../tags/tag337.xml"/><Relationship Id="rId103" Type="http://schemas.openxmlformats.org/officeDocument/2006/relationships/tags" Target="../tags/tag338.xml"/><Relationship Id="rId104" Type="http://schemas.openxmlformats.org/officeDocument/2006/relationships/tags" Target="../tags/tag339.xml"/><Relationship Id="rId105" Type="http://schemas.openxmlformats.org/officeDocument/2006/relationships/tags" Target="../tags/tag340.xml"/><Relationship Id="rId106" Type="http://schemas.openxmlformats.org/officeDocument/2006/relationships/tags" Target="../tags/tag341.xml"/><Relationship Id="rId107" Type="http://schemas.openxmlformats.org/officeDocument/2006/relationships/tags" Target="../tags/tag342.xml"/><Relationship Id="rId1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88.xml"/><Relationship Id="rId8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0.xml"/><Relationship Id="rId108" Type="http://schemas.openxmlformats.org/officeDocument/2006/relationships/tags" Target="../tags/tag343.xml"/><Relationship Id="rId109" Type="http://schemas.openxmlformats.org/officeDocument/2006/relationships/tags" Target="../tags/tag344.xml"/><Relationship Id="rId10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0.xml"/><Relationship Id="rId30" Type="http://schemas.openxmlformats.org/officeDocument/2006/relationships/theme" Target="../theme/theme5.xml"/><Relationship Id="rId31" Type="http://schemas.openxmlformats.org/officeDocument/2006/relationships/tags" Target="../tags/tag266.xml"/><Relationship Id="rId32" Type="http://schemas.openxmlformats.org/officeDocument/2006/relationships/tags" Target="../tags/tag267.xml"/><Relationship Id="rId33" Type="http://schemas.openxmlformats.org/officeDocument/2006/relationships/tags" Target="../tags/tag268.xml"/><Relationship Id="rId34" Type="http://schemas.openxmlformats.org/officeDocument/2006/relationships/tags" Target="../tags/tag269.xml"/><Relationship Id="rId35" Type="http://schemas.openxmlformats.org/officeDocument/2006/relationships/tags" Target="../tags/tag270.xml"/><Relationship Id="rId36" Type="http://schemas.openxmlformats.org/officeDocument/2006/relationships/tags" Target="../tags/tag271.xml"/><Relationship Id="rId37" Type="http://schemas.openxmlformats.org/officeDocument/2006/relationships/tags" Target="../tags/tag272.xml"/><Relationship Id="rId38" Type="http://schemas.openxmlformats.org/officeDocument/2006/relationships/tags" Target="../tags/tag273.xml"/><Relationship Id="rId39" Type="http://schemas.openxmlformats.org/officeDocument/2006/relationships/tags" Target="../tags/tag274.xml"/><Relationship Id="rId50" Type="http://schemas.openxmlformats.org/officeDocument/2006/relationships/tags" Target="../tags/tag285.xml"/><Relationship Id="rId51" Type="http://schemas.openxmlformats.org/officeDocument/2006/relationships/tags" Target="../tags/tag286.xml"/><Relationship Id="rId52" Type="http://schemas.openxmlformats.org/officeDocument/2006/relationships/tags" Target="../tags/tag287.xml"/><Relationship Id="rId53" Type="http://schemas.openxmlformats.org/officeDocument/2006/relationships/tags" Target="../tags/tag288.xml"/><Relationship Id="rId54" Type="http://schemas.openxmlformats.org/officeDocument/2006/relationships/tags" Target="../tags/tag289.xml"/><Relationship Id="rId55" Type="http://schemas.openxmlformats.org/officeDocument/2006/relationships/tags" Target="../tags/tag290.xml"/><Relationship Id="rId56" Type="http://schemas.openxmlformats.org/officeDocument/2006/relationships/tags" Target="../tags/tag291.xml"/><Relationship Id="rId57" Type="http://schemas.openxmlformats.org/officeDocument/2006/relationships/tags" Target="../tags/tag292.xml"/><Relationship Id="rId58" Type="http://schemas.openxmlformats.org/officeDocument/2006/relationships/tags" Target="../tags/tag293.xml"/><Relationship Id="rId59" Type="http://schemas.openxmlformats.org/officeDocument/2006/relationships/tags" Target="../tags/tag294.xml"/><Relationship Id="rId70" Type="http://schemas.openxmlformats.org/officeDocument/2006/relationships/tags" Target="../tags/tag305.xml"/><Relationship Id="rId71" Type="http://schemas.openxmlformats.org/officeDocument/2006/relationships/tags" Target="../tags/tag306.xml"/><Relationship Id="rId72" Type="http://schemas.openxmlformats.org/officeDocument/2006/relationships/tags" Target="../tags/tag307.xml"/><Relationship Id="rId73" Type="http://schemas.openxmlformats.org/officeDocument/2006/relationships/tags" Target="../tags/tag308.xml"/><Relationship Id="rId74" Type="http://schemas.openxmlformats.org/officeDocument/2006/relationships/tags" Target="../tags/tag309.xml"/><Relationship Id="rId75" Type="http://schemas.openxmlformats.org/officeDocument/2006/relationships/tags" Target="../tags/tag310.xml"/><Relationship Id="rId76" Type="http://schemas.openxmlformats.org/officeDocument/2006/relationships/tags" Target="../tags/tag311.xml"/><Relationship Id="rId77" Type="http://schemas.openxmlformats.org/officeDocument/2006/relationships/tags" Target="../tags/tag312.xml"/><Relationship Id="rId78" Type="http://schemas.openxmlformats.org/officeDocument/2006/relationships/tags" Target="../tags/tag313.xml"/><Relationship Id="rId79" Type="http://schemas.openxmlformats.org/officeDocument/2006/relationships/tags" Target="../tags/tag314.xml"/><Relationship Id="rId110" Type="http://schemas.openxmlformats.org/officeDocument/2006/relationships/tags" Target="../tags/tag345.xml"/><Relationship Id="rId90" Type="http://schemas.openxmlformats.org/officeDocument/2006/relationships/tags" Target="../tags/tag325.xml"/><Relationship Id="rId91" Type="http://schemas.openxmlformats.org/officeDocument/2006/relationships/tags" Target="../tags/tag326.xml"/><Relationship Id="rId92" Type="http://schemas.openxmlformats.org/officeDocument/2006/relationships/tags" Target="../tags/tag327.xml"/><Relationship Id="rId93" Type="http://schemas.openxmlformats.org/officeDocument/2006/relationships/tags" Target="../tags/tag328.xml"/><Relationship Id="rId94" Type="http://schemas.openxmlformats.org/officeDocument/2006/relationships/tags" Target="../tags/tag329.xml"/><Relationship Id="rId95" Type="http://schemas.openxmlformats.org/officeDocument/2006/relationships/tags" Target="../tags/tag330.xml"/><Relationship Id="rId96" Type="http://schemas.openxmlformats.org/officeDocument/2006/relationships/tags" Target="../tags/tag331.xml"/><Relationship Id="rId97" Type="http://schemas.openxmlformats.org/officeDocument/2006/relationships/tags" Target="../tags/tag332.xml"/><Relationship Id="rId98" Type="http://schemas.openxmlformats.org/officeDocument/2006/relationships/tags" Target="../tags/tag333.xml"/><Relationship Id="rId99" Type="http://schemas.openxmlformats.org/officeDocument/2006/relationships/tags" Target="../tags/tag334.xml"/><Relationship Id="rId111" Type="http://schemas.openxmlformats.org/officeDocument/2006/relationships/tags" Target="../tags/tag346.xml"/><Relationship Id="rId112" Type="http://schemas.openxmlformats.org/officeDocument/2006/relationships/tags" Target="../tags/tag347.xml"/><Relationship Id="rId113" Type="http://schemas.openxmlformats.org/officeDocument/2006/relationships/tags" Target="../tags/tag348.xml"/><Relationship Id="rId114" Type="http://schemas.openxmlformats.org/officeDocument/2006/relationships/tags" Target="../tags/tag349.xml"/><Relationship Id="rId115" Type="http://schemas.openxmlformats.org/officeDocument/2006/relationships/tags" Target="../tags/tag350.xml"/><Relationship Id="rId116" Type="http://schemas.openxmlformats.org/officeDocument/2006/relationships/tags" Target="../tags/tag351.xml"/><Relationship Id="rId117" Type="http://schemas.openxmlformats.org/officeDocument/2006/relationships/tags" Target="../tags/tag352.xml"/><Relationship Id="rId118" Type="http://schemas.openxmlformats.org/officeDocument/2006/relationships/tags" Target="../tags/tag353.xml"/><Relationship Id="rId20" Type="http://schemas.openxmlformats.org/officeDocument/2006/relationships/slideLayout" Target="../slideLayouts/slideLayout201.xml"/><Relationship Id="rId21" Type="http://schemas.openxmlformats.org/officeDocument/2006/relationships/slideLayout" Target="../slideLayouts/slideLayout202.xml"/><Relationship Id="rId22" Type="http://schemas.openxmlformats.org/officeDocument/2006/relationships/slideLayout" Target="../slideLayouts/slideLayout203.xml"/><Relationship Id="rId23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05.xml"/><Relationship Id="rId25" Type="http://schemas.openxmlformats.org/officeDocument/2006/relationships/slideLayout" Target="../slideLayouts/slideLayout206.xml"/><Relationship Id="rId26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10.xml"/><Relationship Id="rId40" Type="http://schemas.openxmlformats.org/officeDocument/2006/relationships/tags" Target="../tags/tag275.xml"/><Relationship Id="rId41" Type="http://schemas.openxmlformats.org/officeDocument/2006/relationships/tags" Target="../tags/tag276.xml"/><Relationship Id="rId42" Type="http://schemas.openxmlformats.org/officeDocument/2006/relationships/tags" Target="../tags/tag277.xml"/><Relationship Id="rId43" Type="http://schemas.openxmlformats.org/officeDocument/2006/relationships/tags" Target="../tags/tag278.xml"/><Relationship Id="rId44" Type="http://schemas.openxmlformats.org/officeDocument/2006/relationships/tags" Target="../tags/tag279.xml"/><Relationship Id="rId45" Type="http://schemas.openxmlformats.org/officeDocument/2006/relationships/tags" Target="../tags/tag280.xml"/><Relationship Id="rId46" Type="http://schemas.openxmlformats.org/officeDocument/2006/relationships/tags" Target="../tags/tag281.xml"/><Relationship Id="rId47" Type="http://schemas.openxmlformats.org/officeDocument/2006/relationships/tags" Target="../tags/tag282.xml"/><Relationship Id="rId48" Type="http://schemas.openxmlformats.org/officeDocument/2006/relationships/tags" Target="../tags/tag283.xml"/><Relationship Id="rId49" Type="http://schemas.openxmlformats.org/officeDocument/2006/relationships/tags" Target="../tags/tag284.xml"/><Relationship Id="rId60" Type="http://schemas.openxmlformats.org/officeDocument/2006/relationships/tags" Target="../tags/tag295.xml"/><Relationship Id="rId61" Type="http://schemas.openxmlformats.org/officeDocument/2006/relationships/tags" Target="../tags/tag296.xml"/><Relationship Id="rId62" Type="http://schemas.openxmlformats.org/officeDocument/2006/relationships/tags" Target="../tags/tag297.xml"/><Relationship Id="rId63" Type="http://schemas.openxmlformats.org/officeDocument/2006/relationships/tags" Target="../tags/tag298.xml"/><Relationship Id="rId64" Type="http://schemas.openxmlformats.org/officeDocument/2006/relationships/tags" Target="../tags/tag299.xml"/><Relationship Id="rId65" Type="http://schemas.openxmlformats.org/officeDocument/2006/relationships/tags" Target="../tags/tag300.xml"/><Relationship Id="rId66" Type="http://schemas.openxmlformats.org/officeDocument/2006/relationships/tags" Target="../tags/tag301.xml"/><Relationship Id="rId67" Type="http://schemas.openxmlformats.org/officeDocument/2006/relationships/tags" Target="../tags/tag302.xml"/><Relationship Id="rId68" Type="http://schemas.openxmlformats.org/officeDocument/2006/relationships/tags" Target="../tags/tag303.xml"/><Relationship Id="rId69" Type="http://schemas.openxmlformats.org/officeDocument/2006/relationships/tags" Target="../tags/tag304.xml"/><Relationship Id="rId100" Type="http://schemas.openxmlformats.org/officeDocument/2006/relationships/tags" Target="../tags/tag335.xml"/><Relationship Id="rId80" Type="http://schemas.openxmlformats.org/officeDocument/2006/relationships/tags" Target="../tags/tag315.xml"/><Relationship Id="rId81" Type="http://schemas.openxmlformats.org/officeDocument/2006/relationships/tags" Target="../tags/tag316.xml"/><Relationship Id="rId82" Type="http://schemas.openxmlformats.org/officeDocument/2006/relationships/tags" Target="../tags/tag317.xml"/><Relationship Id="rId83" Type="http://schemas.openxmlformats.org/officeDocument/2006/relationships/tags" Target="../tags/tag318.xml"/><Relationship Id="rId84" Type="http://schemas.openxmlformats.org/officeDocument/2006/relationships/tags" Target="../tags/tag319.xml"/><Relationship Id="rId85" Type="http://schemas.openxmlformats.org/officeDocument/2006/relationships/tags" Target="../tags/tag320.xml"/><Relationship Id="rId86" Type="http://schemas.openxmlformats.org/officeDocument/2006/relationships/tags" Target="../tags/tag321.xml"/><Relationship Id="rId87" Type="http://schemas.openxmlformats.org/officeDocument/2006/relationships/tags" Target="../tags/tag322.xml"/><Relationship Id="rId88" Type="http://schemas.openxmlformats.org/officeDocument/2006/relationships/tags" Target="../tags/tag323.xml"/><Relationship Id="rId89" Type="http://schemas.openxmlformats.org/officeDocument/2006/relationships/tags" Target="../tags/tag324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.bin"/><Relationship Id="rId12" Type="http://schemas.openxmlformats.org/officeDocument/2006/relationships/image" Target="NULL"/><Relationship Id="rId1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17.xml"/><Relationship Id="rId8" Type="http://schemas.openxmlformats.org/officeDocument/2006/relationships/theme" Target="../theme/theme6.xml"/><Relationship Id="rId9" Type="http://schemas.openxmlformats.org/officeDocument/2006/relationships/vmlDrawing" Target="../drawings/vmlDrawing2.vml"/><Relationship Id="rId10" Type="http://schemas.openxmlformats.org/officeDocument/2006/relationships/tags" Target="../tags/tag35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0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3.vml"/><Relationship Id="rId6" Type="http://schemas.openxmlformats.org/officeDocument/2006/relationships/tags" Target="../tags/tag355.xml"/><Relationship Id="rId7" Type="http://schemas.openxmlformats.org/officeDocument/2006/relationships/oleObject" Target="../embeddings/oleObject3.bin"/><Relationship Id="rId8" Type="http://schemas.openxmlformats.org/officeDocument/2006/relationships/image" Target="NULL"/><Relationship Id="rId1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19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2.xml"/><Relationship Id="rId13" Type="http://schemas.openxmlformats.org/officeDocument/2006/relationships/theme" Target="../theme/theme8.xml"/><Relationship Id="rId14" Type="http://schemas.openxmlformats.org/officeDocument/2006/relationships/vmlDrawing" Target="../drawings/vmlDrawing4.vml"/><Relationship Id="rId15" Type="http://schemas.openxmlformats.org/officeDocument/2006/relationships/tags" Target="../tags/tag356.xml"/><Relationship Id="rId16" Type="http://schemas.openxmlformats.org/officeDocument/2006/relationships/oleObject" Target="../embeddings/oleObject4.bin"/><Relationship Id="rId17" Type="http://schemas.openxmlformats.org/officeDocument/2006/relationships/image" Target="NULL"/><Relationship Id="rId1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27.xml"/><Relationship Id="rId8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0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5.bin"/><Relationship Id="rId12" Type="http://schemas.openxmlformats.org/officeDocument/2006/relationships/image" Target="NULL"/><Relationship Id="rId1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39.xml"/><Relationship Id="rId8" Type="http://schemas.openxmlformats.org/officeDocument/2006/relationships/theme" Target="../theme/theme9.xml"/><Relationship Id="rId9" Type="http://schemas.openxmlformats.org/officeDocument/2006/relationships/vmlDrawing" Target="../drawings/vmlDrawing5.vml"/><Relationship Id="rId10" Type="http://schemas.openxmlformats.org/officeDocument/2006/relationships/tags" Target="../tags/tag3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92" r:id="rId2"/>
    <p:sldLayoutId id="2147483796" r:id="rId3"/>
    <p:sldLayoutId id="2147483730" r:id="rId4"/>
    <p:sldLayoutId id="2147483737" r:id="rId5"/>
    <p:sldLayoutId id="2147483801" r:id="rId6"/>
    <p:sldLayoutId id="2147483806" r:id="rId7"/>
    <p:sldLayoutId id="2147483765" r:id="rId8"/>
    <p:sldLayoutId id="2147483731" r:id="rId9"/>
    <p:sldLayoutId id="2147483766" r:id="rId10"/>
    <p:sldLayoutId id="2147483802" r:id="rId11"/>
    <p:sldLayoutId id="2147483804" r:id="rId12"/>
    <p:sldLayoutId id="2147483797" r:id="rId13"/>
    <p:sldLayoutId id="2147483732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90" r:id="rId22"/>
    <p:sldLayoutId id="2147483793" r:id="rId23"/>
    <p:sldLayoutId id="2147483798" r:id="rId24"/>
    <p:sldLayoutId id="2147483794" r:id="rId25"/>
    <p:sldLayoutId id="2147483795" r:id="rId26"/>
    <p:sldLayoutId id="2147483774" r:id="rId27"/>
    <p:sldLayoutId id="2147483775" r:id="rId28"/>
    <p:sldLayoutId id="2147483776" r:id="rId29"/>
    <p:sldLayoutId id="2147483799" r:id="rId30"/>
    <p:sldLayoutId id="2147483800" r:id="rId31"/>
    <p:sldLayoutId id="2147483743" r:id="rId32"/>
    <p:sldLayoutId id="2147483744" r:id="rId33"/>
    <p:sldLayoutId id="2147483803" r:id="rId34"/>
    <p:sldLayoutId id="2147483805" r:id="rId35"/>
    <p:sldLayoutId id="2147483762" r:id="rId36"/>
    <p:sldLayoutId id="2147483751" r:id="rId37"/>
    <p:sldLayoutId id="2147483807" r:id="rId38"/>
    <p:sldLayoutId id="2147484022" r:id="rId39"/>
    <p:sldLayoutId id="2147484041" r:id="rId4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 userDrawn="1">
          <p15:clr>
            <a:srgbClr val="A4A3A4"/>
          </p15:clr>
        </p15:guide>
        <p15:guide id="2" pos="1617" userDrawn="1">
          <p15:clr>
            <a:srgbClr val="A4A3A4"/>
          </p15:clr>
        </p15:guide>
        <p15:guide id="5" pos="3031" userDrawn="1">
          <p15:clr>
            <a:srgbClr val="A4A3A4"/>
          </p15:clr>
        </p15:guide>
        <p15:guide id="6" pos="3235" userDrawn="1">
          <p15:clr>
            <a:srgbClr val="A4A3A4"/>
          </p15:clr>
        </p15:guide>
        <p15:guide id="7" orient="horz" pos="3911" userDrawn="1">
          <p15:clr>
            <a:srgbClr val="A4A3A4"/>
          </p15:clr>
        </p15:guide>
        <p15:guide id="8" orient="horz" pos="4115" userDrawn="1">
          <p15:clr>
            <a:srgbClr val="A4A3A4"/>
          </p15:clr>
        </p15:guide>
        <p15:guide id="9" pos="6063" userDrawn="1">
          <p15:clr>
            <a:srgbClr val="A4A3A4"/>
          </p15:clr>
        </p15:guide>
        <p15:guide id="10" pos="7272" userDrawn="1">
          <p15:clr>
            <a:srgbClr val="A4A3A4"/>
          </p15:clr>
        </p15:guide>
        <p15:guide id="12" pos="4444" userDrawn="1">
          <p15:clr>
            <a:srgbClr val="A4A3A4"/>
          </p15:clr>
        </p15:guide>
        <p15:guide id="13" pos="4648" userDrawn="1">
          <p15:clr>
            <a:srgbClr val="A4A3A4"/>
          </p15:clr>
        </p15:guide>
        <p15:guide id="14" orient="horz" pos="204" userDrawn="1">
          <p15:clr>
            <a:srgbClr val="A4A3A4"/>
          </p15:clr>
        </p15:guide>
        <p15:guide id="15" orient="horz" pos="408" userDrawn="1">
          <p15:clr>
            <a:srgbClr val="A4A3A4"/>
          </p15:clr>
        </p15:guide>
        <p15:guide id="16" pos="1821" userDrawn="1">
          <p15:clr>
            <a:srgbClr val="A4A3A4"/>
          </p15:clr>
        </p15:guide>
        <p15:guide id="18" pos="5859" userDrawn="1">
          <p15:clr>
            <a:srgbClr val="A4A3A4"/>
          </p15:clr>
        </p15:guide>
        <p15:guide id="20" pos="7476" userDrawn="1">
          <p15:clr>
            <a:srgbClr val="A4A3A4"/>
          </p15:clr>
        </p15:guide>
        <p15:guide id="21" pos="204" userDrawn="1">
          <p15:clr>
            <a:srgbClr val="A4A3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, Header</a:t>
            </a:r>
          </a:p>
          <a:p>
            <a:pPr lvl="4"/>
            <a:r>
              <a:rPr lang="en-US" noProof="0" dirty="0"/>
              <a:t>Level 5, Body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, Small Header</a:t>
            </a:r>
          </a:p>
          <a:p>
            <a:pPr lvl="7"/>
            <a:r>
              <a:rPr lang="en-US" noProof="0" dirty="0"/>
              <a:t>Level 8, Small Body</a:t>
            </a:r>
          </a:p>
          <a:p>
            <a:pPr lvl="8"/>
            <a:r>
              <a:rPr lang="en-US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1"/>
            <a:ext cx="4162139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fld id="{23AA811B-2EBD-4900-905E-5BE206449611}" type="slidenum">
              <a:rPr lang="en-US" smtClean="0">
                <a:solidFill>
                  <a:srgbClr val="001965"/>
                </a:solidFill>
              </a:rPr>
              <a:pPr defTabSz="914377"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78D69B5-2783-4637-A949-A867EE4EFE6B}"/>
              </a:ext>
            </a:extLst>
          </p:cNvPr>
          <p:cNvSpPr txBox="1"/>
          <p:nvPr userDrawn="1"/>
        </p:nvSpPr>
        <p:spPr>
          <a:xfrm>
            <a:off x="11218070" y="324001"/>
            <a:ext cx="64849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/>
            <a:r>
              <a:rPr lang="en-US" sz="700" dirty="0">
                <a:solidFill>
                  <a:srgbClr val="001965"/>
                </a:solidFill>
              </a:rPr>
              <a:t>Novo Nordisk</a:t>
            </a:r>
            <a:r>
              <a:rPr lang="en-US" sz="700" baseline="30000" dirty="0">
                <a:solidFill>
                  <a:srgbClr val="001965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5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233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  <p:sldLayoutId id="2147484104" r:id="rId12"/>
    <p:sldLayoutId id="2147484105" r:id="rId13"/>
    <p:sldLayoutId id="2147484106" r:id="rId14"/>
    <p:sldLayoutId id="2147484107" r:id="rId15"/>
    <p:sldLayoutId id="2147484108" r:id="rId16"/>
    <p:sldLayoutId id="2147484109" r:id="rId17"/>
    <p:sldLayoutId id="2147484110" r:id="rId18"/>
    <p:sldLayoutId id="2147484111" r:id="rId19"/>
    <p:sldLayoutId id="2147484112" r:id="rId20"/>
    <p:sldLayoutId id="2147484113" r:id="rId21"/>
    <p:sldLayoutId id="2147484114" r:id="rId22"/>
    <p:sldLayoutId id="2147484115" r:id="rId23"/>
    <p:sldLayoutId id="2147484116" r:id="rId24"/>
    <p:sldLayoutId id="2147484117" r:id="rId25"/>
    <p:sldLayoutId id="2147484118" r:id="rId26"/>
    <p:sldLayoutId id="2147484119" r:id="rId27"/>
    <p:sldLayoutId id="2147484120" r:id="rId28"/>
    <p:sldLayoutId id="2147484121" r:id="rId29"/>
    <p:sldLayoutId id="2147484122" r:id="rId30"/>
    <p:sldLayoutId id="2147484123" r:id="rId31"/>
    <p:sldLayoutId id="2147484124" r:id="rId32"/>
    <p:sldLayoutId id="2147484125" r:id="rId33"/>
    <p:sldLayoutId id="2147484126" r:id="rId34"/>
    <p:sldLayoutId id="2147484127" r:id="rId35"/>
    <p:sldLayoutId id="2147484128" r:id="rId36"/>
    <p:sldLayoutId id="2147484129" r:id="rId37"/>
    <p:sldLayoutId id="2147484130" r:id="rId3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6">
          <p15:clr>
            <a:srgbClr val="A4A3A4"/>
          </p15:clr>
        </p15:guide>
        <p15:guide id="2" pos="1213">
          <p15:clr>
            <a:srgbClr val="A4A3A4"/>
          </p15:clr>
        </p15:guide>
        <p15:guide id="5" pos="2273">
          <p15:clr>
            <a:srgbClr val="A4A3A4"/>
          </p15:clr>
        </p15:guide>
        <p15:guide id="6" pos="2426">
          <p15:clr>
            <a:srgbClr val="A4A3A4"/>
          </p15:clr>
        </p15:guide>
        <p15:guide id="7" orient="horz" pos="2933">
          <p15:clr>
            <a:srgbClr val="A4A3A4"/>
          </p15:clr>
        </p15:guide>
        <p15:guide id="8" orient="horz" pos="3086">
          <p15:clr>
            <a:srgbClr val="A4A3A4"/>
          </p15:clr>
        </p15:guide>
        <p15:guide id="9" pos="4547">
          <p15:clr>
            <a:srgbClr val="A4A3A4"/>
          </p15:clr>
        </p15:guide>
        <p15:guide id="10" pos="5454">
          <p15:clr>
            <a:srgbClr val="A4A3A4"/>
          </p15:clr>
        </p15:guide>
        <p15:guide id="12" pos="3333">
          <p15:clr>
            <a:srgbClr val="A4A3A4"/>
          </p15:clr>
        </p15:guide>
        <p15:guide id="13" pos="3486">
          <p15:clr>
            <a:srgbClr val="A4A3A4"/>
          </p15:clr>
        </p15:guide>
        <p15:guide id="14" orient="horz" pos="153">
          <p15:clr>
            <a:srgbClr val="A4A3A4"/>
          </p15:clr>
        </p15:guide>
        <p15:guide id="15" orient="horz" pos="306">
          <p15:clr>
            <a:srgbClr val="A4A3A4"/>
          </p15:clr>
        </p15:guide>
        <p15:guide id="16" pos="1366">
          <p15:clr>
            <a:srgbClr val="A4A3A4"/>
          </p15:clr>
        </p15:guide>
        <p15:guide id="18" pos="4394">
          <p15:clr>
            <a:srgbClr val="A4A3A4"/>
          </p15:clr>
        </p15:guide>
        <p15:guide id="20" pos="5607">
          <p15:clr>
            <a:srgbClr val="A4A3A4"/>
          </p15:clr>
        </p15:guide>
        <p15:guide id="21" pos="153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arrotondato 9"/>
          <p:cNvSpPr>
            <a:spLocks noChangeArrowheads="1"/>
          </p:cNvSpPr>
          <p:nvPr userDrawn="1"/>
        </p:nvSpPr>
        <p:spPr bwMode="auto">
          <a:xfrm>
            <a:off x="0" y="2"/>
            <a:ext cx="12192000" cy="1341967"/>
          </a:xfrm>
          <a:prstGeom prst="roundRect">
            <a:avLst>
              <a:gd name="adj" fmla="val 3787"/>
            </a:avLst>
          </a:prstGeom>
          <a:solidFill>
            <a:srgbClr val="0070C0"/>
          </a:solidFill>
          <a:ln>
            <a:noFill/>
          </a:ln>
          <a:effectLst>
            <a:outerShdw blurRad="40000" dist="23000" dir="5400000" rotWithShape="0">
              <a:srgbClr val="5E89C2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600">
                <a:solidFill>
                  <a:srgbClr val="FFFFFF"/>
                </a:solidFill>
                <a:latin typeface="Times New Roman" charset="0"/>
              </a:defRPr>
            </a:lvl1pPr>
            <a:lvl2pPr marL="742950" indent="-285750">
              <a:defRPr sz="3600">
                <a:solidFill>
                  <a:srgbClr val="FFFFFF"/>
                </a:solidFill>
                <a:latin typeface="Times New Roman" charset="0"/>
              </a:defRPr>
            </a:lvl2pPr>
            <a:lvl3pPr marL="1143000" indent="-228600">
              <a:defRPr sz="3600">
                <a:solidFill>
                  <a:srgbClr val="FFFFFF"/>
                </a:solidFill>
                <a:latin typeface="Times New Roman" charset="0"/>
              </a:defRPr>
            </a:lvl3pPr>
            <a:lvl4pPr marL="1600200" indent="-228600">
              <a:defRPr sz="3600">
                <a:solidFill>
                  <a:srgbClr val="FFFFFF"/>
                </a:solidFill>
                <a:latin typeface="Times New Roman" charset="0"/>
              </a:defRPr>
            </a:lvl4pPr>
            <a:lvl5pPr marL="2057400" indent="-228600">
              <a:defRPr sz="3600">
                <a:solidFill>
                  <a:srgbClr val="FFFFFF"/>
                </a:solidFill>
                <a:latin typeface="Times New Roman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9pPr>
          </a:lstStyle>
          <a:p>
            <a:pPr algn="ctr" defTabSz="914377" fontAlgn="base">
              <a:spcBef>
                <a:spcPct val="0"/>
              </a:spcBef>
              <a:spcAft>
                <a:spcPct val="0"/>
              </a:spcAft>
            </a:pPr>
            <a:endParaRPr lang="x-none" altLang="x-none" sz="1067" smtClean="0">
              <a:latin typeface="Tw Cen MT" charset="0"/>
              <a:ea typeface="Arial" charset="0"/>
              <a:cs typeface="Arial" charset="0"/>
            </a:endParaRPr>
          </a:p>
        </p:txBody>
      </p:sp>
      <p:sp>
        <p:nvSpPr>
          <p:cNvPr id="2051" name="Segnaposto titolo 1"/>
          <p:cNvSpPr>
            <a:spLocks noGrp="1"/>
          </p:cNvSpPr>
          <p:nvPr>
            <p:ph type="title"/>
          </p:nvPr>
        </p:nvSpPr>
        <p:spPr bwMode="auto">
          <a:xfrm>
            <a:off x="0" y="2"/>
            <a:ext cx="12192000" cy="1341967"/>
          </a:xfrm>
          <a:prstGeom prst="rect">
            <a:avLst/>
          </a:prstGeom>
          <a:solidFill>
            <a:srgbClr val="5787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2052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334435" y="1483784"/>
            <a:ext cx="11523133" cy="4969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52233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it-IT" altLang="it-IT" sz="2133" b="1" kern="1200">
          <a:solidFill>
            <a:schemeClr val="bg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33" b="1">
          <a:solidFill>
            <a:schemeClr val="bg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33" b="1">
          <a:solidFill>
            <a:schemeClr val="bg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33" b="1">
          <a:solidFill>
            <a:schemeClr val="bg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33" b="1">
          <a:solidFill>
            <a:schemeClr val="bg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5pPr>
      <a:lvl6pPr marL="289318" algn="ctr" rtl="0" fontAlgn="base">
        <a:spcBef>
          <a:spcPct val="0"/>
        </a:spcBef>
        <a:spcAft>
          <a:spcPct val="0"/>
        </a:spcAft>
        <a:defRPr sz="2785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578634" algn="ctr" rtl="0" fontAlgn="base">
        <a:spcBef>
          <a:spcPct val="0"/>
        </a:spcBef>
        <a:spcAft>
          <a:spcPct val="0"/>
        </a:spcAft>
        <a:defRPr sz="2785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867952" algn="ctr" rtl="0" fontAlgn="base">
        <a:spcBef>
          <a:spcPct val="0"/>
        </a:spcBef>
        <a:spcAft>
          <a:spcPct val="0"/>
        </a:spcAft>
        <a:defRPr sz="2785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157270" algn="ctr" rtl="0" fontAlgn="base">
        <a:spcBef>
          <a:spcPct val="0"/>
        </a:spcBef>
        <a:spcAft>
          <a:spcPct val="0"/>
        </a:spcAft>
        <a:defRPr sz="2785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marL="213773" indent="-21377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b="1" kern="120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1pPr>
      <a:lvl2pPr marL="467760" indent="-177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 kern="120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2pPr>
      <a:lvl3pPr marL="721749" indent="-14181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67" b="1" kern="120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3pPr>
      <a:lvl4pPr marL="1009600" indent="-14181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b="1" kern="120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4pPr>
      <a:lvl5pPr marL="1299569" indent="-14181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b="1" kern="1200">
          <a:solidFill>
            <a:schemeClr val="tx1"/>
          </a:solidFill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</a:defRPr>
      </a:lvl5pPr>
      <a:lvl6pPr marL="1591247" indent="-144659" algn="l" defTabSz="578634" rtl="0" eaLnBrk="1" latinLnBrk="0" hangingPunct="1">
        <a:spcBef>
          <a:spcPct val="20000"/>
        </a:spcBef>
        <a:buFont typeface="Arial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880564" indent="-144659" algn="l" defTabSz="578634" rtl="0" eaLnBrk="1" latinLnBrk="0" hangingPunct="1">
        <a:spcBef>
          <a:spcPct val="20000"/>
        </a:spcBef>
        <a:buFont typeface="Arial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169880" indent="-144659" algn="l" defTabSz="578634" rtl="0" eaLnBrk="1" latinLnBrk="0" hangingPunct="1">
        <a:spcBef>
          <a:spcPct val="20000"/>
        </a:spcBef>
        <a:buFont typeface="Arial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459199" indent="-144659" algn="l" defTabSz="578634" rtl="0" eaLnBrk="1" latinLnBrk="0" hangingPunct="1">
        <a:spcBef>
          <a:spcPct val="20000"/>
        </a:spcBef>
        <a:buFont typeface="Arial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1pPr>
      <a:lvl2pPr marL="289318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2pPr>
      <a:lvl3pPr marL="578634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3pPr>
      <a:lvl4pPr marL="867952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4pPr>
      <a:lvl5pPr marL="1157270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5pPr>
      <a:lvl6pPr marL="1446587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6pPr>
      <a:lvl7pPr marL="1735903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7pPr>
      <a:lvl8pPr marL="2025221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8pPr>
      <a:lvl9pPr marL="2314539" algn="l" defTabSz="578634" rtl="0" eaLnBrk="1" latinLnBrk="0" hangingPunct="1">
        <a:defRPr sz="11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, Header</a:t>
            </a:r>
          </a:p>
          <a:p>
            <a:pPr lvl="4"/>
            <a:r>
              <a:rPr lang="en-US" noProof="0" dirty="0"/>
              <a:t>Level 5, Body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, Small Header</a:t>
            </a:r>
          </a:p>
          <a:p>
            <a:pPr lvl="7"/>
            <a:r>
              <a:rPr lang="en-US" noProof="0" dirty="0"/>
              <a:t>Level 8, Small Body</a:t>
            </a:r>
          </a:p>
          <a:p>
            <a:pPr lvl="8"/>
            <a:r>
              <a:rPr lang="en-US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1"/>
            <a:ext cx="4162139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pPr defTabSz="914377"/>
            <a:fld id="{23AA811B-2EBD-4900-905E-5BE206449611}" type="slidenum">
              <a:rPr lang="en-US" smtClean="0">
                <a:solidFill>
                  <a:srgbClr val="001965"/>
                </a:solidFill>
              </a:rPr>
              <a:pPr defTabSz="914377"/>
              <a:t>‹n.›</a:t>
            </a:fld>
            <a:endParaRPr lang="en-US" dirty="0">
              <a:solidFill>
                <a:srgbClr val="001965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78D69B5-2783-4637-A949-A867EE4EFE6B}"/>
              </a:ext>
            </a:extLst>
          </p:cNvPr>
          <p:cNvSpPr txBox="1"/>
          <p:nvPr userDrawn="1"/>
        </p:nvSpPr>
        <p:spPr>
          <a:xfrm>
            <a:off x="11218070" y="324001"/>
            <a:ext cx="64849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377"/>
            <a:r>
              <a:rPr lang="en-US" sz="700" dirty="0">
                <a:solidFill>
                  <a:srgbClr val="001965"/>
                </a:solidFill>
              </a:rPr>
              <a:t>Novo Nordisk</a:t>
            </a:r>
            <a:r>
              <a:rPr lang="en-US" sz="700" baseline="30000" dirty="0">
                <a:solidFill>
                  <a:srgbClr val="001965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  <p:sp>
        <p:nvSpPr>
          <p:cNvPr id="115" name="dynamic logo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xmlns="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914377"/>
            <a:endParaRPr lang="en-US" sz="20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99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3" r:id="rId6"/>
    <p:sldLayoutId id="2147484144" r:id="rId7"/>
    <p:sldLayoutId id="2147484145" r:id="rId8"/>
    <p:sldLayoutId id="2147484146" r:id="rId9"/>
    <p:sldLayoutId id="2147484147" r:id="rId10"/>
    <p:sldLayoutId id="2147484148" r:id="rId11"/>
    <p:sldLayoutId id="2147484149" r:id="rId12"/>
    <p:sldLayoutId id="2147484150" r:id="rId13"/>
    <p:sldLayoutId id="2147484151" r:id="rId14"/>
    <p:sldLayoutId id="2147484152" r:id="rId15"/>
    <p:sldLayoutId id="2147484153" r:id="rId16"/>
    <p:sldLayoutId id="2147484154" r:id="rId17"/>
    <p:sldLayoutId id="2147484155" r:id="rId18"/>
    <p:sldLayoutId id="2147484156" r:id="rId19"/>
    <p:sldLayoutId id="2147484157" r:id="rId20"/>
    <p:sldLayoutId id="2147484158" r:id="rId21"/>
    <p:sldLayoutId id="2147484159" r:id="rId22"/>
    <p:sldLayoutId id="2147484160" r:id="rId23"/>
    <p:sldLayoutId id="2147484161" r:id="rId24"/>
    <p:sldLayoutId id="2147484162" r:id="rId25"/>
    <p:sldLayoutId id="2147484163" r:id="rId26"/>
    <p:sldLayoutId id="2147484164" r:id="rId27"/>
    <p:sldLayoutId id="2147484165" r:id="rId28"/>
    <p:sldLayoutId id="2147484166" r:id="rId29"/>
    <p:sldLayoutId id="2147484167" r:id="rId30"/>
    <p:sldLayoutId id="2147484168" r:id="rId31"/>
    <p:sldLayoutId id="2147484169" r:id="rId32"/>
    <p:sldLayoutId id="2147484170" r:id="rId33"/>
    <p:sldLayoutId id="2147484171" r:id="rId34"/>
    <p:sldLayoutId id="2147484172" r:id="rId35"/>
    <p:sldLayoutId id="2147484173" r:id="rId36"/>
    <p:sldLayoutId id="2147484174" r:id="rId37"/>
    <p:sldLayoutId id="2147484175" r:id="rId3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6">
          <p15:clr>
            <a:srgbClr val="A4A3A4"/>
          </p15:clr>
        </p15:guide>
        <p15:guide id="2" pos="1213">
          <p15:clr>
            <a:srgbClr val="A4A3A4"/>
          </p15:clr>
        </p15:guide>
        <p15:guide id="5" pos="2273">
          <p15:clr>
            <a:srgbClr val="A4A3A4"/>
          </p15:clr>
        </p15:guide>
        <p15:guide id="6" pos="2426">
          <p15:clr>
            <a:srgbClr val="A4A3A4"/>
          </p15:clr>
        </p15:guide>
        <p15:guide id="7" orient="horz" pos="2933">
          <p15:clr>
            <a:srgbClr val="A4A3A4"/>
          </p15:clr>
        </p15:guide>
        <p15:guide id="8" orient="horz" pos="3086">
          <p15:clr>
            <a:srgbClr val="A4A3A4"/>
          </p15:clr>
        </p15:guide>
        <p15:guide id="9" pos="4547">
          <p15:clr>
            <a:srgbClr val="A4A3A4"/>
          </p15:clr>
        </p15:guide>
        <p15:guide id="10" pos="5454">
          <p15:clr>
            <a:srgbClr val="A4A3A4"/>
          </p15:clr>
        </p15:guide>
        <p15:guide id="12" pos="3333">
          <p15:clr>
            <a:srgbClr val="A4A3A4"/>
          </p15:clr>
        </p15:guide>
        <p15:guide id="13" pos="3486">
          <p15:clr>
            <a:srgbClr val="A4A3A4"/>
          </p15:clr>
        </p15:guide>
        <p15:guide id="14" orient="horz" pos="153">
          <p15:clr>
            <a:srgbClr val="A4A3A4"/>
          </p15:clr>
        </p15:guide>
        <p15:guide id="15" orient="horz" pos="306">
          <p15:clr>
            <a:srgbClr val="A4A3A4"/>
          </p15:clr>
        </p15:guide>
        <p15:guide id="16" pos="1366">
          <p15:clr>
            <a:srgbClr val="A4A3A4"/>
          </p15:clr>
        </p15:guide>
        <p15:guide id="18" pos="4394">
          <p15:clr>
            <a:srgbClr val="A4A3A4"/>
          </p15:clr>
        </p15:guide>
        <p15:guide id="20" pos="5607">
          <p15:clr>
            <a:srgbClr val="A4A3A4"/>
          </p15:clr>
        </p15:guide>
        <p15:guide id="21" pos="153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82800" y="324000"/>
            <a:ext cx="1882800" cy="32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45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46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988916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7" r:id="rId39"/>
    <p:sldLayoutId id="2147483848" r:id="rId40"/>
    <p:sldLayoutId id="2147483849" r:id="rId41"/>
    <p:sldLayoutId id="2147483850" r:id="rId42"/>
    <p:sldLayoutId id="2147483851" r:id="rId43"/>
    <p:sldLayoutId id="2147483852" r:id="rId44"/>
    <p:sldLayoutId id="2147483853" r:id="rId45"/>
    <p:sldLayoutId id="2147483854" r:id="rId46"/>
    <p:sldLayoutId id="2147483855" r:id="rId47"/>
    <p:sldLayoutId id="2147483856" r:id="rId48"/>
    <p:sldLayoutId id="2147483857" r:id="rId49"/>
    <p:sldLayoutId id="2147483858" r:id="rId50"/>
    <p:sldLayoutId id="2147483859" r:id="rId51"/>
    <p:sldLayoutId id="2147483860" r:id="rId52"/>
    <p:sldLayoutId id="2147483861" r:id="rId53"/>
    <p:sldLayoutId id="2147483862" r:id="rId54"/>
    <p:sldLayoutId id="2147483863" r:id="rId55"/>
    <p:sldLayoutId id="2147483864" r:id="rId56"/>
    <p:sldLayoutId id="2147483865" r:id="rId5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A4A3A4"/>
          </p15:clr>
        </p15:guide>
        <p15:guide id="2" pos="1617">
          <p15:clr>
            <a:srgbClr val="A4A3A4"/>
          </p15:clr>
        </p15:guide>
        <p15:guide id="5" pos="3031">
          <p15:clr>
            <a:srgbClr val="A4A3A4"/>
          </p15:clr>
        </p15:guide>
        <p15:guide id="6" pos="3235">
          <p15:clr>
            <a:srgbClr val="A4A3A4"/>
          </p15:clr>
        </p15:guide>
        <p15:guide id="7" orient="horz" pos="3911">
          <p15:clr>
            <a:srgbClr val="A4A3A4"/>
          </p15:clr>
        </p15:guide>
        <p15:guide id="8" orient="horz" pos="4115">
          <p15:clr>
            <a:srgbClr val="A4A3A4"/>
          </p15:clr>
        </p15:guide>
        <p15:guide id="9" pos="6063">
          <p15:clr>
            <a:srgbClr val="A4A3A4"/>
          </p15:clr>
        </p15:guide>
        <p15:guide id="10" pos="7272">
          <p15:clr>
            <a:srgbClr val="A4A3A4"/>
          </p15:clr>
        </p15:guide>
        <p15:guide id="12" pos="4444">
          <p15:clr>
            <a:srgbClr val="A4A3A4"/>
          </p15:clr>
        </p15:guide>
        <p15:guide id="13" pos="4648">
          <p15:clr>
            <a:srgbClr val="A4A3A4"/>
          </p15:clr>
        </p15:guide>
        <p15:guide id="14" orient="horz" pos="204">
          <p15:clr>
            <a:srgbClr val="A4A3A4"/>
          </p15:clr>
        </p15:guide>
        <p15:guide id="15" orient="horz" pos="408">
          <p15:clr>
            <a:srgbClr val="A4A3A4"/>
          </p15:clr>
        </p15:guide>
        <p15:guide id="16" pos="1821">
          <p15:clr>
            <a:srgbClr val="A4A3A4"/>
          </p15:clr>
        </p15:guide>
        <p15:guide id="18" pos="5859">
          <p15:clr>
            <a:srgbClr val="A4A3A4"/>
          </p15:clr>
        </p15:guide>
        <p15:guide id="20" pos="7476">
          <p15:clr>
            <a:srgbClr val="A4A3A4"/>
          </p15:clr>
        </p15:guide>
        <p15:guide id="21" pos="204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1"/>
            <a:ext cx="10896001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1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1238" y="256314"/>
            <a:ext cx="1921774" cy="5080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513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27394"/>
            <a:ext cx="0" cy="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1" y="324001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324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892001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4812002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5136001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7056000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379999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9300000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624000" y="324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11544001" y="324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324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324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324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324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648000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568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648000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648000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568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324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648000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568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2892001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4812002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1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79999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9624000" y="6210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11544001" y="6210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2892001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4812002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2892001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4812002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2892001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4812002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1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2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5136001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7056000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5136001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7056000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5136001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7056000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1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7379999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9300000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7379999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9300000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379999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79999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9624000" y="3753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11544001" y="3753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9624000" y="3429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11544001" y="3429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3105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11544001" y="3105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2781001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1" y="2781001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324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2568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4812002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11544001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324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2568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4812002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11544001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2892001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5136001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7379999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2892001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5136001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7379999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2821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  <p:sldLayoutId id="2147483889" r:id="rId23"/>
    <p:sldLayoutId id="2147483890" r:id="rId24"/>
    <p:sldLayoutId id="2147483891" r:id="rId25"/>
    <p:sldLayoutId id="2147483892" r:id="rId26"/>
    <p:sldLayoutId id="2147483893" r:id="rId27"/>
    <p:sldLayoutId id="2147483894" r:id="rId28"/>
    <p:sldLayoutId id="2147483895" r:id="rId29"/>
    <p:sldLayoutId id="2147483896" r:id="rId30"/>
    <p:sldLayoutId id="2147483897" r:id="rId31"/>
    <p:sldLayoutId id="2147483898" r:id="rId32"/>
    <p:sldLayoutId id="2147483899" r:id="rId33"/>
    <p:sldLayoutId id="2147483900" r:id="rId34"/>
    <p:sldLayoutId id="2147483901" r:id="rId35"/>
    <p:sldLayoutId id="2147483902" r:id="rId36"/>
    <p:sldLayoutId id="2147483903" r:id="rId37"/>
    <p:sldLayoutId id="2147483904" r:id="rId38"/>
    <p:sldLayoutId id="2147483905" r:id="rId39"/>
    <p:sldLayoutId id="2147483906" r:id="rId40"/>
    <p:sldLayoutId id="2147483907" r:id="rId41"/>
    <p:sldLayoutId id="2147483908" r:id="rId42"/>
    <p:sldLayoutId id="2147483909" r:id="rId43"/>
    <p:sldLayoutId id="2147483910" r:id="rId44"/>
    <p:sldLayoutId id="2147483911" r:id="rId45"/>
    <p:sldLayoutId id="2147483912" r:id="rId46"/>
    <p:sldLayoutId id="2147483913" r:id="rId47"/>
    <p:sldLayoutId id="2147483914" r:id="rId48"/>
    <p:sldLayoutId id="2147483915" r:id="rId49"/>
    <p:sldLayoutId id="2147483916" r:id="rId50"/>
    <p:sldLayoutId id="2147483917" r:id="rId51"/>
    <p:sldLayoutId id="2147483918" r:id="rId52"/>
    <p:sldLayoutId id="2147483919" r:id="rId53"/>
    <p:sldLayoutId id="2147483920" r:id="rId54"/>
    <p:sldLayoutId id="2147483921" r:id="rId55"/>
  </p:sldLayoutIdLst>
  <p:hf hdr="0"/>
  <p:txStyles>
    <p:titleStyle>
      <a:lvl1pPr algn="l" defTabSz="914348" rtl="0" eaLnBrk="1" latinLnBrk="0" hangingPunct="1">
        <a:lnSpc>
          <a:spcPct val="100000"/>
        </a:lnSpc>
        <a:spcBef>
          <a:spcPct val="0"/>
        </a:spcBef>
        <a:buNone/>
        <a:defRPr sz="89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6181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1pPr>
      <a:lvl2pPr marL="92362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2pPr>
      <a:lvl3pPr marL="138542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449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tabLst/>
        <a:defRPr lang="en-GB" sz="449" kern="120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641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​"/>
        <a:defRPr sz="641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46181" indent="-46181" algn="l" defTabSz="914348" rtl="0" eaLnBrk="1" latinLnBrk="0" hangingPunct="1">
        <a:lnSpc>
          <a:spcPct val="100000"/>
        </a:lnSpc>
        <a:spcBef>
          <a:spcPts val="0"/>
        </a:spcBef>
        <a:spcAft>
          <a:spcPts val="385"/>
        </a:spcAft>
        <a:buFont typeface="Arial" panose="020B0604020202020204" pitchFamily="34" charset="0"/>
        <a:buChar char="•"/>
        <a:defRPr sz="449" kern="1200">
          <a:solidFill>
            <a:schemeClr val="tx2"/>
          </a:solidFill>
          <a:latin typeface="+mn-lt"/>
          <a:ea typeface="+mn-ea"/>
          <a:cs typeface="+mn-cs"/>
        </a:defRPr>
      </a:lvl8pPr>
      <a:lvl9pPr marL="115452" indent="-115452" algn="l" defTabSz="914348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sz="449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26">
          <p15:clr>
            <a:srgbClr val="F26B43"/>
          </p15:clr>
        </p15:guide>
        <p15:guide id="4" orient="horz" pos="252">
          <p15:clr>
            <a:srgbClr val="F26B43"/>
          </p15:clr>
        </p15:guide>
        <p15:guide id="14" orient="horz" pos="6482">
          <p15:clr>
            <a:srgbClr val="F26B43"/>
          </p15:clr>
        </p15:guide>
        <p15:guide id="15" orient="horz" pos="6608">
          <p15:clr>
            <a:srgbClr val="F26B43"/>
          </p15:clr>
        </p15:guide>
        <p15:guide id="16" pos="126">
          <p15:clr>
            <a:srgbClr val="F26B43"/>
          </p15:clr>
        </p15:guide>
        <p15:guide id="17" pos="251">
          <p15:clr>
            <a:srgbClr val="F26B43"/>
          </p15:clr>
        </p15:guide>
        <p15:guide id="20" pos="2317">
          <p15:clr>
            <a:srgbClr val="F26B43"/>
          </p15:clr>
        </p15:guide>
        <p15:guide id="21" pos="2442">
          <p15:clr>
            <a:srgbClr val="F26B43"/>
          </p15:clr>
        </p15:guide>
        <p15:guide id="24" pos="4510">
          <p15:clr>
            <a:srgbClr val="F26B43"/>
          </p15:clr>
        </p15:guide>
        <p15:guide id="26" pos="46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256FD58-C73C-4936-9922-38E097964A05}"/>
              </a:ext>
            </a:extLst>
          </p:cNvPr>
          <p:cNvSpPr/>
          <p:nvPr userDrawn="1"/>
        </p:nvSpPr>
        <p:spPr>
          <a:xfrm>
            <a:off x="203202" y="5943071"/>
            <a:ext cx="2407044" cy="72598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399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22400" y="1749632"/>
            <a:ext cx="11347200" cy="3941053"/>
          </a:xfrm>
          <a:prstGeom prst="rect">
            <a:avLst/>
          </a:prstGeom>
        </p:spPr>
        <p:txBody>
          <a:bodyPr vert="horz" lIns="0" tIns="0" rIns="215995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E5FDB8AB-3411-4215-9B73-24863109F281}"/>
              </a:ext>
            </a:extLst>
          </p:cNvPr>
          <p:cNvGrpSpPr/>
          <p:nvPr userDrawn="1"/>
        </p:nvGrpSpPr>
        <p:grpSpPr>
          <a:xfrm>
            <a:off x="10629902" y="5690685"/>
            <a:ext cx="1562100" cy="1167316"/>
            <a:chOff x="7972425" y="4271965"/>
            <a:chExt cx="1171575" cy="876298"/>
          </a:xfrm>
        </p:grpSpPr>
        <p:pic>
          <p:nvPicPr>
            <p:cNvPr id="10" name="Picture 9" descr="NN_ppt_logo.png">
              <a:extLst>
                <a:ext uri="{FF2B5EF4-FFF2-40B4-BE49-F238E27FC236}">
                  <a16:creationId xmlns:a16="http://schemas.microsoft.com/office/drawing/2014/main" xmlns="" id="{FD7FCF18-E471-47F0-B28C-13E3DF30C08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0200" t="-31315" r="-45315" b="-51634"/>
            <a:stretch/>
          </p:blipFill>
          <p:spPr>
            <a:xfrm>
              <a:off x="7972425" y="4271965"/>
              <a:ext cx="1171575" cy="876298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0990FC8D-39D4-437E-BD06-A77BC1C4A610}"/>
                </a:ext>
              </a:extLst>
            </p:cNvPr>
            <p:cNvSpPr/>
            <p:nvPr userDrawn="1"/>
          </p:nvSpPr>
          <p:spPr>
            <a:xfrm>
              <a:off x="8101012" y="4368796"/>
              <a:ext cx="914400" cy="6667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2399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69CD123-F46E-4E3E-8A61-E911E1D667D2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423792"/>
            <a:ext cx="2748492" cy="154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29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6" r:id="rId23"/>
    <p:sldLayoutId id="2147483957" r:id="rId24"/>
    <p:sldLayoutId id="2147483958" r:id="rId25"/>
    <p:sldLayoutId id="2147483959" r:id="rId26"/>
    <p:sldLayoutId id="2147483960" r:id="rId27"/>
    <p:sldLayoutId id="2147483961" r:id="rId28"/>
    <p:sldLayoutId id="2147483962" r:id="rId2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1218012" rtl="0" eaLnBrk="1" latinLnBrk="0" hangingPunct="1">
        <a:spcBef>
          <a:spcPct val="0"/>
        </a:spcBef>
        <a:buNone/>
        <a:defRPr sz="3197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53139" indent="-353139" algn="l" defTabSz="1218012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2399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4735" indent="-361599" algn="l" defTabSz="1218012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2131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6334" indent="-361599" algn="l" defTabSz="1218012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865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3170" indent="-236837" algn="l" defTabSz="1218012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5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4766" indent="-245294" algn="l" defTabSz="1218012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465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49531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58537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7544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6549" indent="-304503" algn="l" defTabSz="1218012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006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012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7017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6022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5029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4035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3040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2046" algn="l" defTabSz="1218012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3849F413-F251-44C4-B7BA-891C8AB4F5BF}" type="datetime3">
              <a:rPr lang="en-US" smtClean="0"/>
              <a:pPr/>
              <a:t>24 February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n.›</a:t>
            </a:fld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xmlns="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30BD45F-E3FD-4877-8E01-D258D6C49ED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61F8F4EB-98F9-49C6-AD23-0434FEEA7DAD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5461F43A-D29F-4117-83B4-78ECC6A90694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3885B838-2022-4A1F-A84B-BB1127E2EE43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AC6417FB-6B96-4CAA-9A61-CE3C8537933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88F2338E-050E-4997-B5FD-16609E6B05AC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65330914-84C1-4EFF-8088-9FF9153B21A3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0D9F1F0C-68CC-4F13-A58D-7D5850D6BABB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FCD1A103-17AC-4A34-8A1D-92E20B67C019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6D17E478-3C99-48E5-91A4-253FD970A08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xmlns="" id="{ACBDE3FC-87C8-4EA6-8040-812BA3745D76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xmlns="" id="{994EE5B0-B3FC-43D9-8B31-B03CA4819265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xmlns="" id="{71B943CE-F983-40CB-852B-B348DA0EECF9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xmlns="" id="{195AE9FF-57B5-4B28-95BD-65EB616F8339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xmlns="" id="{09C4273C-D9B3-4E1C-BECF-E403BC0FED81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xmlns="" id="{D61A9C98-DFAC-4C93-9FC3-FA4B7268AFD4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2738953D-847C-44BC-BB1D-3E35D57608D4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A85DD5C0-07B7-493F-ACD2-090488BDD5B6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xmlns="" id="{2D03EC4E-106A-492D-9392-E8DAE462F1BE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xmlns="" id="{20022031-21E7-4D6F-92EB-D2DDACC3013D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xmlns="" id="{0D8C0033-6DD1-44FA-8D1E-C266A6CB5E58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xmlns="" id="{5405C511-8E76-4F70-B418-D42EFC88B59C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xmlns="" id="{3A318B50-011A-4077-B856-5AA6365091AC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xmlns="" id="{6A2BCA5B-FE07-43B1-A4B7-31BD6164A6E4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xmlns="" id="{5C40FFBD-7783-45AC-8A2B-097F0420F8B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4CEBE773-5EE2-48C7-957B-8390AB5ACC07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xmlns="" id="{A88B1085-4452-48B2-ABE2-B39A1F2C8B5C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xmlns="" id="{35677462-D07F-483C-9C29-E04937D96970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xmlns="" id="{719982BD-DEFC-4091-A576-C424DBA3C4DD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xmlns="" id="{09DABF0B-9E1E-4C4B-B44A-B858D0F51253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xmlns="" id="{4C2D3A6A-66FD-4AEE-8C1E-B6E5EECF6AC4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xmlns="" id="{2D1F338B-CF9E-4B33-946A-4DB709760AF6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xmlns="" id="{C62DDC7A-A75D-47D1-8199-CF07F2BDFB07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xmlns="" id="{58B5BE77-B2A7-4D7F-8E0B-C3E954ED65B5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xmlns="" id="{FCFBBBC3-8FB6-4FAC-ADAD-D2D96E64A22C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xmlns="" id="{2C5A7DD2-B5CE-413A-9B54-583BA9EBCDFF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xmlns="" id="{D9461BA4-4B7F-4140-AC43-136B90730752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xmlns="" id="{DEB946CF-96A1-4659-9385-72D850C9C02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xmlns="" id="{742C5205-4F49-47AB-B503-BC7F63858642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xmlns="" id="{5B2DC920-B604-43E9-ADC1-B26167353D44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xmlns="" id="{419CE6B2-B4FC-4BBD-937B-2FAF2EC436EB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xmlns="" id="{24F744BF-7A2A-44A1-99AF-BF4D80F50B40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xmlns="" id="{4A561C12-BD2C-4ABE-9ACE-047842A9B253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xmlns="" id="{1F79B3EE-7015-44C0-B98B-D7976E3CC6C0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xmlns="" id="{55195DF3-05B5-49EC-8E2A-6D131BFB07E4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xmlns="" id="{6C7ACCBF-3785-451F-8D26-06EB8169ED29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xmlns="" id="{0DB1FB36-F0B8-4569-B24C-A7FE882E3A0D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xmlns="" id="{A16BF7E9-5EB1-4763-B3B3-B9BDDFCE9368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xmlns="" id="{B859330A-8EF0-4EC1-8579-E436CA633192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xmlns="" id="{28ADAA1F-5B13-4CA7-92F6-B9BD284DD1E1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xmlns="" id="{D063FCBC-0F82-4BF7-A4F3-63086372BCA1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xmlns="" id="{CE645546-D2AC-47E6-9FEE-B872688AACBC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xmlns="" id="{67D40869-4909-44AB-ADF7-F7E881C8F368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xmlns="" id="{135A9F82-A30E-49D6-85D5-F27123AF0F10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xmlns="" id="{95983F4E-3EE6-4BD7-AD35-C47ED01C5ED4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xmlns="" id="{F717EFA4-0ED4-4A46-9AFD-0F0A6E65D253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xmlns="" id="{6E85224F-39CC-4044-9201-BDF5309E250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xmlns="" id="{C5FFBE79-1CFF-48A7-9FA3-6763881AA963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xmlns="" id="{C7039B6D-AC56-40A5-858D-599754E1E0AD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xmlns="" id="{71018EC8-1FEE-415C-B1E0-DAFC251C6F4F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xmlns="" id="{33D0B803-F928-4AB8-9FA8-7A2550C65926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xmlns="" id="{A74BCB38-7D1D-4BB9-94CE-ADBDC5DAB010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xmlns="" id="{6E6BC775-1DC0-42CB-BA95-EB6F78CFD0FE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xmlns="" id="{95792BBB-2B34-4739-8C69-B66E64F8A279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xmlns="" id="{E8FDD868-6922-48B4-976C-6F9677663DAF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xmlns="" id="{E3A8AF86-B9FD-4654-82BA-248AF9D72F7C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xmlns="" id="{F1579785-2978-4428-A96D-6D6718940F9D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xmlns="" id="{0584FA97-4AB6-4A5E-91FB-95E9E602EA26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xmlns="" id="{A48EE25C-475F-4316-B6A2-011BEE3BCD9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xmlns="" id="{7E857FE4-C9A3-45B7-B041-66EE09495EEC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xmlns="" id="{9B5A1CBD-EB02-4B45-AF38-AAD0F53B4AD5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xmlns="" id="{B80B4760-EF40-4F2E-9A91-131FFC1E37B4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xmlns="" id="{8E8A7F77-3721-4815-B970-1D077CD2DA75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xmlns="" id="{55C42CA1-292D-4FB8-8399-74D1AD374EB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xmlns="" id="{76F4910F-0223-4A58-B2B3-CC1032CA6A96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xmlns="" id="{309CA6FE-3AA4-4E04-82CE-33A9467E0E6A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xmlns="" id="{D3FAE458-E122-4E17-A2BB-860390DB639B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xmlns="" id="{09CCF6D6-3C14-49F1-9CCF-BB2BB02BA463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xmlns="" id="{89199ED3-108C-4CB1-85A2-7274AF6D76B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xmlns="" id="{F4889CBE-7887-46C6-99BA-4A154FF96016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xmlns="" id="{2714EDDA-63CD-4C57-BF1D-55D84EF7DA1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xmlns="" id="{5A4A540B-AB24-4508-BDE2-193816CE6C2F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xmlns="" id="{2E588317-42FC-4AFD-BF07-4EEAEA17B0FB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xmlns="" id="{409B9FF3-D5DB-4C25-942C-75E24E0BD588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xmlns="" id="{B34EB183-B95A-4A10-93F6-B2E688291320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xmlns="" id="{9445802B-D13B-4448-BCCA-EAC068866CD3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xmlns="" id="{C10B3B33-18E6-4256-821F-887D5B33BF81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xmlns="" id="{C76950B1-616E-4DAB-A1C9-C18FEC9C31D4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latin typeface="Apis For Office" panose="020B0504010101010104" pitchFamily="34" charset="0"/>
            </a:endParaRPr>
          </a:p>
        </p:txBody>
      </p:sp>
      <p:sp>
        <p:nvSpPr>
          <p:cNvPr id="115" name="Tagline" descr="{&quot;templafy&quot;:{&quot;id&quot;:&quot;1abbc6e5-7f90-4ec7-bd50-37662db4c5b8&quot;}}" title="Form.PLogoChoice.PLogoInsertion">
            <a:extLst>
              <a:ext uri="{FF2B5EF4-FFF2-40B4-BE49-F238E27FC236}">
                <a16:creationId xmlns:a16="http://schemas.microsoft.com/office/drawing/2014/main" xmlns="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49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  <p:sldLayoutId id="2147483998" r:id="rId21"/>
    <p:sldLayoutId id="2147483999" r:id="rId22"/>
    <p:sldLayoutId id="2147484000" r:id="rId23"/>
    <p:sldLayoutId id="2147484001" r:id="rId24"/>
    <p:sldLayoutId id="2147484002" r:id="rId25"/>
    <p:sldLayoutId id="2147484003" r:id="rId26"/>
    <p:sldLayoutId id="2147484004" r:id="rId27"/>
    <p:sldLayoutId id="2147484005" r:id="rId28"/>
    <p:sldLayoutId id="2147484006" r:id="rId29"/>
  </p:sldLayoutIdLst>
  <p:hf sldNum="0"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733" kern="1200">
          <a:solidFill>
            <a:schemeClr val="tx2"/>
          </a:solidFill>
          <a:latin typeface="Apis For Office" panose="020B0504010101010104" pitchFamily="34" charset="0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1429155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3335" y="1750486"/>
            <a:ext cx="11345333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5" y="687919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8480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5pPr>
      <a:lvl6pPr marL="60957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6pPr>
      <a:lvl7pPr marL="121914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7pPr>
      <a:lvl8pPr marL="1828709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8pPr>
      <a:lvl9pPr marL="2438278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9pPr>
    </p:titleStyle>
    <p:bodyStyle>
      <a:lvl1pPr marL="353466" indent="-353466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397" indent="-361934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30" indent="-361934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386" indent="-237055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17" indent="-245521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52">
          <p15:clr>
            <a:srgbClr val="000000"/>
          </p15:clr>
        </p15:guide>
        <p15:guide id="2" orient="horz" pos="755">
          <p15:clr>
            <a:srgbClr val="00000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3334" y="1750486"/>
            <a:ext cx="11345333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4" y="687918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150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9pPr>
    </p:titleStyle>
    <p:bodyStyle>
      <a:lvl1pPr marL="353475" indent="-35347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415" indent="-361942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57" indent="-361942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418" indent="-237061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58" indent="-245527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52">
          <p15:clr>
            <a:srgbClr val="000000"/>
          </p15:clr>
        </p15:guide>
        <p15:guide id="2" orient="horz" pos="755">
          <p15:clr>
            <a:srgbClr val="000000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510819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3335" y="1750488"/>
            <a:ext cx="11345333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5" y="687919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260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5pPr>
      <a:lvl6pPr marL="60957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6pPr>
      <a:lvl7pPr marL="121914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7pPr>
      <a:lvl8pPr marL="1828709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8pPr>
      <a:lvl9pPr marL="2438278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9pPr>
    </p:titleStyle>
    <p:bodyStyle>
      <a:lvl1pPr marL="353466" indent="-353466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397" indent="-361934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30" indent="-361934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386" indent="-237055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17" indent="-245521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52">
          <p15:clr>
            <a:srgbClr val="000000"/>
          </p15:clr>
        </p15:guide>
        <p15:guide id="2" orient="horz" pos="755">
          <p15:clr>
            <a:srgbClr val="000000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3334" y="1750485"/>
            <a:ext cx="11345333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23334" y="687918"/>
            <a:ext cx="1134533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2444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Verdana" pitchFamily="34" charset="0"/>
        </a:defRPr>
      </a:lvl9pPr>
    </p:titleStyle>
    <p:bodyStyle>
      <a:lvl1pPr marL="353475" indent="-353475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415" indent="-361942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57" indent="-361942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418" indent="-237061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58" indent="-245527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tiff"/><Relationship Id="rId1" Type="http://schemas.openxmlformats.org/officeDocument/2006/relationships/slideLayout" Target="../slideLayouts/slideLayout272.xml"/><Relationship Id="rId2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image" Target="../media/image21.tiff"/><Relationship Id="rId3" Type="http://schemas.openxmlformats.org/officeDocument/2006/relationships/image" Target="../media/image22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8.xml"/><Relationship Id="rId3" Type="http://schemas.openxmlformats.org/officeDocument/2006/relationships/image" Target="NUL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Relationship Id="rId3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Relationship Id="rId3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Relationship Id="rId2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3.xml"/><Relationship Id="rId2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Relationship Id="rId2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2.xml"/><Relationship Id="rId2" Type="http://schemas.openxmlformats.org/officeDocument/2006/relationships/notesSlide" Target="../notesSlides/notesSlide15.xml"/><Relationship Id="rId3" Type="http://schemas.openxmlformats.org/officeDocument/2006/relationships/image" Target="NUL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9.xml"/><Relationship Id="rId2" Type="http://schemas.openxmlformats.org/officeDocument/2006/relationships/notesSlide" Target="../notesSlides/notesSlide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9.xml"/><Relationship Id="rId2" Type="http://schemas.openxmlformats.org/officeDocument/2006/relationships/notesSlide" Target="../notesSlides/notesSlide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4.xml"/><Relationship Id="rId2" Type="http://schemas.openxmlformats.org/officeDocument/2006/relationships/notesSlide" Target="../notesSlides/notesSlide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Relationship Id="rId2" Type="http://schemas.openxmlformats.org/officeDocument/2006/relationships/notesSlide" Target="../notesSlides/notesSlide19.xml"/><Relationship Id="rId3" Type="http://schemas.openxmlformats.org/officeDocument/2006/relationships/image" Target="NUL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0.xml"/><Relationship Id="rId3" Type="http://schemas.openxmlformats.org/officeDocument/2006/relationships/image" Target="NUL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5.xml"/><Relationship Id="rId2" Type="http://schemas.openxmlformats.org/officeDocument/2006/relationships/image" Target="../media/image16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NULL"/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NULL"/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2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4.xml"/><Relationship Id="rId3" Type="http://schemas.openxmlformats.org/officeDocument/2006/relationships/image" Target="NUL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5.xml"/><Relationship Id="rId3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4" Type="http://schemas.microsoft.com/office/2007/relationships/hdphoto" Target="NULL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8.xml"/><Relationship Id="rId3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9.xml"/><Relationship Id="rId2" Type="http://schemas.openxmlformats.org/officeDocument/2006/relationships/image" Target="../media/image17.tiff"/><Relationship Id="rId3" Type="http://schemas.openxmlformats.org/officeDocument/2006/relationships/image" Target="../media/image18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9.xml"/><Relationship Id="rId2" Type="http://schemas.openxmlformats.org/officeDocument/2006/relationships/image" Target="../media/image19.tiff"/><Relationship Id="rId3" Type="http://schemas.openxmlformats.org/officeDocument/2006/relationships/image" Target="../media/image20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0.xml"/><Relationship Id="rId2" Type="http://schemas.openxmlformats.org/officeDocument/2006/relationships/notesSlide" Target="../notesSlides/notesSlide2.xml"/><Relationship Id="rId3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2">
            <a:extLst>
              <a:ext uri="{FF2B5EF4-FFF2-40B4-BE49-F238E27FC236}">
                <a16:creationId xmlns:a16="http://schemas.microsoft.com/office/drawing/2014/main" xmlns="" id="{B97CAEF2-EF4F-C253-CBF8-F51CBD2A8065}"/>
              </a:ext>
            </a:extLst>
          </p:cNvPr>
          <p:cNvSpPr txBox="1"/>
          <p:nvPr/>
        </p:nvSpPr>
        <p:spPr>
          <a:xfrm>
            <a:off x="9669519" y="27464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40">
              <a:defRPr/>
            </a:pPr>
            <a:endParaRPr lang="en-GB" sz="2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xmlns="" id="{B9B457F8-2C1C-9A29-68E0-347E137D43D2}"/>
              </a:ext>
            </a:extLst>
          </p:cNvPr>
          <p:cNvSpPr txBox="1"/>
          <p:nvPr/>
        </p:nvSpPr>
        <p:spPr>
          <a:xfrm>
            <a:off x="761043" y="5410025"/>
            <a:ext cx="246308" cy="252700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>
            <a:noAutofit/>
          </a:bodyPr>
          <a:lstStyle/>
          <a:p>
            <a:pPr defTabSz="1219140">
              <a:defRPr/>
            </a:pPr>
            <a:endParaRPr lang="en-GB" sz="2400" kern="0" dirty="0">
              <a:solidFill>
                <a:sysClr val="windowText" lastClr="000000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274473" y="5288933"/>
            <a:ext cx="973139" cy="1319212"/>
            <a:chOff x="122" y="82"/>
            <a:chExt cx="765" cy="1088"/>
          </a:xfrm>
        </p:grpSpPr>
        <p:sp>
          <p:nvSpPr>
            <p:cNvPr id="7" name="Rectangle 1056"/>
            <p:cNvSpPr>
              <a:spLocks noChangeArrowheads="1"/>
            </p:cNvSpPr>
            <p:nvPr/>
          </p:nvSpPr>
          <p:spPr bwMode="auto">
            <a:xfrm>
              <a:off x="122" y="82"/>
              <a:ext cx="765" cy="1088"/>
            </a:xfrm>
            <a:prstGeom prst="rect">
              <a:avLst/>
            </a:prstGeom>
            <a:noFill/>
            <a:ln w="63500">
              <a:solidFill>
                <a:srgbClr val="0000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Char char="•"/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Char char="–"/>
                <a:defRPr sz="2100">
                  <a:solidFill>
                    <a:schemeClr val="tx1"/>
                  </a:solidFill>
                  <a:latin typeface="Times New Roman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Char char="•"/>
                <a:defRPr>
                  <a:solidFill>
                    <a:schemeClr val="tx1"/>
                  </a:solidFill>
                  <a:latin typeface="Times New Roman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Char char="–"/>
                <a:defRPr sz="1500">
                  <a:solidFill>
                    <a:schemeClr val="tx1"/>
                  </a:solidFill>
                  <a:latin typeface="Times New Roman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Char char="•"/>
                <a:defRPr sz="1500">
                  <a:solidFill>
                    <a:schemeClr val="tx1"/>
                  </a:solidFill>
                  <a:latin typeface="Times New Roman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1500">
                  <a:solidFill>
                    <a:schemeClr val="tx1"/>
                  </a:solidFill>
                  <a:latin typeface="Times New Roman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1500">
                  <a:solidFill>
                    <a:schemeClr val="tx1"/>
                  </a:solidFill>
                  <a:latin typeface="Times New Roman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1500">
                  <a:solidFill>
                    <a:schemeClr val="tx1"/>
                  </a:solidFill>
                  <a:latin typeface="Times New Roman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15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defTabSz="914377">
                <a:spcBef>
                  <a:spcPct val="0"/>
                </a:spcBef>
                <a:buSzTx/>
                <a:buNone/>
              </a:pPr>
              <a:endParaRPr lang="it-IT" altLang="it-IT" sz="180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pic>
          <p:nvPicPr>
            <p:cNvPr id="8" name="Picture 1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" y="119"/>
              <a:ext cx="701" cy="10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6770" y="5261223"/>
            <a:ext cx="1331913" cy="143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448124" y="4946003"/>
            <a:ext cx="9296355" cy="131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0853" tIns="24983" rIns="50853" bIns="24983">
            <a:spAutoFit/>
          </a:bodyPr>
          <a:lstStyle>
            <a:lvl1pPr>
              <a:spcBef>
                <a:spcPct val="20000"/>
              </a:spcBef>
              <a:buSzPct val="100000"/>
              <a:buChar char="•"/>
              <a:defRPr sz="32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spcBef>
                <a:spcPct val="20000"/>
              </a:spcBef>
              <a:buSzPct val="100000"/>
              <a:buChar char="–"/>
              <a:defRPr sz="28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spcBef>
                <a:spcPct val="20000"/>
              </a:spcBef>
              <a:buSzPct val="100000"/>
              <a:buChar char="•"/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spcBef>
                <a:spcPct val="20000"/>
              </a:spcBef>
              <a:buSzPct val="100000"/>
              <a:buChar char="–"/>
              <a:defRPr sz="20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spcBef>
                <a:spcPct val="20000"/>
              </a:spcBef>
              <a:buSzPct val="100000"/>
              <a:buChar char="•"/>
              <a:defRPr sz="20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pPr algn="ctr" defTabSz="914377">
              <a:spcBef>
                <a:spcPct val="0"/>
              </a:spcBef>
              <a:buSzTx/>
              <a:buNone/>
              <a:defRPr/>
            </a:pPr>
            <a:r>
              <a:rPr lang="it-IT" altLang="it-IT" sz="2800" b="1" dirty="0">
                <a:solidFill>
                  <a:srgbClr val="000000"/>
                </a:solidFill>
                <a:latin typeface="Arial" charset="0"/>
              </a:rPr>
              <a:t>Gianluca Perseghin</a:t>
            </a:r>
          </a:p>
          <a:p>
            <a:pPr algn="ctr" defTabSz="914377">
              <a:spcBef>
                <a:spcPct val="0"/>
              </a:spcBef>
              <a:buSzTx/>
              <a:buNone/>
              <a:defRPr/>
            </a:pPr>
            <a:endParaRPr lang="it-IT" altLang="it-IT" sz="1800" b="1" dirty="0">
              <a:solidFill>
                <a:srgbClr val="000000"/>
              </a:solidFill>
              <a:latin typeface="Arial" charset="0"/>
            </a:endParaRPr>
          </a:p>
          <a:p>
            <a:pPr algn="ctr" defTabSz="914377">
              <a:spcBef>
                <a:spcPct val="0"/>
              </a:spcBef>
              <a:buSzTx/>
              <a:buNone/>
              <a:defRPr/>
            </a:pPr>
            <a:r>
              <a:rPr lang="it-IT" altLang="it-IT" sz="1800" b="1" dirty="0">
                <a:solidFill>
                  <a:srgbClr val="000000"/>
                </a:solidFill>
                <a:latin typeface="Arial" charset="0"/>
              </a:rPr>
              <a:t>Dipartimento di Medicina e Chirurgia - Università degli Studi di Milano Bicocca</a:t>
            </a:r>
          </a:p>
          <a:p>
            <a:pPr algn="ctr" defTabSz="914377">
              <a:spcBef>
                <a:spcPct val="0"/>
              </a:spcBef>
              <a:buSzTx/>
              <a:buNone/>
              <a:defRPr/>
            </a:pPr>
            <a:r>
              <a:rPr lang="it-IT" altLang="it-IT" sz="1800" b="1" dirty="0">
                <a:solidFill>
                  <a:srgbClr val="000000"/>
                </a:solidFill>
                <a:latin typeface="Arial" charset="0"/>
              </a:rPr>
              <a:t>Dipartimento di Medicina Interna e Riabilitazione - Policlinico di Monza, Monza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078" y="124015"/>
            <a:ext cx="3555887" cy="4783873"/>
          </a:xfrm>
          <a:prstGeom prst="rect">
            <a:avLst/>
          </a:prstGeom>
        </p:spPr>
      </p:pic>
      <p:sp>
        <p:nvSpPr>
          <p:cNvPr id="12" name="CasellaDiTesto 11"/>
          <p:cNvSpPr txBox="1"/>
          <p:nvPr/>
        </p:nvSpPr>
        <p:spPr>
          <a:xfrm>
            <a:off x="4177347" y="1536488"/>
            <a:ext cx="7572586" cy="16912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it-IT" sz="4800" b="1" dirty="0" err="1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Weight-regain</a:t>
            </a:r>
            <a:endParaRPr lang="it-IT" sz="4800" b="1" dirty="0" smtClean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ct val="120000"/>
              </a:lnSpc>
            </a:pPr>
            <a:r>
              <a:rPr lang="it-IT" sz="48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la gestione farmacologica</a:t>
            </a:r>
            <a:endParaRPr lang="it-IT" sz="4800" b="1" dirty="0" smtClean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07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ye P, et al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Surg. 2018;28(11):3553-3558.  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0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460806"/>
            <a:ext cx="10896002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Efficacy of Liraglutide 3.0 mg in Patients with Prior Bariatric Surgery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xmlns="" id="{C23C3DD9-3889-49AC-A28C-8A191AFD6D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395" t="18256" r="11949" b="8808"/>
          <a:stretch/>
        </p:blipFill>
        <p:spPr>
          <a:xfrm>
            <a:off x="5286075" y="1336144"/>
            <a:ext cx="6257926" cy="5068217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A7DDE3FC-FC68-4D61-8F7D-2AE8A5AE12B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8594" t="19722" r="52656" b="12536"/>
          <a:stretch/>
        </p:blipFill>
        <p:spPr>
          <a:xfrm>
            <a:off x="752774" y="1814497"/>
            <a:ext cx="4181176" cy="4111509"/>
          </a:xfrm>
          <a:prstGeom prst="rect">
            <a:avLst/>
          </a:prstGeom>
        </p:spPr>
      </p:pic>
      <p:sp>
        <p:nvSpPr>
          <p:cNvPr id="22" name="Text Placeholder 14">
            <a:extLst>
              <a:ext uri="{FF2B5EF4-FFF2-40B4-BE49-F238E27FC236}">
                <a16:creationId xmlns:a16="http://schemas.microsoft.com/office/drawing/2014/main" xmlns="" id="{E69E8211-2BC0-4703-890B-BFA69202DCA5}"/>
              </a:ext>
            </a:extLst>
          </p:cNvPr>
          <p:cNvSpPr txBox="1">
            <a:spLocks/>
          </p:cNvSpPr>
          <p:nvPr/>
        </p:nvSpPr>
        <p:spPr>
          <a:xfrm>
            <a:off x="439285" y="6209067"/>
            <a:ext cx="4943174" cy="324000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RYGB, </a:t>
            </a:r>
            <a:r>
              <a:rPr lang="en-GB" sz="800" i="1" dirty="0" err="1">
                <a:ea typeface="Verdana" panose="020B0604030504040204" pitchFamily="34" charset="0"/>
                <a:cs typeface="Verdana" panose="020B0604030504040204" pitchFamily="34" charset="0"/>
              </a:rPr>
              <a:t>roux-en-Y</a:t>
            </a: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 gastric bypass; LSG, laparoscopic sleeve gastrectomy; VBG, vertical banded gastroplasty; AGB adjustable gastric band.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xmlns="" id="{1ACBFB4B-61C7-4C5B-AAF9-18B089EEE216}"/>
              </a:ext>
            </a:extLst>
          </p:cNvPr>
          <p:cNvSpPr txBox="1"/>
          <p:nvPr/>
        </p:nvSpPr>
        <p:spPr>
          <a:xfrm>
            <a:off x="9121476" y="1336144"/>
            <a:ext cx="242252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1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Median weight at each time point</a:t>
            </a:r>
            <a:endParaRPr lang="en-GB" sz="11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xmlns="" id="{51BDB045-A21D-4369-8E51-A38B6084A379}"/>
              </a:ext>
            </a:extLst>
          </p:cNvPr>
          <p:cNvSpPr txBox="1"/>
          <p:nvPr/>
        </p:nvSpPr>
        <p:spPr>
          <a:xfrm>
            <a:off x="6715928" y="1656886"/>
            <a:ext cx="482807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tx2"/>
                </a:solidFill>
              </a:rPr>
              <a:t>50% </a:t>
            </a:r>
            <a:r>
              <a:rPr lang="en-GB" sz="1600" dirty="0">
                <a:solidFill>
                  <a:schemeClr val="tx2"/>
                </a:solidFill>
              </a:rPr>
              <a:t>of participants achieved a </a:t>
            </a:r>
            <a:r>
              <a:rPr lang="en-GB" sz="1600" b="1" dirty="0">
                <a:solidFill>
                  <a:schemeClr val="tx2"/>
                </a:solidFill>
              </a:rPr>
              <a:t>28-week weight</a:t>
            </a:r>
          </a:p>
          <a:p>
            <a:r>
              <a:rPr lang="en-GB" sz="1600" b="1" dirty="0">
                <a:solidFill>
                  <a:schemeClr val="tx2"/>
                </a:solidFill>
              </a:rPr>
              <a:t>lower</a:t>
            </a:r>
            <a:r>
              <a:rPr lang="en-GB" sz="1600" dirty="0">
                <a:solidFill>
                  <a:schemeClr val="tx2"/>
                </a:solidFill>
              </a:rPr>
              <a:t> than their </a:t>
            </a:r>
            <a:r>
              <a:rPr lang="en-GB" sz="1600" b="1" dirty="0">
                <a:solidFill>
                  <a:schemeClr val="tx2"/>
                </a:solidFill>
              </a:rPr>
              <a:t>nadir post-surgical weight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35" name="TextBox 51">
            <a:extLst>
              <a:ext uri="{FF2B5EF4-FFF2-40B4-BE49-F238E27FC236}">
                <a16:creationId xmlns:a16="http://schemas.microsoft.com/office/drawing/2014/main" xmlns="" id="{F2BB5275-9B83-43C9-B489-AB85EA906443}"/>
              </a:ext>
            </a:extLst>
          </p:cNvPr>
          <p:cNvSpPr txBox="1"/>
          <p:nvPr/>
        </p:nvSpPr>
        <p:spPr>
          <a:xfrm>
            <a:off x="8852009" y="4520932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7.1 %</a:t>
            </a:r>
          </a:p>
        </p:txBody>
      </p:sp>
      <p:sp>
        <p:nvSpPr>
          <p:cNvPr id="36" name="TextBox 51">
            <a:extLst>
              <a:ext uri="{FF2B5EF4-FFF2-40B4-BE49-F238E27FC236}">
                <a16:creationId xmlns:a16="http://schemas.microsoft.com/office/drawing/2014/main" xmlns="" id="{5CEB91C7-1049-44C6-9C85-15382F820D2D}"/>
              </a:ext>
            </a:extLst>
          </p:cNvPr>
          <p:cNvSpPr txBox="1"/>
          <p:nvPr/>
        </p:nvSpPr>
        <p:spPr>
          <a:xfrm>
            <a:off x="10005350" y="4617670"/>
            <a:ext cx="7793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9.7 %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xmlns="" id="{A62E07FC-A45C-4DC1-A995-C956AD919B25}"/>
              </a:ext>
            </a:extLst>
          </p:cNvPr>
          <p:cNvSpPr txBox="1"/>
          <p:nvPr/>
        </p:nvSpPr>
        <p:spPr>
          <a:xfrm>
            <a:off x="2177021" y="4384265"/>
            <a:ext cx="2158311" cy="693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GB" sz="9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(&gt; 10% weight regain from NADIR)</a:t>
            </a:r>
          </a:p>
          <a:p>
            <a:pPr algn="l">
              <a:lnSpc>
                <a:spcPct val="150000"/>
              </a:lnSpc>
            </a:pPr>
            <a:r>
              <a:rPr lang="en-GB" sz="90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(&lt; 20% weight loss)</a:t>
            </a:r>
          </a:p>
          <a:p>
            <a:pPr algn="l">
              <a:lnSpc>
                <a:spcPct val="150000"/>
              </a:lnSpc>
            </a:pPr>
            <a:r>
              <a:rPr lang="en-GB" sz="9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(patient</a:t>
            </a:r>
            <a:r>
              <a:rPr lang="en-GB" sz="90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 desire further weight loss)</a:t>
            </a:r>
            <a:endParaRPr lang="en-GB" sz="900" b="0" i="0" u="none" strike="noStrike" baseline="0" dirty="0">
              <a:solidFill>
                <a:srgbClr val="131413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8" name="Rettangolo con angoli arrotondati 37">
            <a:extLst>
              <a:ext uri="{FF2B5EF4-FFF2-40B4-BE49-F238E27FC236}">
                <a16:creationId xmlns:a16="http://schemas.microsoft.com/office/drawing/2014/main" xmlns="" id="{B346E5E0-07A2-4AB2-8274-B829B66E3C61}"/>
              </a:ext>
            </a:extLst>
          </p:cNvPr>
          <p:cNvSpPr/>
          <p:nvPr/>
        </p:nvSpPr>
        <p:spPr>
          <a:xfrm>
            <a:off x="712432" y="3116061"/>
            <a:ext cx="3892118" cy="1090179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9" name="Rettangolo con angoli arrotondati 38">
            <a:extLst>
              <a:ext uri="{FF2B5EF4-FFF2-40B4-BE49-F238E27FC236}">
                <a16:creationId xmlns:a16="http://schemas.microsoft.com/office/drawing/2014/main" xmlns="" id="{DBFE7D5E-F571-4160-B17C-B645CF1B23F9}"/>
              </a:ext>
            </a:extLst>
          </p:cNvPr>
          <p:cNvSpPr/>
          <p:nvPr/>
        </p:nvSpPr>
        <p:spPr>
          <a:xfrm>
            <a:off x="724199" y="4229550"/>
            <a:ext cx="3892118" cy="84806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xmlns="" id="{FFC7EF9E-3BD9-4C25-B97D-7415149C1BBB}"/>
              </a:ext>
            </a:extLst>
          </p:cNvPr>
          <p:cNvSpPr txBox="1"/>
          <p:nvPr/>
        </p:nvSpPr>
        <p:spPr>
          <a:xfrm>
            <a:off x="4181672" y="5528477"/>
            <a:ext cx="422878" cy="29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GB" sz="10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(6y)</a:t>
            </a:r>
          </a:p>
        </p:txBody>
      </p:sp>
    </p:spTree>
    <p:extLst>
      <p:ext uri="{BB962C8B-B14F-4D97-AF65-F5344CB8AC3E}">
        <p14:creationId xmlns:p14="http://schemas.microsoft.com/office/powerpoint/2010/main" val="26986946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CasellaDiTesto 119">
            <a:extLst>
              <a:ext uri="{FF2B5EF4-FFF2-40B4-BE49-F238E27FC236}">
                <a16:creationId xmlns:a16="http://schemas.microsoft.com/office/drawing/2014/main" xmlns="" id="{38D72088-E3CD-401C-8D5C-CCA3916CCA62}"/>
              </a:ext>
            </a:extLst>
          </p:cNvPr>
          <p:cNvSpPr txBox="1"/>
          <p:nvPr/>
        </p:nvSpPr>
        <p:spPr>
          <a:xfrm>
            <a:off x="-6926" y="6188136"/>
            <a:ext cx="12191999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orber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FF, et al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pub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20 Jul 21. Erratum in: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Surg. 2021;31(7):3386. 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1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8" y="380266"/>
            <a:ext cx="11221785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Liraglutide 3.0 mg or Surgical Revision in Long-Term Weight Regain After RYBG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xmlns="" id="{1BACC1F8-4518-4E4A-A7BF-6B6063F79DA4}"/>
              </a:ext>
            </a:extLst>
          </p:cNvPr>
          <p:cNvSpPr txBox="1"/>
          <p:nvPr/>
        </p:nvSpPr>
        <p:spPr>
          <a:xfrm>
            <a:off x="760241" y="1811683"/>
            <a:ext cx="2687359" cy="340519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95 patients underwent RYBG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9" name="Connettore a gomito 8">
            <a:extLst>
              <a:ext uri="{FF2B5EF4-FFF2-40B4-BE49-F238E27FC236}">
                <a16:creationId xmlns:a16="http://schemas.microsoft.com/office/drawing/2014/main" xmlns="" id="{2C0F7A90-0A09-407D-B1FE-A9237552E198}"/>
              </a:ext>
            </a:extLst>
          </p:cNvPr>
          <p:cNvCxnSpPr>
            <a:cxnSpLocks/>
            <a:endCxn id="25" idx="0"/>
          </p:cNvCxnSpPr>
          <p:nvPr/>
        </p:nvCxnSpPr>
        <p:spPr>
          <a:xfrm rot="5400000">
            <a:off x="835457" y="2267940"/>
            <a:ext cx="1261393" cy="104910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xmlns="" id="{0A4441E4-E0E2-400C-A50B-B64714E15072}"/>
              </a:ext>
            </a:extLst>
          </p:cNvPr>
          <p:cNvSpPr txBox="1"/>
          <p:nvPr/>
        </p:nvSpPr>
        <p:spPr>
          <a:xfrm>
            <a:off x="234033" y="3423188"/>
            <a:ext cx="1415137" cy="817245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&lt; 10% weight regain from NADIR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xmlns="" id="{7095E874-7987-427A-A3FC-D97901625B86}"/>
              </a:ext>
            </a:extLst>
          </p:cNvPr>
          <p:cNvSpPr txBox="1"/>
          <p:nvPr/>
        </p:nvSpPr>
        <p:spPr>
          <a:xfrm>
            <a:off x="302506" y="4774285"/>
            <a:ext cx="1278187" cy="817245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festyle counselling (n = 30)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xmlns="" id="{E8A7AA04-0865-4FB6-B72F-0A547AA513AD}"/>
              </a:ext>
            </a:extLst>
          </p:cNvPr>
          <p:cNvSpPr txBox="1"/>
          <p:nvPr/>
        </p:nvSpPr>
        <p:spPr>
          <a:xfrm>
            <a:off x="302505" y="5845564"/>
            <a:ext cx="1278187" cy="34051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months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xmlns="" id="{54BF79C6-F381-4E5B-84CD-351646DAD3A2}"/>
              </a:ext>
            </a:extLst>
          </p:cNvPr>
          <p:cNvCxnSpPr>
            <a:cxnSpLocks/>
            <a:stCxn id="25" idx="2"/>
            <a:endCxn id="40" idx="0"/>
          </p:cNvCxnSpPr>
          <p:nvPr/>
        </p:nvCxnSpPr>
        <p:spPr>
          <a:xfrm flipH="1">
            <a:off x="941600" y="4240433"/>
            <a:ext cx="2" cy="533852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2 45">
            <a:extLst>
              <a:ext uri="{FF2B5EF4-FFF2-40B4-BE49-F238E27FC236}">
                <a16:creationId xmlns:a16="http://schemas.microsoft.com/office/drawing/2014/main" xmlns="" id="{8FD032DB-37FF-4F58-964D-4C4E18919B56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 flipH="1">
            <a:off x="941599" y="5591530"/>
            <a:ext cx="1" cy="25403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a gomito 37">
            <a:extLst>
              <a:ext uri="{FF2B5EF4-FFF2-40B4-BE49-F238E27FC236}">
                <a16:creationId xmlns:a16="http://schemas.microsoft.com/office/drawing/2014/main" xmlns="" id="{6C83D6E3-693C-4E75-90C4-DA1268675AFF}"/>
              </a:ext>
            </a:extLst>
          </p:cNvPr>
          <p:cNvCxnSpPr>
            <a:cxnSpLocks/>
            <a:endCxn id="87" idx="0"/>
          </p:cNvCxnSpPr>
          <p:nvPr/>
        </p:nvCxnSpPr>
        <p:spPr>
          <a:xfrm rot="16200000" flipH="1">
            <a:off x="2784833" y="1409144"/>
            <a:ext cx="1290173" cy="277628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4">
            <a:extLst>
              <a:ext uri="{FF2B5EF4-FFF2-40B4-BE49-F238E27FC236}">
                <a16:creationId xmlns:a16="http://schemas.microsoft.com/office/drawing/2014/main" xmlns="" id="{87F27426-2C20-4445-A6FE-672798CBDA58}"/>
              </a:ext>
            </a:extLst>
          </p:cNvPr>
          <p:cNvSpPr txBox="1">
            <a:spLocks/>
          </p:cNvSpPr>
          <p:nvPr/>
        </p:nvSpPr>
        <p:spPr>
          <a:xfrm>
            <a:off x="10413257" y="6616220"/>
            <a:ext cx="1670303" cy="204705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RYGB, </a:t>
            </a:r>
            <a:r>
              <a:rPr lang="en-GB" sz="800" i="1" dirty="0" err="1">
                <a:ea typeface="Verdana" panose="020B0604030504040204" pitchFamily="34" charset="0"/>
                <a:cs typeface="Verdana" panose="020B0604030504040204" pitchFamily="34" charset="0"/>
              </a:rPr>
              <a:t>roux-en-Y</a:t>
            </a: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 gastric bypass.</a:t>
            </a:r>
          </a:p>
        </p:txBody>
      </p:sp>
      <p:sp>
        <p:nvSpPr>
          <p:cNvPr id="87" name="CasellaDiTesto 86">
            <a:extLst>
              <a:ext uri="{FF2B5EF4-FFF2-40B4-BE49-F238E27FC236}">
                <a16:creationId xmlns:a16="http://schemas.microsoft.com/office/drawing/2014/main" xmlns="" id="{1CC1E233-F155-46D0-A826-CBBF1CB5BC5B}"/>
              </a:ext>
            </a:extLst>
          </p:cNvPr>
          <p:cNvSpPr txBox="1"/>
          <p:nvPr/>
        </p:nvSpPr>
        <p:spPr>
          <a:xfrm>
            <a:off x="4110494" y="3442375"/>
            <a:ext cx="1415137" cy="817245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≥ 10% weight regain from NADIR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88" name="Connettore a gomito 87">
            <a:extLst>
              <a:ext uri="{FF2B5EF4-FFF2-40B4-BE49-F238E27FC236}">
                <a16:creationId xmlns:a16="http://schemas.microsoft.com/office/drawing/2014/main" xmlns="" id="{D19E5825-3E3C-49B7-B524-E14AC4BE336A}"/>
              </a:ext>
            </a:extLst>
          </p:cNvPr>
          <p:cNvCxnSpPr>
            <a:cxnSpLocks/>
            <a:stCxn id="87" idx="2"/>
            <a:endCxn id="89" idx="0"/>
          </p:cNvCxnSpPr>
          <p:nvPr/>
        </p:nvCxnSpPr>
        <p:spPr>
          <a:xfrm rot="5400000">
            <a:off x="3417104" y="3540405"/>
            <a:ext cx="681744" cy="212017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asellaDiTesto 88">
            <a:extLst>
              <a:ext uri="{FF2B5EF4-FFF2-40B4-BE49-F238E27FC236}">
                <a16:creationId xmlns:a16="http://schemas.microsoft.com/office/drawing/2014/main" xmlns="" id="{71895101-1EBB-4A42-A569-F6CFA3929622}"/>
              </a:ext>
            </a:extLst>
          </p:cNvPr>
          <p:cNvSpPr txBox="1"/>
          <p:nvPr/>
        </p:nvSpPr>
        <p:spPr>
          <a:xfrm>
            <a:off x="1754387" y="4941364"/>
            <a:ext cx="1887002" cy="57888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raglutide 3.0 mg (n = 34)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xmlns="" id="{758A9838-A736-4E4C-8425-14A771FA39C3}"/>
              </a:ext>
            </a:extLst>
          </p:cNvPr>
          <p:cNvSpPr txBox="1"/>
          <p:nvPr/>
        </p:nvSpPr>
        <p:spPr>
          <a:xfrm>
            <a:off x="3874924" y="4941364"/>
            <a:ext cx="1887002" cy="57888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pollo’s Overstitch System (n = 15)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91" name="CasellaDiTesto 90">
            <a:extLst>
              <a:ext uri="{FF2B5EF4-FFF2-40B4-BE49-F238E27FC236}">
                <a16:creationId xmlns:a16="http://schemas.microsoft.com/office/drawing/2014/main" xmlns="" id="{D494DFC3-677F-48B3-BFAC-D5C4312653D0}"/>
              </a:ext>
            </a:extLst>
          </p:cNvPr>
          <p:cNvSpPr txBox="1"/>
          <p:nvPr/>
        </p:nvSpPr>
        <p:spPr>
          <a:xfrm>
            <a:off x="5995461" y="4941364"/>
            <a:ext cx="1887002" cy="57888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400" dirty="0" err="1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obi</a:t>
            </a:r>
            <a:r>
              <a:rPr lang="en-GB" sz="140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-ring </a:t>
            </a:r>
          </a:p>
          <a:p>
            <a:pPr algn="ctr"/>
            <a:r>
              <a:rPr lang="en-GB" sz="140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(</a:t>
            </a:r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n = 16)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29" name="Connettore 2 28">
            <a:extLst>
              <a:ext uri="{FF2B5EF4-FFF2-40B4-BE49-F238E27FC236}">
                <a16:creationId xmlns:a16="http://schemas.microsoft.com/office/drawing/2014/main" xmlns="" id="{8EFD9244-782C-48AB-985B-E9C961396151}"/>
              </a:ext>
            </a:extLst>
          </p:cNvPr>
          <p:cNvCxnSpPr>
            <a:stCxn id="87" idx="2"/>
            <a:endCxn id="90" idx="0"/>
          </p:cNvCxnSpPr>
          <p:nvPr/>
        </p:nvCxnSpPr>
        <p:spPr>
          <a:xfrm>
            <a:off x="4818063" y="4259620"/>
            <a:ext cx="362" cy="68174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ttore a gomito 91">
            <a:extLst>
              <a:ext uri="{FF2B5EF4-FFF2-40B4-BE49-F238E27FC236}">
                <a16:creationId xmlns:a16="http://schemas.microsoft.com/office/drawing/2014/main" xmlns="" id="{E92545EB-1990-4E0E-9D4F-0E7A37BC8B9B}"/>
              </a:ext>
            </a:extLst>
          </p:cNvPr>
          <p:cNvCxnSpPr>
            <a:cxnSpLocks/>
            <a:stCxn id="87" idx="2"/>
            <a:endCxn id="91" idx="0"/>
          </p:cNvCxnSpPr>
          <p:nvPr/>
        </p:nvCxnSpPr>
        <p:spPr>
          <a:xfrm rot="16200000" flipH="1">
            <a:off x="5537640" y="3540042"/>
            <a:ext cx="681744" cy="212089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CasellaDiTesto 92">
            <a:extLst>
              <a:ext uri="{FF2B5EF4-FFF2-40B4-BE49-F238E27FC236}">
                <a16:creationId xmlns:a16="http://schemas.microsoft.com/office/drawing/2014/main" xmlns="" id="{A5CEE1AC-77F0-4A25-AA05-630E92893383}"/>
              </a:ext>
            </a:extLst>
          </p:cNvPr>
          <p:cNvSpPr txBox="1"/>
          <p:nvPr/>
        </p:nvSpPr>
        <p:spPr>
          <a:xfrm>
            <a:off x="2058794" y="5856439"/>
            <a:ext cx="1278187" cy="34051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months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94" name="Connettore 2 93">
            <a:extLst>
              <a:ext uri="{FF2B5EF4-FFF2-40B4-BE49-F238E27FC236}">
                <a16:creationId xmlns:a16="http://schemas.microsoft.com/office/drawing/2014/main" xmlns="" id="{3A282287-AC96-4107-877F-E2EA5FF04312}"/>
              </a:ext>
            </a:extLst>
          </p:cNvPr>
          <p:cNvCxnSpPr>
            <a:cxnSpLocks/>
            <a:stCxn id="89" idx="2"/>
            <a:endCxn id="93" idx="0"/>
          </p:cNvCxnSpPr>
          <p:nvPr/>
        </p:nvCxnSpPr>
        <p:spPr>
          <a:xfrm>
            <a:off x="2697888" y="5520246"/>
            <a:ext cx="0" cy="33619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asellaDiTesto 96">
            <a:extLst>
              <a:ext uri="{FF2B5EF4-FFF2-40B4-BE49-F238E27FC236}">
                <a16:creationId xmlns:a16="http://schemas.microsoft.com/office/drawing/2014/main" xmlns="" id="{DB4DAABE-B601-4A03-BE1C-44D46D4696B1}"/>
              </a:ext>
            </a:extLst>
          </p:cNvPr>
          <p:cNvSpPr txBox="1"/>
          <p:nvPr/>
        </p:nvSpPr>
        <p:spPr>
          <a:xfrm>
            <a:off x="4179331" y="5851407"/>
            <a:ext cx="1278187" cy="34051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months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98" name="Connettore 2 97">
            <a:extLst>
              <a:ext uri="{FF2B5EF4-FFF2-40B4-BE49-F238E27FC236}">
                <a16:creationId xmlns:a16="http://schemas.microsoft.com/office/drawing/2014/main" xmlns="" id="{5D9905E3-7FA5-4FF3-8D0C-BDDBDAFBACF2}"/>
              </a:ext>
            </a:extLst>
          </p:cNvPr>
          <p:cNvCxnSpPr>
            <a:cxnSpLocks/>
            <a:stCxn id="90" idx="2"/>
            <a:endCxn id="97" idx="0"/>
          </p:cNvCxnSpPr>
          <p:nvPr/>
        </p:nvCxnSpPr>
        <p:spPr>
          <a:xfrm>
            <a:off x="4818425" y="5520246"/>
            <a:ext cx="0" cy="331161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asellaDiTesto 98">
            <a:extLst>
              <a:ext uri="{FF2B5EF4-FFF2-40B4-BE49-F238E27FC236}">
                <a16:creationId xmlns:a16="http://schemas.microsoft.com/office/drawing/2014/main" xmlns="" id="{6F349767-F896-4DE8-A423-DBF7349D30AD}"/>
              </a:ext>
            </a:extLst>
          </p:cNvPr>
          <p:cNvSpPr txBox="1"/>
          <p:nvPr/>
        </p:nvSpPr>
        <p:spPr>
          <a:xfrm>
            <a:off x="6299868" y="5851406"/>
            <a:ext cx="1278187" cy="34051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months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100" name="Connettore 2 99">
            <a:extLst>
              <a:ext uri="{FF2B5EF4-FFF2-40B4-BE49-F238E27FC236}">
                <a16:creationId xmlns:a16="http://schemas.microsoft.com/office/drawing/2014/main" xmlns="" id="{CCB87D63-305A-48E9-8A34-36A969154B8A}"/>
              </a:ext>
            </a:extLst>
          </p:cNvPr>
          <p:cNvCxnSpPr>
            <a:cxnSpLocks/>
            <a:stCxn id="91" idx="2"/>
            <a:endCxn id="99" idx="0"/>
          </p:cNvCxnSpPr>
          <p:nvPr/>
        </p:nvCxnSpPr>
        <p:spPr>
          <a:xfrm>
            <a:off x="6938962" y="5520246"/>
            <a:ext cx="0" cy="33116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" name="Immagine 106">
            <a:extLst>
              <a:ext uri="{FF2B5EF4-FFF2-40B4-BE49-F238E27FC236}">
                <a16:creationId xmlns:a16="http://schemas.microsoft.com/office/drawing/2014/main" xmlns="" id="{401AA92D-95C3-4276-BD30-F520939109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 l="7857" t="17851" r="11429" b="48107"/>
          <a:stretch/>
        </p:blipFill>
        <p:spPr>
          <a:xfrm>
            <a:off x="4897286" y="1446202"/>
            <a:ext cx="7186274" cy="1704890"/>
          </a:xfrm>
          <a:prstGeom prst="rect">
            <a:avLst/>
          </a:prstGeom>
        </p:spPr>
      </p:pic>
      <p:sp>
        <p:nvSpPr>
          <p:cNvPr id="108" name="CasellaDiTesto 107">
            <a:extLst>
              <a:ext uri="{FF2B5EF4-FFF2-40B4-BE49-F238E27FC236}">
                <a16:creationId xmlns:a16="http://schemas.microsoft.com/office/drawing/2014/main" xmlns="" id="{76D8D696-1C0F-488B-8384-532E850F1C70}"/>
              </a:ext>
            </a:extLst>
          </p:cNvPr>
          <p:cNvSpPr txBox="1"/>
          <p:nvPr/>
        </p:nvSpPr>
        <p:spPr>
          <a:xfrm>
            <a:off x="1962553" y="2327994"/>
            <a:ext cx="1821459" cy="306467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2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9 ± 4 years post-op</a:t>
            </a:r>
            <a:endParaRPr lang="en-GB" sz="12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9" name="Rettangolo con angoli arrotondati 108">
            <a:extLst>
              <a:ext uri="{FF2B5EF4-FFF2-40B4-BE49-F238E27FC236}">
                <a16:creationId xmlns:a16="http://schemas.microsoft.com/office/drawing/2014/main" xmlns="" id="{3F0023F3-EABD-4E89-A74B-1E1108DE90A9}"/>
              </a:ext>
            </a:extLst>
          </p:cNvPr>
          <p:cNvSpPr/>
          <p:nvPr/>
        </p:nvSpPr>
        <p:spPr>
          <a:xfrm>
            <a:off x="7313934" y="1699728"/>
            <a:ext cx="783514" cy="139232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pic>
        <p:nvPicPr>
          <p:cNvPr id="110" name="Immagine 109">
            <a:extLst>
              <a:ext uri="{FF2B5EF4-FFF2-40B4-BE49-F238E27FC236}">
                <a16:creationId xmlns:a16="http://schemas.microsoft.com/office/drawing/2014/main" xmlns="" id="{606239FE-84DA-4296-B960-0C889BC1355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7857" t="62344" r="40681" b="18012"/>
          <a:stretch/>
        </p:blipFill>
        <p:spPr>
          <a:xfrm>
            <a:off x="6567433" y="3188691"/>
            <a:ext cx="5516127" cy="1184442"/>
          </a:xfrm>
          <a:prstGeom prst="rect">
            <a:avLst/>
          </a:prstGeom>
        </p:spPr>
      </p:pic>
      <p:sp>
        <p:nvSpPr>
          <p:cNvPr id="114" name="CasellaDiTesto 113">
            <a:extLst>
              <a:ext uri="{FF2B5EF4-FFF2-40B4-BE49-F238E27FC236}">
                <a16:creationId xmlns:a16="http://schemas.microsoft.com/office/drawing/2014/main" xmlns="" id="{43B4D393-15FC-452F-98C8-109CE28FE7ED}"/>
              </a:ext>
            </a:extLst>
          </p:cNvPr>
          <p:cNvSpPr txBox="1"/>
          <p:nvPr/>
        </p:nvSpPr>
        <p:spPr>
          <a:xfrm>
            <a:off x="8223276" y="4438053"/>
            <a:ext cx="3666218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37% </a:t>
            </a:r>
            <a:r>
              <a:rPr lang="en-GB" sz="16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f </a:t>
            </a:r>
            <a:r>
              <a:rPr lang="en-GB" sz="16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P patients </a:t>
            </a:r>
            <a:r>
              <a:rPr lang="en-GB" sz="16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xperienced </a:t>
            </a:r>
            <a:r>
              <a:rPr lang="en-GB" sz="16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erious complications </a:t>
            </a:r>
            <a:r>
              <a:rPr lang="en-GB" sz="16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s other groups (p &lt; 0.05)</a:t>
            </a:r>
          </a:p>
          <a:p>
            <a:pPr marL="531813" indent="-171450">
              <a:buFontTx/>
              <a:buChar char="-"/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ead to </a:t>
            </a:r>
            <a:r>
              <a:rPr lang="en-GB" sz="12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ospitalization</a:t>
            </a: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in 2 cases </a:t>
            </a:r>
          </a:p>
          <a:p>
            <a:pPr marL="531813" indent="-171450">
              <a:buFontTx/>
              <a:buChar char="-"/>
            </a:pPr>
            <a:r>
              <a:rPr lang="en-GB" sz="12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ndoscopic dilatation </a:t>
            </a: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f the upper anastomosis (up to 32 times) due to an inability to eat and vomi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16" name="CasellaDiTesto 115">
            <a:extLst>
              <a:ext uri="{FF2B5EF4-FFF2-40B4-BE49-F238E27FC236}">
                <a16:creationId xmlns:a16="http://schemas.microsoft.com/office/drawing/2014/main" xmlns="" id="{ADA648BF-83AB-46BC-B19B-0E03EFF7A5E1}"/>
              </a:ext>
            </a:extLst>
          </p:cNvPr>
          <p:cNvSpPr txBox="1"/>
          <p:nvPr/>
        </p:nvSpPr>
        <p:spPr>
          <a:xfrm>
            <a:off x="7978437" y="6177214"/>
            <a:ext cx="41051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Loss of regained weight from NADIR</a:t>
            </a:r>
          </a:p>
        </p:txBody>
      </p:sp>
      <p:sp>
        <p:nvSpPr>
          <p:cNvPr id="117" name="CasellaDiTesto 116">
            <a:extLst>
              <a:ext uri="{FF2B5EF4-FFF2-40B4-BE49-F238E27FC236}">
                <a16:creationId xmlns:a16="http://schemas.microsoft.com/office/drawing/2014/main" xmlns="" id="{812D1DC5-DEFB-4E40-9608-EA21EE5FF881}"/>
              </a:ext>
            </a:extLst>
          </p:cNvPr>
          <p:cNvSpPr txBox="1"/>
          <p:nvPr/>
        </p:nvSpPr>
        <p:spPr>
          <a:xfrm>
            <a:off x="2388093" y="6198909"/>
            <a:ext cx="559034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-87%*</a:t>
            </a:r>
            <a:r>
              <a:rPr lang="en-GB" dirty="0">
                <a:solidFill>
                  <a:schemeClr val="tx2"/>
                </a:solidFill>
              </a:rPr>
              <a:t>		     -20%</a:t>
            </a:r>
            <a:r>
              <a:rPr lang="en-GB" baseline="30000" dirty="0">
                <a:solidFill>
                  <a:schemeClr val="tx2"/>
                </a:solidFill>
              </a:rPr>
              <a:t>NS</a:t>
            </a:r>
            <a:r>
              <a:rPr lang="en-GB" dirty="0">
                <a:solidFill>
                  <a:schemeClr val="tx2"/>
                </a:solidFill>
              </a:rPr>
              <a:t>                        </a:t>
            </a:r>
            <a:r>
              <a:rPr lang="en-GB" b="1" dirty="0">
                <a:solidFill>
                  <a:schemeClr val="tx2"/>
                </a:solidFill>
              </a:rPr>
              <a:t>-85%*</a:t>
            </a:r>
          </a:p>
        </p:txBody>
      </p:sp>
      <p:sp>
        <p:nvSpPr>
          <p:cNvPr id="118" name="CasellaDiTesto 117">
            <a:extLst>
              <a:ext uri="{FF2B5EF4-FFF2-40B4-BE49-F238E27FC236}">
                <a16:creationId xmlns:a16="http://schemas.microsoft.com/office/drawing/2014/main" xmlns="" id="{6710D195-F48B-4588-A93D-6ED7D4A4816C}"/>
              </a:ext>
            </a:extLst>
          </p:cNvPr>
          <p:cNvSpPr txBox="1"/>
          <p:nvPr/>
        </p:nvSpPr>
        <p:spPr>
          <a:xfrm>
            <a:off x="619032" y="6178350"/>
            <a:ext cx="8911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+6%</a:t>
            </a:r>
            <a:r>
              <a:rPr lang="en-GB" baseline="30000" dirty="0">
                <a:solidFill>
                  <a:schemeClr val="tx2"/>
                </a:solidFill>
              </a:rPr>
              <a:t>NS</a:t>
            </a:r>
          </a:p>
        </p:txBody>
      </p:sp>
      <p:cxnSp>
        <p:nvCxnSpPr>
          <p:cNvPr id="36" name="Connettore diritto 35">
            <a:extLst>
              <a:ext uri="{FF2B5EF4-FFF2-40B4-BE49-F238E27FC236}">
                <a16:creationId xmlns:a16="http://schemas.microsoft.com/office/drawing/2014/main" xmlns="" id="{443D252D-3143-4D98-908C-71B677422524}"/>
              </a:ext>
            </a:extLst>
          </p:cNvPr>
          <p:cNvCxnSpPr>
            <a:cxnSpLocks/>
          </p:cNvCxnSpPr>
          <p:nvPr/>
        </p:nvCxnSpPr>
        <p:spPr>
          <a:xfrm>
            <a:off x="10057374" y="3402233"/>
            <a:ext cx="1909302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7454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  <p:bldP spid="109" grpId="0" animBg="1"/>
      <p:bldP spid="114" grpId="0"/>
      <p:bldP spid="116" grpId="0"/>
      <p:bldP spid="117" grpId="0"/>
      <p:bldP spid="1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CasellaDiTesto 49">
            <a:extLst>
              <a:ext uri="{FF2B5EF4-FFF2-40B4-BE49-F238E27FC236}">
                <a16:creationId xmlns:a16="http://schemas.microsoft.com/office/drawing/2014/main" xmlns="" id="{93C2EC31-80FB-4FFB-88DC-0C2CADEE311C}"/>
              </a:ext>
            </a:extLst>
          </p:cNvPr>
          <p:cNvSpPr txBox="1"/>
          <p:nvPr/>
        </p:nvSpPr>
        <p:spPr>
          <a:xfrm>
            <a:off x="11051889" y="3573580"/>
            <a:ext cx="591830" cy="23526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akur U, et al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Surg. 2021;31(1):84-92.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2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408553"/>
            <a:ext cx="11347200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LSG + liraglutide 3.0 mg for patients desiring further weight loss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xmlns="" id="{F06C0E97-9F48-4385-8DF6-E6E9EFD1DF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 l="28676" t="18979" r="26412" b="7100"/>
          <a:stretch/>
        </p:blipFill>
        <p:spPr>
          <a:xfrm>
            <a:off x="4936733" y="1192278"/>
            <a:ext cx="5916706" cy="5477732"/>
          </a:xfrm>
          <a:prstGeom prst="rect">
            <a:avLst/>
          </a:prstGeom>
        </p:spPr>
      </p:pic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xmlns="" id="{16D24D37-D7FE-48F0-B841-CC52D136E164}"/>
              </a:ext>
            </a:extLst>
          </p:cNvPr>
          <p:cNvSpPr/>
          <p:nvPr/>
        </p:nvSpPr>
        <p:spPr>
          <a:xfrm>
            <a:off x="4936734" y="3963418"/>
            <a:ext cx="5916706" cy="59782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xmlns="" id="{B1ECC75A-58EF-4456-ACDD-88208702F295}"/>
              </a:ext>
            </a:extLst>
          </p:cNvPr>
          <p:cNvSpPr/>
          <p:nvPr/>
        </p:nvSpPr>
        <p:spPr>
          <a:xfrm>
            <a:off x="4936733" y="5166512"/>
            <a:ext cx="5916706" cy="59782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xmlns="" id="{1BACC1F8-4518-4E4A-A7BF-6B6063F79DA4}"/>
              </a:ext>
            </a:extLst>
          </p:cNvPr>
          <p:cNvSpPr txBox="1"/>
          <p:nvPr/>
        </p:nvSpPr>
        <p:spPr>
          <a:xfrm>
            <a:off x="1114425" y="1925983"/>
            <a:ext cx="2687359" cy="646986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32 patients underwent LSG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xmlns="" id="{ADBD0DAF-9FE5-4B30-A61D-C32AE0945D07}"/>
              </a:ext>
            </a:extLst>
          </p:cNvPr>
          <p:cNvSpPr txBox="1">
            <a:spLocks/>
          </p:cNvSpPr>
          <p:nvPr/>
        </p:nvSpPr>
        <p:spPr>
          <a:xfrm>
            <a:off x="6165715" y="6269863"/>
            <a:ext cx="4943174" cy="324000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SG, laparoscopic sleeve gastrectomy</a:t>
            </a:r>
          </a:p>
        </p:txBody>
      </p:sp>
      <p:cxnSp>
        <p:nvCxnSpPr>
          <p:cNvPr id="9" name="Connettore a gomito 8">
            <a:extLst>
              <a:ext uri="{FF2B5EF4-FFF2-40B4-BE49-F238E27FC236}">
                <a16:creationId xmlns:a16="http://schemas.microsoft.com/office/drawing/2014/main" xmlns="" id="{2C0F7A90-0A09-407D-B1FE-A9237552E198}"/>
              </a:ext>
            </a:extLst>
          </p:cNvPr>
          <p:cNvCxnSpPr>
            <a:cxnSpLocks/>
            <a:stCxn id="21" idx="2"/>
            <a:endCxn id="25" idx="0"/>
          </p:cNvCxnSpPr>
          <p:nvPr/>
        </p:nvCxnSpPr>
        <p:spPr>
          <a:xfrm rot="5400000">
            <a:off x="1572543" y="2413663"/>
            <a:ext cx="726257" cy="1044868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xmlns="" id="{0A4441E4-E0E2-400C-A50B-B64714E15072}"/>
              </a:ext>
            </a:extLst>
          </p:cNvPr>
          <p:cNvSpPr txBox="1"/>
          <p:nvPr/>
        </p:nvSpPr>
        <p:spPr>
          <a:xfrm>
            <a:off x="661495" y="3299226"/>
            <a:ext cx="1503483" cy="374571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2 L-L group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xmlns="" id="{06B05841-4181-4D7C-B7A4-0AF535E44652}"/>
              </a:ext>
            </a:extLst>
          </p:cNvPr>
          <p:cNvSpPr txBox="1"/>
          <p:nvPr/>
        </p:nvSpPr>
        <p:spPr>
          <a:xfrm>
            <a:off x="2786488" y="3299225"/>
            <a:ext cx="1503483" cy="374571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1 L-P group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30" name="Connettore a gomito 29">
            <a:extLst>
              <a:ext uri="{FF2B5EF4-FFF2-40B4-BE49-F238E27FC236}">
                <a16:creationId xmlns:a16="http://schemas.microsoft.com/office/drawing/2014/main" xmlns="" id="{4C0D4681-1E77-4824-B76F-9E947AFB7FFE}"/>
              </a:ext>
            </a:extLst>
          </p:cNvPr>
          <p:cNvCxnSpPr>
            <a:cxnSpLocks/>
            <a:stCxn id="21" idx="2"/>
            <a:endCxn id="28" idx="0"/>
          </p:cNvCxnSpPr>
          <p:nvPr/>
        </p:nvCxnSpPr>
        <p:spPr>
          <a:xfrm rot="16200000" flipH="1">
            <a:off x="2635039" y="2396034"/>
            <a:ext cx="726256" cy="108012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asellaDiTesto 39">
            <a:extLst>
              <a:ext uri="{FF2B5EF4-FFF2-40B4-BE49-F238E27FC236}">
                <a16:creationId xmlns:a16="http://schemas.microsoft.com/office/drawing/2014/main" xmlns="" id="{7095E874-7987-427A-A3FC-D97901625B86}"/>
              </a:ext>
            </a:extLst>
          </p:cNvPr>
          <p:cNvSpPr txBox="1"/>
          <p:nvPr/>
        </p:nvSpPr>
        <p:spPr>
          <a:xfrm>
            <a:off x="773574" y="4002446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6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xmlns="" id="{E8A7AA04-0865-4FB6-B72F-0A547AA513AD}"/>
              </a:ext>
            </a:extLst>
          </p:cNvPr>
          <p:cNvSpPr txBox="1"/>
          <p:nvPr/>
        </p:nvSpPr>
        <p:spPr>
          <a:xfrm>
            <a:off x="773574" y="4692585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2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xmlns="" id="{7FD1A6C4-3C51-4E76-B758-D95175CE9806}"/>
              </a:ext>
            </a:extLst>
          </p:cNvPr>
          <p:cNvSpPr txBox="1"/>
          <p:nvPr/>
        </p:nvSpPr>
        <p:spPr>
          <a:xfrm>
            <a:off x="773574" y="5320159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xmlns="" id="{3E688987-CD99-4CED-A43B-3B0B06C571C8}"/>
              </a:ext>
            </a:extLst>
          </p:cNvPr>
          <p:cNvSpPr txBox="1"/>
          <p:nvPr/>
        </p:nvSpPr>
        <p:spPr>
          <a:xfrm>
            <a:off x="2903092" y="4006841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6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xmlns="" id="{A45BDD20-3902-4AAA-9732-CF7887272C6E}"/>
              </a:ext>
            </a:extLst>
          </p:cNvPr>
          <p:cNvSpPr txBox="1"/>
          <p:nvPr/>
        </p:nvSpPr>
        <p:spPr>
          <a:xfrm>
            <a:off x="2903092" y="4696980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2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xmlns="" id="{F0C5009F-2642-4B3F-87C9-29A184549812}"/>
              </a:ext>
            </a:extLst>
          </p:cNvPr>
          <p:cNvSpPr txBox="1"/>
          <p:nvPr/>
        </p:nvSpPr>
        <p:spPr>
          <a:xfrm>
            <a:off x="2903092" y="5324554"/>
            <a:ext cx="1278187" cy="374571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4 weeks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xmlns="" id="{54BF79C6-F381-4E5B-84CD-351646DAD3A2}"/>
              </a:ext>
            </a:extLst>
          </p:cNvPr>
          <p:cNvCxnSpPr>
            <a:cxnSpLocks/>
            <a:stCxn id="25" idx="2"/>
            <a:endCxn id="40" idx="0"/>
          </p:cNvCxnSpPr>
          <p:nvPr/>
        </p:nvCxnSpPr>
        <p:spPr>
          <a:xfrm flipH="1">
            <a:off x="1412668" y="3673797"/>
            <a:ext cx="569" cy="328649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2 45">
            <a:extLst>
              <a:ext uri="{FF2B5EF4-FFF2-40B4-BE49-F238E27FC236}">
                <a16:creationId xmlns:a16="http://schemas.microsoft.com/office/drawing/2014/main" xmlns="" id="{8FD032DB-37FF-4F58-964D-4C4E18919B56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>
            <a:off x="1412668" y="4377017"/>
            <a:ext cx="0" cy="31556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ttore 2 46">
            <a:extLst>
              <a:ext uri="{FF2B5EF4-FFF2-40B4-BE49-F238E27FC236}">
                <a16:creationId xmlns:a16="http://schemas.microsoft.com/office/drawing/2014/main" xmlns="" id="{42B0C25F-3773-4C36-ADC8-5206E39A683F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1412668" y="5067156"/>
            <a:ext cx="0" cy="25300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2 47">
            <a:extLst>
              <a:ext uri="{FF2B5EF4-FFF2-40B4-BE49-F238E27FC236}">
                <a16:creationId xmlns:a16="http://schemas.microsoft.com/office/drawing/2014/main" xmlns="" id="{02AAC411-D1CB-44A5-ACC1-7500CBE4AFE5}"/>
              </a:ext>
            </a:extLst>
          </p:cNvPr>
          <p:cNvCxnSpPr>
            <a:cxnSpLocks/>
            <a:stCxn id="28" idx="2"/>
            <a:endCxn id="43" idx="0"/>
          </p:cNvCxnSpPr>
          <p:nvPr/>
        </p:nvCxnSpPr>
        <p:spPr>
          <a:xfrm>
            <a:off x="3538230" y="3673796"/>
            <a:ext cx="3956" cy="333045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2 51">
            <a:extLst>
              <a:ext uri="{FF2B5EF4-FFF2-40B4-BE49-F238E27FC236}">
                <a16:creationId xmlns:a16="http://schemas.microsoft.com/office/drawing/2014/main" xmlns="" id="{E0224D08-0E1D-475E-B033-2EA9831EFA56}"/>
              </a:ext>
            </a:extLst>
          </p:cNvPr>
          <p:cNvCxnSpPr>
            <a:cxnSpLocks/>
            <a:stCxn id="43" idx="2"/>
            <a:endCxn id="44" idx="0"/>
          </p:cNvCxnSpPr>
          <p:nvPr/>
        </p:nvCxnSpPr>
        <p:spPr>
          <a:xfrm>
            <a:off x="3542186" y="4381412"/>
            <a:ext cx="0" cy="315568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ttore 2 54">
            <a:extLst>
              <a:ext uri="{FF2B5EF4-FFF2-40B4-BE49-F238E27FC236}">
                <a16:creationId xmlns:a16="http://schemas.microsoft.com/office/drawing/2014/main" xmlns="" id="{E6A28B55-E479-4C51-BC37-7B554839EFC4}"/>
              </a:ext>
            </a:extLst>
          </p:cNvPr>
          <p:cNvCxnSpPr>
            <a:cxnSpLocks/>
            <a:stCxn id="44" idx="2"/>
            <a:endCxn id="45" idx="0"/>
          </p:cNvCxnSpPr>
          <p:nvPr/>
        </p:nvCxnSpPr>
        <p:spPr>
          <a:xfrm>
            <a:off x="3542186" y="5071551"/>
            <a:ext cx="0" cy="253003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asellaDiTesto 58">
            <a:extLst>
              <a:ext uri="{FF2B5EF4-FFF2-40B4-BE49-F238E27FC236}">
                <a16:creationId xmlns:a16="http://schemas.microsoft.com/office/drawing/2014/main" xmlns="" id="{BBF64C5C-76C4-4201-901B-A003B2B4C328}"/>
              </a:ext>
            </a:extLst>
          </p:cNvPr>
          <p:cNvSpPr txBox="1"/>
          <p:nvPr/>
        </p:nvSpPr>
        <p:spPr>
          <a:xfrm>
            <a:off x="2359820" y="2587388"/>
            <a:ext cx="1821459" cy="340519"/>
          </a:xfrm>
          <a:prstGeom prst="round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6 weeks post-op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60" name="TextBox 51">
            <a:extLst>
              <a:ext uri="{FF2B5EF4-FFF2-40B4-BE49-F238E27FC236}">
                <a16:creationId xmlns:a16="http://schemas.microsoft.com/office/drawing/2014/main" xmlns="" id="{E7F51F54-D110-4F2B-9D75-9DC6B6188E4A}"/>
              </a:ext>
            </a:extLst>
          </p:cNvPr>
          <p:cNvSpPr txBox="1"/>
          <p:nvPr/>
        </p:nvSpPr>
        <p:spPr>
          <a:xfrm>
            <a:off x="11032653" y="3956535"/>
            <a:ext cx="6303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F9C3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2 %</a:t>
            </a:r>
          </a:p>
          <a:p>
            <a:pPr marR="0" lvl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b="1" dirty="0">
                <a:solidFill>
                  <a:srgbClr val="3F9C35"/>
                </a:solidFill>
                <a:latin typeface="Apis For Office"/>
              </a:rPr>
              <a:t>-2.9 %</a:t>
            </a:r>
          </a:p>
          <a:p>
            <a:pPr marR="0" lvl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b="1" dirty="0">
                <a:solidFill>
                  <a:srgbClr val="3F9C35"/>
                </a:solidFill>
                <a:latin typeface="Apis For Office"/>
              </a:rPr>
              <a:t>-5 %</a:t>
            </a:r>
          </a:p>
        </p:txBody>
      </p:sp>
      <p:sp>
        <p:nvSpPr>
          <p:cNvPr id="61" name="TextBox 51">
            <a:extLst>
              <a:ext uri="{FF2B5EF4-FFF2-40B4-BE49-F238E27FC236}">
                <a16:creationId xmlns:a16="http://schemas.microsoft.com/office/drawing/2014/main" xmlns="" id="{E92E158E-0FCC-470D-8D25-7CDF3170634B}"/>
              </a:ext>
            </a:extLst>
          </p:cNvPr>
          <p:cNvSpPr txBox="1"/>
          <p:nvPr/>
        </p:nvSpPr>
        <p:spPr>
          <a:xfrm>
            <a:off x="10988571" y="5163775"/>
            <a:ext cx="7184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F9C3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7 %</a:t>
            </a:r>
          </a:p>
          <a:p>
            <a:pPr marR="0" lvl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b="1" dirty="0">
                <a:solidFill>
                  <a:srgbClr val="3F9C35"/>
                </a:solidFill>
                <a:latin typeface="Apis For Office"/>
              </a:rPr>
              <a:t>-8.5 %</a:t>
            </a:r>
          </a:p>
          <a:p>
            <a:pPr marR="0" lvl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200" b="1" dirty="0">
                <a:solidFill>
                  <a:srgbClr val="3F9C35"/>
                </a:solidFill>
                <a:latin typeface="Apis For Office"/>
              </a:rPr>
              <a:t>-14.2 %</a:t>
            </a:r>
          </a:p>
        </p:txBody>
      </p:sp>
      <p:sp>
        <p:nvSpPr>
          <p:cNvPr id="62" name="Ovale 61">
            <a:extLst>
              <a:ext uri="{FF2B5EF4-FFF2-40B4-BE49-F238E27FC236}">
                <a16:creationId xmlns:a16="http://schemas.microsoft.com/office/drawing/2014/main" xmlns="" id="{0322B31A-D874-4333-B6F9-85BA24B64701}"/>
              </a:ext>
            </a:extLst>
          </p:cNvPr>
          <p:cNvSpPr/>
          <p:nvPr/>
        </p:nvSpPr>
        <p:spPr>
          <a:xfrm>
            <a:off x="10310045" y="5558000"/>
            <a:ext cx="514819" cy="206338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cxnSp>
        <p:nvCxnSpPr>
          <p:cNvPr id="58" name="Connettore diritto 57">
            <a:extLst>
              <a:ext uri="{FF2B5EF4-FFF2-40B4-BE49-F238E27FC236}">
                <a16:creationId xmlns:a16="http://schemas.microsoft.com/office/drawing/2014/main" xmlns="" id="{837BA753-E949-43CB-B2E4-C961DDCE728F}"/>
              </a:ext>
            </a:extLst>
          </p:cNvPr>
          <p:cNvCxnSpPr/>
          <p:nvPr/>
        </p:nvCxnSpPr>
        <p:spPr>
          <a:xfrm>
            <a:off x="4936733" y="6266634"/>
            <a:ext cx="234472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asellaDiTesto 65">
            <a:extLst>
              <a:ext uri="{FF2B5EF4-FFF2-40B4-BE49-F238E27FC236}">
                <a16:creationId xmlns:a16="http://schemas.microsoft.com/office/drawing/2014/main" xmlns="" id="{BDAA8C93-91EE-4702-836F-DC0B6FF0BDD4}"/>
              </a:ext>
            </a:extLst>
          </p:cNvPr>
          <p:cNvSpPr txBox="1"/>
          <p:nvPr/>
        </p:nvSpPr>
        <p:spPr>
          <a:xfrm>
            <a:off x="370678" y="5836114"/>
            <a:ext cx="20839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00% resolution of </a:t>
            </a:r>
            <a:r>
              <a:rPr lang="en-GB" sz="1400" b="0" i="0" u="none" strike="noStrike" baseline="0" dirty="0" err="1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glycemia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xmlns="" id="{F370B451-5ABF-411B-B7E6-832A143ED379}"/>
              </a:ext>
            </a:extLst>
          </p:cNvPr>
          <p:cNvSpPr txBox="1"/>
          <p:nvPr/>
        </p:nvSpPr>
        <p:spPr>
          <a:xfrm>
            <a:off x="2500196" y="5847859"/>
            <a:ext cx="20839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0" i="0" u="none" strike="noStrike" baseline="0" dirty="0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50% resolution of </a:t>
            </a:r>
            <a:r>
              <a:rPr lang="en-GB" sz="1400" b="0" i="0" u="none" strike="noStrike" baseline="0" dirty="0" err="1">
                <a:solidFill>
                  <a:srgbClr val="13141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glycemia</a:t>
            </a:r>
            <a:endParaRPr lang="en-GB" sz="1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68" name="Connettore 2 67">
            <a:extLst>
              <a:ext uri="{FF2B5EF4-FFF2-40B4-BE49-F238E27FC236}">
                <a16:creationId xmlns:a16="http://schemas.microsoft.com/office/drawing/2014/main" xmlns="" id="{DE9570A5-F441-4156-B893-490DA4890B13}"/>
              </a:ext>
            </a:extLst>
          </p:cNvPr>
          <p:cNvCxnSpPr>
            <a:cxnSpLocks/>
            <a:stCxn id="45" idx="2"/>
            <a:endCxn id="67" idx="0"/>
          </p:cNvCxnSpPr>
          <p:nvPr/>
        </p:nvCxnSpPr>
        <p:spPr>
          <a:xfrm flipH="1">
            <a:off x="3542185" y="5699125"/>
            <a:ext cx="1" cy="14873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ttore 2 71">
            <a:extLst>
              <a:ext uri="{FF2B5EF4-FFF2-40B4-BE49-F238E27FC236}">
                <a16:creationId xmlns:a16="http://schemas.microsoft.com/office/drawing/2014/main" xmlns="" id="{66110500-F8A2-46BF-8453-9F411CD71DF4}"/>
              </a:ext>
            </a:extLst>
          </p:cNvPr>
          <p:cNvCxnSpPr>
            <a:cxnSpLocks/>
            <a:stCxn id="42" idx="2"/>
            <a:endCxn id="66" idx="0"/>
          </p:cNvCxnSpPr>
          <p:nvPr/>
        </p:nvCxnSpPr>
        <p:spPr>
          <a:xfrm flipH="1">
            <a:off x="1412667" y="5694730"/>
            <a:ext cx="1" cy="141384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51">
            <a:extLst>
              <a:ext uri="{FF2B5EF4-FFF2-40B4-BE49-F238E27FC236}">
                <a16:creationId xmlns:a16="http://schemas.microsoft.com/office/drawing/2014/main" xmlns="" id="{4758620B-4514-47EC-9A7B-37B032ECE407}"/>
              </a:ext>
            </a:extLst>
          </p:cNvPr>
          <p:cNvSpPr txBox="1"/>
          <p:nvPr/>
        </p:nvSpPr>
        <p:spPr>
          <a:xfrm>
            <a:off x="11095169" y="3658815"/>
            <a:ext cx="5052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FWL</a:t>
            </a:r>
            <a:endParaRPr lang="en-GB" sz="1200" b="1" dirty="0">
              <a:solidFill>
                <a:srgbClr val="3F9C35"/>
              </a:solidFill>
              <a:latin typeface="Apis For Office"/>
            </a:endParaRPr>
          </a:p>
        </p:txBody>
      </p:sp>
      <p:sp>
        <p:nvSpPr>
          <p:cNvPr id="39" name="TextBox 51">
            <a:extLst>
              <a:ext uri="{FF2B5EF4-FFF2-40B4-BE49-F238E27FC236}">
                <a16:creationId xmlns:a16="http://schemas.microsoft.com/office/drawing/2014/main" xmlns="" id="{768A6164-61B7-4ACE-BE87-97EFE3BB306E}"/>
              </a:ext>
            </a:extLst>
          </p:cNvPr>
          <p:cNvSpPr txBox="1"/>
          <p:nvPr/>
        </p:nvSpPr>
        <p:spPr>
          <a:xfrm>
            <a:off x="11051888" y="4871928"/>
            <a:ext cx="5918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>
              <a:defRPr/>
            </a:pPr>
            <a:r>
              <a:rPr lang="it-IT" sz="1200" b="1" dirty="0">
                <a:solidFill>
                  <a:srgbClr val="001965"/>
                </a:solidFill>
                <a:latin typeface="Apis For Office"/>
              </a:rPr>
              <a:t>F</a:t>
            </a:r>
            <a:r>
              <a:rPr lang="en-GB" sz="1200" b="1" dirty="0">
                <a:solidFill>
                  <a:srgbClr val="001965"/>
                </a:solidFill>
                <a:latin typeface="Apis For Office"/>
              </a:rPr>
              <a:t>EWL</a:t>
            </a:r>
            <a:endParaRPr lang="en-GB" sz="1200" b="1" dirty="0">
              <a:solidFill>
                <a:srgbClr val="3F9C35"/>
              </a:solidFill>
              <a:latin typeface="Apis For Office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>
              <a:solidFill>
                <a:srgbClr val="3F9C35"/>
              </a:solidFill>
              <a:latin typeface="Apis For Office"/>
            </a:endParaRPr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xmlns="" id="{9BA8AE76-8877-41AF-A6B7-CE98352E5D6F}"/>
              </a:ext>
            </a:extLst>
          </p:cNvPr>
          <p:cNvSpPr txBox="1">
            <a:spLocks/>
          </p:cNvSpPr>
          <p:nvPr/>
        </p:nvSpPr>
        <p:spPr>
          <a:xfrm>
            <a:off x="9330198" y="6084080"/>
            <a:ext cx="2815277" cy="363147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FWL, further weight loss; FEWL, further excess weight loss</a:t>
            </a:r>
          </a:p>
        </p:txBody>
      </p:sp>
    </p:spTree>
    <p:extLst>
      <p:ext uri="{BB962C8B-B14F-4D97-AF65-F5344CB8AC3E}">
        <p14:creationId xmlns:p14="http://schemas.microsoft.com/office/powerpoint/2010/main" val="25996114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6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965"/>
            <a:ext cx="6866878" cy="2433664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758913"/>
            <a:ext cx="12192000" cy="3325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93862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xmlns="" id="{9CA7250C-6742-4145-BF48-C6B6234F1517}"/>
              </a:ext>
            </a:extLst>
          </p:cNvPr>
          <p:cNvSpPr/>
          <p:nvPr/>
        </p:nvSpPr>
        <p:spPr>
          <a:xfrm>
            <a:off x="6753374" y="1778577"/>
            <a:ext cx="4900597" cy="474650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sz="2489">
              <a:solidFill>
                <a:srgbClr val="FFFFFF"/>
              </a:solidFill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954019-50C3-4F1B-AF38-C16B6EEA3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200" y="69701"/>
            <a:ext cx="10896000" cy="732954"/>
          </a:xfrm>
        </p:spPr>
        <p:txBody>
          <a:bodyPr/>
          <a:lstStyle/>
          <a:p>
            <a:pPr algn="ctr"/>
            <a:r>
              <a:rPr lang="en-CA" sz="40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Obesity is a </a:t>
            </a:r>
            <a:r>
              <a:rPr lang="en-CA" sz="40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relapsing </a:t>
            </a:r>
            <a:r>
              <a:rPr lang="en-CA" sz="4000" b="1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disease</a:t>
            </a:r>
            <a:endParaRPr lang="en-GB" sz="40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xmlns="" id="{B38400D4-2D75-4845-A5F8-A55DB91BCF25}"/>
              </a:ext>
            </a:extLst>
          </p:cNvPr>
          <p:cNvSpPr/>
          <p:nvPr/>
        </p:nvSpPr>
        <p:spPr>
          <a:xfrm>
            <a:off x="7081877" y="5481588"/>
            <a:ext cx="4432873" cy="88081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8000" bIns="288000" rtlCol="0" anchor="ctr"/>
          <a:lstStyle/>
          <a:p>
            <a:pPr>
              <a:defRPr/>
            </a:pPr>
            <a:r>
              <a:rPr lang="en-US" sz="2489" b="1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rPr>
              <a:t>Weight regain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xmlns="" id="{042342BF-92E3-4A29-96D4-6BC325B9D8B5}"/>
              </a:ext>
            </a:extLst>
          </p:cNvPr>
          <p:cNvSpPr/>
          <p:nvPr/>
        </p:nvSpPr>
        <p:spPr>
          <a:xfrm>
            <a:off x="6997716" y="2827275"/>
            <a:ext cx="4517035" cy="88081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8000" bIns="288000" rtlCol="0" anchor="ctr"/>
          <a:lstStyle/>
          <a:p>
            <a:pPr>
              <a:defRPr/>
            </a:pPr>
            <a:r>
              <a:rPr lang="en-US" sz="2489" b="1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rPr>
              <a:t>Weight loss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xmlns="" id="{86223071-1513-4AAA-9881-0A4E39571A55}"/>
              </a:ext>
            </a:extLst>
          </p:cNvPr>
          <p:cNvGrpSpPr/>
          <p:nvPr/>
        </p:nvGrpSpPr>
        <p:grpSpPr>
          <a:xfrm>
            <a:off x="9755552" y="2917760"/>
            <a:ext cx="1508465" cy="699840"/>
            <a:chOff x="6294576" y="1200150"/>
            <a:chExt cx="2137234" cy="1043674"/>
          </a:xfrm>
          <a:effectLst>
            <a:outerShdw blurRad="50800" dist="38100" dir="5400000" algn="t" rotWithShape="0">
              <a:prstClr val="black">
                <a:alpha val="34000"/>
              </a:prstClr>
            </a:outerShdw>
          </a:effectLst>
        </p:grpSpPr>
        <p:sp>
          <p:nvSpPr>
            <p:cNvPr id="99" name="Freeform 14">
              <a:extLst>
                <a:ext uri="{FF2B5EF4-FFF2-40B4-BE49-F238E27FC236}">
                  <a16:creationId xmlns:a16="http://schemas.microsoft.com/office/drawing/2014/main" xmlns="" id="{3AE26095-8BAF-434A-80A0-135173977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576" y="1200150"/>
              <a:ext cx="2137234" cy="832353"/>
            </a:xfrm>
            <a:custGeom>
              <a:avLst/>
              <a:gdLst>
                <a:gd name="T0" fmla="*/ 1363 w 1372"/>
                <a:gd name="T1" fmla="*/ 427 h 533"/>
                <a:gd name="T2" fmla="*/ 686 w 1372"/>
                <a:gd name="T3" fmla="*/ 0 h 533"/>
                <a:gd name="T4" fmla="*/ 9 w 1372"/>
                <a:gd name="T5" fmla="*/ 427 h 533"/>
                <a:gd name="T6" fmla="*/ 29 w 1372"/>
                <a:gd name="T7" fmla="*/ 476 h 533"/>
                <a:gd name="T8" fmla="*/ 166 w 1372"/>
                <a:gd name="T9" fmla="*/ 533 h 533"/>
                <a:gd name="T10" fmla="*/ 686 w 1372"/>
                <a:gd name="T11" fmla="*/ 186 h 533"/>
                <a:gd name="T12" fmla="*/ 1207 w 1372"/>
                <a:gd name="T13" fmla="*/ 533 h 533"/>
                <a:gd name="T14" fmla="*/ 1343 w 1372"/>
                <a:gd name="T15" fmla="*/ 476 h 533"/>
                <a:gd name="T16" fmla="*/ 1363 w 1372"/>
                <a:gd name="T17" fmla="*/ 42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2" h="533">
                  <a:moveTo>
                    <a:pt x="1363" y="427"/>
                  </a:moveTo>
                  <a:cubicBezTo>
                    <a:pt x="1243" y="175"/>
                    <a:pt x="985" y="0"/>
                    <a:pt x="686" y="0"/>
                  </a:cubicBezTo>
                  <a:cubicBezTo>
                    <a:pt x="388" y="0"/>
                    <a:pt x="130" y="175"/>
                    <a:pt x="9" y="427"/>
                  </a:cubicBezTo>
                  <a:cubicBezTo>
                    <a:pt x="0" y="446"/>
                    <a:pt x="10" y="468"/>
                    <a:pt x="29" y="476"/>
                  </a:cubicBezTo>
                  <a:cubicBezTo>
                    <a:pt x="166" y="533"/>
                    <a:pt x="166" y="533"/>
                    <a:pt x="166" y="533"/>
                  </a:cubicBezTo>
                  <a:cubicBezTo>
                    <a:pt x="251" y="329"/>
                    <a:pt x="452" y="186"/>
                    <a:pt x="686" y="186"/>
                  </a:cubicBezTo>
                  <a:cubicBezTo>
                    <a:pt x="921" y="186"/>
                    <a:pt x="1122" y="329"/>
                    <a:pt x="1207" y="533"/>
                  </a:cubicBezTo>
                  <a:cubicBezTo>
                    <a:pt x="1343" y="476"/>
                    <a:pt x="1343" y="476"/>
                    <a:pt x="1343" y="476"/>
                  </a:cubicBezTo>
                  <a:cubicBezTo>
                    <a:pt x="1363" y="468"/>
                    <a:pt x="1372" y="446"/>
                    <a:pt x="1363" y="427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0" name="Freeform 15">
              <a:extLst>
                <a:ext uri="{FF2B5EF4-FFF2-40B4-BE49-F238E27FC236}">
                  <a16:creationId xmlns:a16="http://schemas.microsoft.com/office/drawing/2014/main" xmlns="" id="{683B09C1-0DDF-4FE3-8D84-DD66E6FDC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459" y="1470019"/>
              <a:ext cx="1658501" cy="562484"/>
            </a:xfrm>
            <a:custGeom>
              <a:avLst/>
              <a:gdLst>
                <a:gd name="T0" fmla="*/ 532 w 1065"/>
                <a:gd name="T1" fmla="*/ 0 h 360"/>
                <a:gd name="T2" fmla="*/ 0 w 1065"/>
                <a:gd name="T3" fmla="*/ 355 h 360"/>
                <a:gd name="T4" fmla="*/ 12 w 1065"/>
                <a:gd name="T5" fmla="*/ 360 h 360"/>
                <a:gd name="T6" fmla="*/ 532 w 1065"/>
                <a:gd name="T7" fmla="*/ 13 h 360"/>
                <a:gd name="T8" fmla="*/ 1053 w 1065"/>
                <a:gd name="T9" fmla="*/ 360 h 360"/>
                <a:gd name="T10" fmla="*/ 1065 w 1065"/>
                <a:gd name="T11" fmla="*/ 355 h 360"/>
                <a:gd name="T12" fmla="*/ 532 w 1065"/>
                <a:gd name="T13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5" h="360">
                  <a:moveTo>
                    <a:pt x="532" y="0"/>
                  </a:moveTo>
                  <a:cubicBezTo>
                    <a:pt x="293" y="0"/>
                    <a:pt x="87" y="147"/>
                    <a:pt x="0" y="355"/>
                  </a:cubicBezTo>
                  <a:cubicBezTo>
                    <a:pt x="12" y="360"/>
                    <a:pt x="12" y="360"/>
                    <a:pt x="12" y="360"/>
                  </a:cubicBezTo>
                  <a:cubicBezTo>
                    <a:pt x="97" y="156"/>
                    <a:pt x="298" y="13"/>
                    <a:pt x="532" y="13"/>
                  </a:cubicBezTo>
                  <a:cubicBezTo>
                    <a:pt x="767" y="13"/>
                    <a:pt x="968" y="156"/>
                    <a:pt x="1053" y="360"/>
                  </a:cubicBezTo>
                  <a:cubicBezTo>
                    <a:pt x="1065" y="355"/>
                    <a:pt x="1065" y="355"/>
                    <a:pt x="1065" y="355"/>
                  </a:cubicBezTo>
                  <a:cubicBezTo>
                    <a:pt x="978" y="147"/>
                    <a:pt x="772" y="0"/>
                    <a:pt x="532" y="0"/>
                  </a:cubicBezTo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D16048DC-6200-452C-AD4C-962FA76E8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3765" y="1481392"/>
              <a:ext cx="1633685" cy="699339"/>
            </a:xfrm>
            <a:custGeom>
              <a:avLst/>
              <a:gdLst>
                <a:gd name="connsiteX0" fmla="*/ 736356 w 2508250"/>
                <a:gd name="connsiteY0" fmla="*/ 103188 h 1073717"/>
                <a:gd name="connsiteX1" fmla="*/ 996950 w 2508250"/>
                <a:gd name="connsiteY1" fmla="*/ 733531 h 1073717"/>
                <a:gd name="connsiteX2" fmla="*/ 669415 w 2508250"/>
                <a:gd name="connsiteY2" fmla="*/ 1021139 h 1073717"/>
                <a:gd name="connsiteX3" fmla="*/ 547486 w 2508250"/>
                <a:gd name="connsiteY3" fmla="*/ 1066677 h 1073717"/>
                <a:gd name="connsiteX4" fmla="*/ 0 w 2508250"/>
                <a:gd name="connsiteY4" fmla="*/ 841384 h 1073717"/>
                <a:gd name="connsiteX5" fmla="*/ 736356 w 2508250"/>
                <a:gd name="connsiteY5" fmla="*/ 103188 h 1073717"/>
                <a:gd name="connsiteX6" fmla="*/ 1258094 w 2508250"/>
                <a:gd name="connsiteY6" fmla="*/ 0 h 1073717"/>
                <a:gd name="connsiteX7" fmla="*/ 1260486 w 2508250"/>
                <a:gd name="connsiteY7" fmla="*/ 0 h 1073717"/>
                <a:gd name="connsiteX8" fmla="*/ 1779588 w 2508250"/>
                <a:gd name="connsiteY8" fmla="*/ 103063 h 1073717"/>
                <a:gd name="connsiteX9" fmla="*/ 1779083 w 2508250"/>
                <a:gd name="connsiteY9" fmla="*/ 104290 h 1073717"/>
                <a:gd name="connsiteX10" fmla="*/ 1777890 w 2508250"/>
                <a:gd name="connsiteY10" fmla="*/ 107191 h 1073717"/>
                <a:gd name="connsiteX11" fmla="*/ 1890970 w 2508250"/>
                <a:gd name="connsiteY11" fmla="*/ 161155 h 1073717"/>
                <a:gd name="connsiteX12" fmla="*/ 2508250 w 2508250"/>
                <a:gd name="connsiteY12" fmla="*/ 841384 h 1073717"/>
                <a:gd name="connsiteX13" fmla="*/ 1960764 w 2508250"/>
                <a:gd name="connsiteY13" fmla="*/ 1066677 h 1073717"/>
                <a:gd name="connsiteX14" fmla="*/ 1838835 w 2508250"/>
                <a:gd name="connsiteY14" fmla="*/ 1021139 h 1073717"/>
                <a:gd name="connsiteX15" fmla="*/ 1511300 w 2508250"/>
                <a:gd name="connsiteY15" fmla="*/ 731134 h 1073717"/>
                <a:gd name="connsiteX16" fmla="*/ 1511804 w 2508250"/>
                <a:gd name="connsiteY16" fmla="*/ 729907 h 1073717"/>
                <a:gd name="connsiteX17" fmla="*/ 1512422 w 2508250"/>
                <a:gd name="connsiteY17" fmla="*/ 728405 h 1073717"/>
                <a:gd name="connsiteX18" fmla="*/ 1394448 w 2508250"/>
                <a:gd name="connsiteY18" fmla="*/ 693278 h 1073717"/>
                <a:gd name="connsiteX19" fmla="*/ 1260486 w 2508250"/>
                <a:gd name="connsiteY19" fmla="*/ 680695 h 1073717"/>
                <a:gd name="connsiteX20" fmla="*/ 997347 w 2508250"/>
                <a:gd name="connsiteY20" fmla="*/ 733425 h 1073717"/>
                <a:gd name="connsiteX21" fmla="*/ 736600 w 2508250"/>
                <a:gd name="connsiteY21" fmla="*/ 103063 h 1073717"/>
                <a:gd name="connsiteX22" fmla="*/ 1258094 w 2508250"/>
                <a:gd name="connsiteY22" fmla="*/ 0 h 1073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8250" h="1073717">
                  <a:moveTo>
                    <a:pt x="736356" y="103188"/>
                  </a:moveTo>
                  <a:cubicBezTo>
                    <a:pt x="736356" y="103188"/>
                    <a:pt x="736356" y="103188"/>
                    <a:pt x="996950" y="733531"/>
                  </a:cubicBezTo>
                  <a:cubicBezTo>
                    <a:pt x="858286" y="791052"/>
                    <a:pt x="743529" y="891715"/>
                    <a:pt x="669415" y="1021139"/>
                  </a:cubicBezTo>
                  <a:cubicBezTo>
                    <a:pt x="645507" y="1064281"/>
                    <a:pt x="592910" y="1085851"/>
                    <a:pt x="547486" y="1066677"/>
                  </a:cubicBezTo>
                  <a:cubicBezTo>
                    <a:pt x="547486" y="1066677"/>
                    <a:pt x="547486" y="1066677"/>
                    <a:pt x="0" y="841384"/>
                  </a:cubicBezTo>
                  <a:cubicBezTo>
                    <a:pt x="138665" y="508237"/>
                    <a:pt x="404040" y="242199"/>
                    <a:pt x="736356" y="103188"/>
                  </a:cubicBezTo>
                  <a:close/>
                  <a:moveTo>
                    <a:pt x="1258094" y="0"/>
                  </a:moveTo>
                  <a:cubicBezTo>
                    <a:pt x="1258094" y="0"/>
                    <a:pt x="1258094" y="0"/>
                    <a:pt x="1260486" y="0"/>
                  </a:cubicBezTo>
                  <a:cubicBezTo>
                    <a:pt x="1444684" y="0"/>
                    <a:pt x="1619312" y="35952"/>
                    <a:pt x="1779588" y="103063"/>
                  </a:cubicBezTo>
                  <a:cubicBezTo>
                    <a:pt x="1779588" y="103063"/>
                    <a:pt x="1779588" y="103063"/>
                    <a:pt x="1779083" y="104290"/>
                  </a:cubicBezTo>
                  <a:lnTo>
                    <a:pt x="1777890" y="107191"/>
                  </a:lnTo>
                  <a:lnTo>
                    <a:pt x="1890970" y="161155"/>
                  </a:lnTo>
                  <a:cubicBezTo>
                    <a:pt x="2166744" y="309757"/>
                    <a:pt x="2386919" y="549880"/>
                    <a:pt x="2508250" y="841384"/>
                  </a:cubicBezTo>
                  <a:cubicBezTo>
                    <a:pt x="2508250" y="841384"/>
                    <a:pt x="2508250" y="841384"/>
                    <a:pt x="1960764" y="1066677"/>
                  </a:cubicBezTo>
                  <a:cubicBezTo>
                    <a:pt x="1915340" y="1085851"/>
                    <a:pt x="1865134" y="1064281"/>
                    <a:pt x="1838835" y="1021139"/>
                  </a:cubicBezTo>
                  <a:cubicBezTo>
                    <a:pt x="1764721" y="891715"/>
                    <a:pt x="1649965" y="788656"/>
                    <a:pt x="1511300" y="731134"/>
                  </a:cubicBezTo>
                  <a:cubicBezTo>
                    <a:pt x="1511300" y="731134"/>
                    <a:pt x="1511300" y="731134"/>
                    <a:pt x="1511804" y="729907"/>
                  </a:cubicBezTo>
                  <a:lnTo>
                    <a:pt x="1512422" y="728405"/>
                  </a:lnTo>
                  <a:lnTo>
                    <a:pt x="1394448" y="693278"/>
                  </a:lnTo>
                  <a:cubicBezTo>
                    <a:pt x="1350791" y="684890"/>
                    <a:pt x="1305938" y="680695"/>
                    <a:pt x="1260486" y="680695"/>
                  </a:cubicBezTo>
                  <a:cubicBezTo>
                    <a:pt x="1167191" y="680695"/>
                    <a:pt x="1078681" y="697473"/>
                    <a:pt x="997347" y="733425"/>
                  </a:cubicBezTo>
                  <a:cubicBezTo>
                    <a:pt x="997347" y="733425"/>
                    <a:pt x="997347" y="733425"/>
                    <a:pt x="736600" y="103063"/>
                  </a:cubicBezTo>
                  <a:cubicBezTo>
                    <a:pt x="896876" y="35952"/>
                    <a:pt x="1073897" y="0"/>
                    <a:pt x="1258094" y="0"/>
                  </a:cubicBezTo>
                  <a:close/>
                </a:path>
              </a:pathLst>
            </a:custGeom>
            <a:gradFill>
              <a:gsLst>
                <a:gs pos="0">
                  <a:srgbClr val="E6553F"/>
                </a:gs>
                <a:gs pos="45000">
                  <a:srgbClr val="808080"/>
                </a:gs>
                <a:gs pos="37000">
                  <a:srgbClr val="E6553F"/>
                </a:gs>
                <a:gs pos="100000">
                  <a:srgbClr val="808080"/>
                </a:gs>
              </a:gsLst>
              <a:lin ang="20400000" scaled="0"/>
            </a:gradFill>
            <a:ln>
              <a:noFill/>
            </a:ln>
            <a:effectLst>
              <a:innerShdw blurRad="2159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2" name="Freeform 19">
              <a:extLst>
                <a:ext uri="{FF2B5EF4-FFF2-40B4-BE49-F238E27FC236}">
                  <a16:creationId xmlns:a16="http://schemas.microsoft.com/office/drawing/2014/main" xmlns="" id="{6C0BAC6A-6E08-40F9-B354-BD7A6ABEBAAB}"/>
                </a:ext>
              </a:extLst>
            </p:cNvPr>
            <p:cNvSpPr>
              <a:spLocks/>
            </p:cNvSpPr>
            <p:nvPr/>
          </p:nvSpPr>
          <p:spPr bwMode="auto">
            <a:xfrm rot="19669213">
              <a:off x="7170076" y="1541583"/>
              <a:ext cx="222306" cy="702241"/>
            </a:xfrm>
            <a:custGeom>
              <a:avLst/>
              <a:gdLst>
                <a:gd name="T0" fmla="*/ 0 w 143"/>
                <a:gd name="T1" fmla="*/ 576 h 647"/>
                <a:gd name="T2" fmla="*/ 1 w 143"/>
                <a:gd name="T3" fmla="*/ 568 h 647"/>
                <a:gd name="T4" fmla="*/ 1 w 143"/>
                <a:gd name="T5" fmla="*/ 568 h 647"/>
                <a:gd name="T6" fmla="*/ 65 w 143"/>
                <a:gd name="T7" fmla="*/ 6 h 647"/>
                <a:gd name="T8" fmla="*/ 71 w 143"/>
                <a:gd name="T9" fmla="*/ 0 h 647"/>
                <a:gd name="T10" fmla="*/ 78 w 143"/>
                <a:gd name="T11" fmla="*/ 6 h 647"/>
                <a:gd name="T12" fmla="*/ 142 w 143"/>
                <a:gd name="T13" fmla="*/ 568 h 647"/>
                <a:gd name="T14" fmla="*/ 142 w 143"/>
                <a:gd name="T15" fmla="*/ 568 h 647"/>
                <a:gd name="T16" fmla="*/ 143 w 143"/>
                <a:gd name="T17" fmla="*/ 576 h 647"/>
                <a:gd name="T18" fmla="*/ 71 w 143"/>
                <a:gd name="T19" fmla="*/ 647 h 647"/>
                <a:gd name="T20" fmla="*/ 0 w 143"/>
                <a:gd name="T21" fmla="*/ 576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647">
                  <a:moveTo>
                    <a:pt x="0" y="576"/>
                  </a:moveTo>
                  <a:cubicBezTo>
                    <a:pt x="0" y="573"/>
                    <a:pt x="0" y="571"/>
                    <a:pt x="1" y="568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1" y="568"/>
                    <a:pt x="50" y="132"/>
                    <a:pt x="65" y="6"/>
                  </a:cubicBezTo>
                  <a:cubicBezTo>
                    <a:pt x="65" y="2"/>
                    <a:pt x="69" y="0"/>
                    <a:pt x="71" y="0"/>
                  </a:cubicBezTo>
                  <a:cubicBezTo>
                    <a:pt x="74" y="0"/>
                    <a:pt x="77" y="2"/>
                    <a:pt x="78" y="6"/>
                  </a:cubicBezTo>
                  <a:cubicBezTo>
                    <a:pt x="92" y="132"/>
                    <a:pt x="142" y="568"/>
                    <a:pt x="142" y="568"/>
                  </a:cubicBezTo>
                  <a:cubicBezTo>
                    <a:pt x="142" y="568"/>
                    <a:pt x="142" y="568"/>
                    <a:pt x="142" y="568"/>
                  </a:cubicBezTo>
                  <a:cubicBezTo>
                    <a:pt x="142" y="571"/>
                    <a:pt x="143" y="573"/>
                    <a:pt x="143" y="576"/>
                  </a:cubicBezTo>
                  <a:cubicBezTo>
                    <a:pt x="143" y="615"/>
                    <a:pt x="111" y="647"/>
                    <a:pt x="71" y="647"/>
                  </a:cubicBezTo>
                  <a:cubicBezTo>
                    <a:pt x="32" y="647"/>
                    <a:pt x="0" y="615"/>
                    <a:pt x="0" y="57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23232">
                    <a:lumMod val="90000"/>
                    <a:lumOff val="10000"/>
                  </a:srgbClr>
                </a:gs>
                <a:gs pos="51000">
                  <a:srgbClr val="323232"/>
                </a:gs>
                <a:gs pos="50000">
                  <a:srgbClr val="323232">
                    <a:lumMod val="90000"/>
                    <a:lumOff val="10000"/>
                  </a:srgbClr>
                </a:gs>
                <a:gs pos="100000">
                  <a:srgbClr val="323232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xmlns="" id="{1F3A8F9F-8C29-434D-A03C-A904C52B53DE}"/>
              </a:ext>
            </a:extLst>
          </p:cNvPr>
          <p:cNvGrpSpPr/>
          <p:nvPr/>
        </p:nvGrpSpPr>
        <p:grpSpPr>
          <a:xfrm>
            <a:off x="9791272" y="5601014"/>
            <a:ext cx="1472744" cy="641961"/>
            <a:chOff x="696588" y="1200150"/>
            <a:chExt cx="2137234" cy="980581"/>
          </a:xfrm>
          <a:effectLst>
            <a:outerShdw blurRad="50800" dist="38100" dir="5400000" algn="t" rotWithShape="0">
              <a:prstClr val="black">
                <a:alpha val="26000"/>
              </a:prstClr>
            </a:outerShdw>
          </a:effectLst>
        </p:grpSpPr>
        <p:sp>
          <p:nvSpPr>
            <p:cNvPr id="107" name="Freeform 14">
              <a:extLst>
                <a:ext uri="{FF2B5EF4-FFF2-40B4-BE49-F238E27FC236}">
                  <a16:creationId xmlns:a16="http://schemas.microsoft.com/office/drawing/2014/main" xmlns="" id="{3538CDA8-16F3-4240-A50D-6940915BA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88" y="1200150"/>
              <a:ext cx="2137234" cy="832353"/>
            </a:xfrm>
            <a:custGeom>
              <a:avLst/>
              <a:gdLst>
                <a:gd name="T0" fmla="*/ 1363 w 1372"/>
                <a:gd name="T1" fmla="*/ 427 h 533"/>
                <a:gd name="T2" fmla="*/ 686 w 1372"/>
                <a:gd name="T3" fmla="*/ 0 h 533"/>
                <a:gd name="T4" fmla="*/ 9 w 1372"/>
                <a:gd name="T5" fmla="*/ 427 h 533"/>
                <a:gd name="T6" fmla="*/ 29 w 1372"/>
                <a:gd name="T7" fmla="*/ 476 h 533"/>
                <a:gd name="T8" fmla="*/ 166 w 1372"/>
                <a:gd name="T9" fmla="*/ 533 h 533"/>
                <a:gd name="T10" fmla="*/ 686 w 1372"/>
                <a:gd name="T11" fmla="*/ 186 h 533"/>
                <a:gd name="T12" fmla="*/ 1207 w 1372"/>
                <a:gd name="T13" fmla="*/ 533 h 533"/>
                <a:gd name="T14" fmla="*/ 1343 w 1372"/>
                <a:gd name="T15" fmla="*/ 476 h 533"/>
                <a:gd name="T16" fmla="*/ 1363 w 1372"/>
                <a:gd name="T17" fmla="*/ 427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2" h="533">
                  <a:moveTo>
                    <a:pt x="1363" y="427"/>
                  </a:moveTo>
                  <a:cubicBezTo>
                    <a:pt x="1243" y="175"/>
                    <a:pt x="985" y="0"/>
                    <a:pt x="686" y="0"/>
                  </a:cubicBezTo>
                  <a:cubicBezTo>
                    <a:pt x="388" y="0"/>
                    <a:pt x="130" y="175"/>
                    <a:pt x="9" y="427"/>
                  </a:cubicBezTo>
                  <a:cubicBezTo>
                    <a:pt x="0" y="446"/>
                    <a:pt x="10" y="468"/>
                    <a:pt x="29" y="476"/>
                  </a:cubicBezTo>
                  <a:cubicBezTo>
                    <a:pt x="166" y="533"/>
                    <a:pt x="166" y="533"/>
                    <a:pt x="166" y="533"/>
                  </a:cubicBezTo>
                  <a:cubicBezTo>
                    <a:pt x="251" y="329"/>
                    <a:pt x="452" y="186"/>
                    <a:pt x="686" y="186"/>
                  </a:cubicBezTo>
                  <a:cubicBezTo>
                    <a:pt x="921" y="186"/>
                    <a:pt x="1122" y="329"/>
                    <a:pt x="1207" y="533"/>
                  </a:cubicBezTo>
                  <a:cubicBezTo>
                    <a:pt x="1343" y="476"/>
                    <a:pt x="1343" y="476"/>
                    <a:pt x="1343" y="476"/>
                  </a:cubicBezTo>
                  <a:cubicBezTo>
                    <a:pt x="1363" y="468"/>
                    <a:pt x="1372" y="446"/>
                    <a:pt x="1363" y="427"/>
                  </a:cubicBezTo>
                </a:path>
              </a:pathLst>
            </a:custGeom>
            <a:solidFill>
              <a:srgbClr val="C8C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8" name="Freeform 15">
              <a:extLst>
                <a:ext uri="{FF2B5EF4-FFF2-40B4-BE49-F238E27FC236}">
                  <a16:creationId xmlns:a16="http://schemas.microsoft.com/office/drawing/2014/main" xmlns="" id="{D1C611F8-5FE7-4550-BE05-E48F134D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71" y="1470019"/>
              <a:ext cx="1658501" cy="562484"/>
            </a:xfrm>
            <a:custGeom>
              <a:avLst/>
              <a:gdLst>
                <a:gd name="T0" fmla="*/ 532 w 1065"/>
                <a:gd name="T1" fmla="*/ 0 h 360"/>
                <a:gd name="T2" fmla="*/ 0 w 1065"/>
                <a:gd name="T3" fmla="*/ 355 h 360"/>
                <a:gd name="T4" fmla="*/ 12 w 1065"/>
                <a:gd name="T5" fmla="*/ 360 h 360"/>
                <a:gd name="T6" fmla="*/ 532 w 1065"/>
                <a:gd name="T7" fmla="*/ 13 h 360"/>
                <a:gd name="T8" fmla="*/ 1053 w 1065"/>
                <a:gd name="T9" fmla="*/ 360 h 360"/>
                <a:gd name="T10" fmla="*/ 1065 w 1065"/>
                <a:gd name="T11" fmla="*/ 355 h 360"/>
                <a:gd name="T12" fmla="*/ 532 w 1065"/>
                <a:gd name="T13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5" h="360">
                  <a:moveTo>
                    <a:pt x="532" y="0"/>
                  </a:moveTo>
                  <a:cubicBezTo>
                    <a:pt x="293" y="0"/>
                    <a:pt x="87" y="147"/>
                    <a:pt x="0" y="355"/>
                  </a:cubicBezTo>
                  <a:cubicBezTo>
                    <a:pt x="12" y="360"/>
                    <a:pt x="12" y="360"/>
                    <a:pt x="12" y="360"/>
                  </a:cubicBezTo>
                  <a:cubicBezTo>
                    <a:pt x="97" y="156"/>
                    <a:pt x="298" y="13"/>
                    <a:pt x="532" y="13"/>
                  </a:cubicBezTo>
                  <a:cubicBezTo>
                    <a:pt x="767" y="13"/>
                    <a:pt x="968" y="156"/>
                    <a:pt x="1053" y="360"/>
                  </a:cubicBezTo>
                  <a:cubicBezTo>
                    <a:pt x="1065" y="355"/>
                    <a:pt x="1065" y="355"/>
                    <a:pt x="1065" y="355"/>
                  </a:cubicBezTo>
                  <a:cubicBezTo>
                    <a:pt x="978" y="147"/>
                    <a:pt x="772" y="0"/>
                    <a:pt x="532" y="0"/>
                  </a:cubicBezTo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8F693D25-62F2-4261-A109-FC840B2D8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777" y="1481392"/>
              <a:ext cx="1633685" cy="699339"/>
            </a:xfrm>
            <a:custGeom>
              <a:avLst/>
              <a:gdLst>
                <a:gd name="connsiteX0" fmla="*/ 736356 w 2508250"/>
                <a:gd name="connsiteY0" fmla="*/ 103188 h 1073717"/>
                <a:gd name="connsiteX1" fmla="*/ 996950 w 2508250"/>
                <a:gd name="connsiteY1" fmla="*/ 733531 h 1073717"/>
                <a:gd name="connsiteX2" fmla="*/ 669415 w 2508250"/>
                <a:gd name="connsiteY2" fmla="*/ 1021139 h 1073717"/>
                <a:gd name="connsiteX3" fmla="*/ 547486 w 2508250"/>
                <a:gd name="connsiteY3" fmla="*/ 1066677 h 1073717"/>
                <a:gd name="connsiteX4" fmla="*/ 0 w 2508250"/>
                <a:gd name="connsiteY4" fmla="*/ 841384 h 1073717"/>
                <a:gd name="connsiteX5" fmla="*/ 736356 w 2508250"/>
                <a:gd name="connsiteY5" fmla="*/ 103188 h 1073717"/>
                <a:gd name="connsiteX6" fmla="*/ 1258094 w 2508250"/>
                <a:gd name="connsiteY6" fmla="*/ 0 h 1073717"/>
                <a:gd name="connsiteX7" fmla="*/ 1260486 w 2508250"/>
                <a:gd name="connsiteY7" fmla="*/ 0 h 1073717"/>
                <a:gd name="connsiteX8" fmla="*/ 1779588 w 2508250"/>
                <a:gd name="connsiteY8" fmla="*/ 103063 h 1073717"/>
                <a:gd name="connsiteX9" fmla="*/ 1779083 w 2508250"/>
                <a:gd name="connsiteY9" fmla="*/ 104290 h 1073717"/>
                <a:gd name="connsiteX10" fmla="*/ 1777890 w 2508250"/>
                <a:gd name="connsiteY10" fmla="*/ 107191 h 1073717"/>
                <a:gd name="connsiteX11" fmla="*/ 1890970 w 2508250"/>
                <a:gd name="connsiteY11" fmla="*/ 161155 h 1073717"/>
                <a:gd name="connsiteX12" fmla="*/ 2508250 w 2508250"/>
                <a:gd name="connsiteY12" fmla="*/ 841384 h 1073717"/>
                <a:gd name="connsiteX13" fmla="*/ 1960764 w 2508250"/>
                <a:gd name="connsiteY13" fmla="*/ 1066677 h 1073717"/>
                <a:gd name="connsiteX14" fmla="*/ 1838835 w 2508250"/>
                <a:gd name="connsiteY14" fmla="*/ 1021139 h 1073717"/>
                <a:gd name="connsiteX15" fmla="*/ 1511300 w 2508250"/>
                <a:gd name="connsiteY15" fmla="*/ 731134 h 1073717"/>
                <a:gd name="connsiteX16" fmla="*/ 1511804 w 2508250"/>
                <a:gd name="connsiteY16" fmla="*/ 729907 h 1073717"/>
                <a:gd name="connsiteX17" fmla="*/ 1512422 w 2508250"/>
                <a:gd name="connsiteY17" fmla="*/ 728405 h 1073717"/>
                <a:gd name="connsiteX18" fmla="*/ 1394448 w 2508250"/>
                <a:gd name="connsiteY18" fmla="*/ 693278 h 1073717"/>
                <a:gd name="connsiteX19" fmla="*/ 1260486 w 2508250"/>
                <a:gd name="connsiteY19" fmla="*/ 680695 h 1073717"/>
                <a:gd name="connsiteX20" fmla="*/ 997347 w 2508250"/>
                <a:gd name="connsiteY20" fmla="*/ 733425 h 1073717"/>
                <a:gd name="connsiteX21" fmla="*/ 736600 w 2508250"/>
                <a:gd name="connsiteY21" fmla="*/ 103063 h 1073717"/>
                <a:gd name="connsiteX22" fmla="*/ 1258094 w 2508250"/>
                <a:gd name="connsiteY22" fmla="*/ 0 h 1073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08250" h="1073717">
                  <a:moveTo>
                    <a:pt x="736356" y="103188"/>
                  </a:moveTo>
                  <a:cubicBezTo>
                    <a:pt x="736356" y="103188"/>
                    <a:pt x="736356" y="103188"/>
                    <a:pt x="996950" y="733531"/>
                  </a:cubicBezTo>
                  <a:cubicBezTo>
                    <a:pt x="858286" y="791052"/>
                    <a:pt x="743529" y="891715"/>
                    <a:pt x="669415" y="1021139"/>
                  </a:cubicBezTo>
                  <a:cubicBezTo>
                    <a:pt x="645507" y="1064281"/>
                    <a:pt x="592910" y="1085851"/>
                    <a:pt x="547486" y="1066677"/>
                  </a:cubicBezTo>
                  <a:cubicBezTo>
                    <a:pt x="547486" y="1066677"/>
                    <a:pt x="547486" y="1066677"/>
                    <a:pt x="0" y="841384"/>
                  </a:cubicBezTo>
                  <a:cubicBezTo>
                    <a:pt x="138665" y="508237"/>
                    <a:pt x="404040" y="242199"/>
                    <a:pt x="736356" y="103188"/>
                  </a:cubicBezTo>
                  <a:close/>
                  <a:moveTo>
                    <a:pt x="1258094" y="0"/>
                  </a:moveTo>
                  <a:cubicBezTo>
                    <a:pt x="1258094" y="0"/>
                    <a:pt x="1258094" y="0"/>
                    <a:pt x="1260486" y="0"/>
                  </a:cubicBezTo>
                  <a:cubicBezTo>
                    <a:pt x="1444684" y="0"/>
                    <a:pt x="1619312" y="35952"/>
                    <a:pt x="1779588" y="103063"/>
                  </a:cubicBezTo>
                  <a:cubicBezTo>
                    <a:pt x="1779588" y="103063"/>
                    <a:pt x="1779588" y="103063"/>
                    <a:pt x="1779083" y="104290"/>
                  </a:cubicBezTo>
                  <a:lnTo>
                    <a:pt x="1777890" y="107191"/>
                  </a:lnTo>
                  <a:lnTo>
                    <a:pt x="1890970" y="161155"/>
                  </a:lnTo>
                  <a:cubicBezTo>
                    <a:pt x="2166744" y="309757"/>
                    <a:pt x="2386919" y="549880"/>
                    <a:pt x="2508250" y="841384"/>
                  </a:cubicBezTo>
                  <a:cubicBezTo>
                    <a:pt x="2508250" y="841384"/>
                    <a:pt x="2508250" y="841384"/>
                    <a:pt x="1960764" y="1066677"/>
                  </a:cubicBezTo>
                  <a:cubicBezTo>
                    <a:pt x="1915340" y="1085851"/>
                    <a:pt x="1865134" y="1064281"/>
                    <a:pt x="1838835" y="1021139"/>
                  </a:cubicBezTo>
                  <a:cubicBezTo>
                    <a:pt x="1764721" y="891715"/>
                    <a:pt x="1649965" y="788656"/>
                    <a:pt x="1511300" y="731134"/>
                  </a:cubicBezTo>
                  <a:cubicBezTo>
                    <a:pt x="1511300" y="731134"/>
                    <a:pt x="1511300" y="731134"/>
                    <a:pt x="1511804" y="729907"/>
                  </a:cubicBezTo>
                  <a:lnTo>
                    <a:pt x="1512422" y="728405"/>
                  </a:lnTo>
                  <a:lnTo>
                    <a:pt x="1394448" y="693278"/>
                  </a:lnTo>
                  <a:cubicBezTo>
                    <a:pt x="1350791" y="684890"/>
                    <a:pt x="1305938" y="680695"/>
                    <a:pt x="1260486" y="680695"/>
                  </a:cubicBezTo>
                  <a:cubicBezTo>
                    <a:pt x="1167191" y="680695"/>
                    <a:pt x="1078681" y="697473"/>
                    <a:pt x="997347" y="733425"/>
                  </a:cubicBezTo>
                  <a:cubicBezTo>
                    <a:pt x="997347" y="733425"/>
                    <a:pt x="997347" y="733425"/>
                    <a:pt x="736600" y="103063"/>
                  </a:cubicBezTo>
                  <a:cubicBezTo>
                    <a:pt x="896876" y="35952"/>
                    <a:pt x="1073897" y="0"/>
                    <a:pt x="1258094" y="0"/>
                  </a:cubicBezTo>
                  <a:close/>
                </a:path>
              </a:pathLst>
            </a:custGeom>
            <a:gradFill>
              <a:gsLst>
                <a:gs pos="0">
                  <a:srgbClr val="E6553F"/>
                </a:gs>
                <a:gs pos="66000">
                  <a:srgbClr val="808080"/>
                </a:gs>
                <a:gs pos="56000">
                  <a:srgbClr val="E6553F"/>
                </a:gs>
                <a:gs pos="100000">
                  <a:srgbClr val="808080"/>
                </a:gs>
              </a:gsLst>
              <a:lin ang="2400000" scaled="0"/>
            </a:gradFill>
            <a:ln>
              <a:noFill/>
            </a:ln>
            <a:effectLst>
              <a:innerShdw blurRad="215900" dist="50800" dir="16200000">
                <a:prstClr val="black">
                  <a:alpha val="50000"/>
                </a:prstClr>
              </a:innerShdw>
            </a:effec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en-US" sz="2400" kern="0" dirty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" name="Freeform 19">
              <a:extLst>
                <a:ext uri="{FF2B5EF4-FFF2-40B4-BE49-F238E27FC236}">
                  <a16:creationId xmlns:a16="http://schemas.microsoft.com/office/drawing/2014/main" xmlns="" id="{C02DC321-6DB1-4356-B3BC-4BE1F8EE09B4}"/>
                </a:ext>
              </a:extLst>
            </p:cNvPr>
            <p:cNvSpPr>
              <a:spLocks/>
            </p:cNvSpPr>
            <p:nvPr/>
          </p:nvSpPr>
          <p:spPr bwMode="auto">
            <a:xfrm rot="2886533">
              <a:off x="1768679" y="1553877"/>
              <a:ext cx="222306" cy="752188"/>
            </a:xfrm>
            <a:custGeom>
              <a:avLst/>
              <a:gdLst>
                <a:gd name="T0" fmla="*/ 0 w 143"/>
                <a:gd name="T1" fmla="*/ 576 h 647"/>
                <a:gd name="T2" fmla="*/ 1 w 143"/>
                <a:gd name="T3" fmla="*/ 568 h 647"/>
                <a:gd name="T4" fmla="*/ 1 w 143"/>
                <a:gd name="T5" fmla="*/ 568 h 647"/>
                <a:gd name="T6" fmla="*/ 65 w 143"/>
                <a:gd name="T7" fmla="*/ 6 h 647"/>
                <a:gd name="T8" fmla="*/ 71 w 143"/>
                <a:gd name="T9" fmla="*/ 0 h 647"/>
                <a:gd name="T10" fmla="*/ 78 w 143"/>
                <a:gd name="T11" fmla="*/ 6 h 647"/>
                <a:gd name="T12" fmla="*/ 142 w 143"/>
                <a:gd name="T13" fmla="*/ 568 h 647"/>
                <a:gd name="T14" fmla="*/ 142 w 143"/>
                <a:gd name="T15" fmla="*/ 568 h 647"/>
                <a:gd name="T16" fmla="*/ 143 w 143"/>
                <a:gd name="T17" fmla="*/ 576 h 647"/>
                <a:gd name="T18" fmla="*/ 71 w 143"/>
                <a:gd name="T19" fmla="*/ 647 h 647"/>
                <a:gd name="T20" fmla="*/ 0 w 143"/>
                <a:gd name="T21" fmla="*/ 576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647">
                  <a:moveTo>
                    <a:pt x="0" y="576"/>
                  </a:moveTo>
                  <a:cubicBezTo>
                    <a:pt x="0" y="573"/>
                    <a:pt x="0" y="571"/>
                    <a:pt x="1" y="568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1" y="568"/>
                    <a:pt x="50" y="132"/>
                    <a:pt x="65" y="6"/>
                  </a:cubicBezTo>
                  <a:cubicBezTo>
                    <a:pt x="65" y="2"/>
                    <a:pt x="69" y="0"/>
                    <a:pt x="71" y="0"/>
                  </a:cubicBezTo>
                  <a:cubicBezTo>
                    <a:pt x="74" y="0"/>
                    <a:pt x="77" y="2"/>
                    <a:pt x="78" y="6"/>
                  </a:cubicBezTo>
                  <a:cubicBezTo>
                    <a:pt x="92" y="132"/>
                    <a:pt x="142" y="568"/>
                    <a:pt x="142" y="568"/>
                  </a:cubicBezTo>
                  <a:cubicBezTo>
                    <a:pt x="142" y="568"/>
                    <a:pt x="142" y="568"/>
                    <a:pt x="142" y="568"/>
                  </a:cubicBezTo>
                  <a:cubicBezTo>
                    <a:pt x="142" y="571"/>
                    <a:pt x="143" y="573"/>
                    <a:pt x="143" y="576"/>
                  </a:cubicBezTo>
                  <a:cubicBezTo>
                    <a:pt x="143" y="615"/>
                    <a:pt x="111" y="647"/>
                    <a:pt x="71" y="647"/>
                  </a:cubicBezTo>
                  <a:cubicBezTo>
                    <a:pt x="32" y="647"/>
                    <a:pt x="0" y="615"/>
                    <a:pt x="0" y="57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23232">
                    <a:lumMod val="90000"/>
                    <a:lumOff val="10000"/>
                  </a:srgbClr>
                </a:gs>
                <a:gs pos="51000">
                  <a:srgbClr val="323232"/>
                </a:gs>
                <a:gs pos="50000">
                  <a:srgbClr val="323232">
                    <a:lumMod val="90000"/>
                    <a:lumOff val="10000"/>
                  </a:srgbClr>
                </a:gs>
                <a:gs pos="100000">
                  <a:srgbClr val="323232"/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US" sz="2400" kern="0">
                <a:solidFill>
                  <a:srgbClr val="808080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A53E4AF-E0F6-4E60-BFB5-72164CB1F022}"/>
              </a:ext>
            </a:extLst>
          </p:cNvPr>
          <p:cNvGrpSpPr/>
          <p:nvPr/>
        </p:nvGrpSpPr>
        <p:grpSpPr>
          <a:xfrm>
            <a:off x="486000" y="984656"/>
            <a:ext cx="5432839" cy="4605307"/>
            <a:chOff x="499107" y="1855816"/>
            <a:chExt cx="5432839" cy="460530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34E5DF37-F0D7-467D-BD99-B9B217D2F42A}"/>
                </a:ext>
              </a:extLst>
            </p:cNvPr>
            <p:cNvCxnSpPr/>
            <p:nvPr/>
          </p:nvCxnSpPr>
          <p:spPr>
            <a:xfrm>
              <a:off x="1210084" y="3163025"/>
              <a:ext cx="4684183" cy="0"/>
            </a:xfrm>
            <a:prstGeom prst="line">
              <a:avLst/>
            </a:prstGeom>
            <a:ln w="19050">
              <a:solidFill>
                <a:srgbClr val="AEA79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C30C1487-C92E-4A36-BD3B-3D10E1017ACB}"/>
                </a:ext>
              </a:extLst>
            </p:cNvPr>
            <p:cNvSpPr/>
            <p:nvPr/>
          </p:nvSpPr>
          <p:spPr>
            <a:xfrm>
              <a:off x="1414446" y="2420775"/>
              <a:ext cx="607707" cy="2382521"/>
            </a:xfrm>
            <a:prstGeom prst="roundRect">
              <a:avLst>
                <a:gd name="adj" fmla="val 6048"/>
              </a:avLst>
            </a:prstGeom>
            <a:solidFill>
              <a:srgbClr val="E0DED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7BC25504-DF30-42CF-A529-A08CF1E004E6}"/>
                </a:ext>
              </a:extLst>
            </p:cNvPr>
            <p:cNvCxnSpPr/>
            <p:nvPr/>
          </p:nvCxnSpPr>
          <p:spPr>
            <a:xfrm>
              <a:off x="1204707" y="2441503"/>
              <a:ext cx="0" cy="237068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xmlns="" id="{D0EF4740-6F0E-4240-B35E-82ED17129D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04707" y="4804284"/>
              <a:ext cx="4693952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xmlns="" id="{6E4CFCCE-69D5-494C-AC5F-164F97AAAB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4392872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xmlns="" id="{950A8E70-AA4D-4204-BA7C-4C89FB25D7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3779787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9FAC4B5F-9372-441E-885D-658C657B48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3162667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3C48C64-D323-4D20-A60A-3746A69128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2545549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xmlns="" id="{C190EE27-8581-4441-9E2E-217FC8D8DAC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366044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5D3E1888-BBDF-489D-8DB9-BA832192FDB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979130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BBBD7655-88A5-4CAF-A5B0-513AC9401CA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71725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xmlns="" id="{BAC19897-F0C8-46B4-9509-1021EE6D140C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446297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xmlns="" id="{990E4370-68EF-4AF3-B509-35FCD28DE06E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7534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xmlns="" id="{F176FA36-5F66-47E2-93A4-E4473F3530F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904386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xmlns="" id="{49ADBE87-5894-4E82-9963-A1F41A981D0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63343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025FAC8B-3415-472D-BC2C-3B257FFA82CB}"/>
                </a:ext>
              </a:extLst>
            </p:cNvPr>
            <p:cNvSpPr/>
            <p:nvPr/>
          </p:nvSpPr>
          <p:spPr>
            <a:xfrm>
              <a:off x="1412075" y="2754149"/>
              <a:ext cx="4268502" cy="763413"/>
            </a:xfrm>
            <a:custGeom>
              <a:avLst/>
              <a:gdLst>
                <a:gd name="connsiteX0" fmla="*/ 0 w 5040034"/>
                <a:gd name="connsiteY0" fmla="*/ 481036 h 901399"/>
                <a:gd name="connsiteX1" fmla="*/ 723720 w 5040034"/>
                <a:gd name="connsiteY1" fmla="*/ 901399 h 901399"/>
                <a:gd name="connsiteX2" fmla="*/ 940402 w 5040034"/>
                <a:gd name="connsiteY2" fmla="*/ 528706 h 901399"/>
                <a:gd name="connsiteX3" fmla="*/ 1590449 w 5040034"/>
                <a:gd name="connsiteY3" fmla="*/ 420364 h 901399"/>
                <a:gd name="connsiteX4" fmla="*/ 5040034 w 5040034"/>
                <a:gd name="connsiteY4" fmla="*/ 0 h 90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0034" h="901399">
                  <a:moveTo>
                    <a:pt x="0" y="481036"/>
                  </a:moveTo>
                  <a:lnTo>
                    <a:pt x="723720" y="901399"/>
                  </a:lnTo>
                  <a:lnTo>
                    <a:pt x="940402" y="528706"/>
                  </a:lnTo>
                  <a:lnTo>
                    <a:pt x="1590449" y="420364"/>
                  </a:lnTo>
                  <a:lnTo>
                    <a:pt x="5040034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51C24F0A-6162-4F35-8B6B-8FB495427BF2}"/>
                </a:ext>
              </a:extLst>
            </p:cNvPr>
            <p:cNvSpPr/>
            <p:nvPr/>
          </p:nvSpPr>
          <p:spPr>
            <a:xfrm>
              <a:off x="1412075" y="3165217"/>
              <a:ext cx="3541792" cy="378036"/>
            </a:xfrm>
            <a:custGeom>
              <a:avLst/>
              <a:gdLst>
                <a:gd name="connsiteX0" fmla="*/ 0 w 4181972"/>
                <a:gd name="connsiteY0" fmla="*/ 0 h 446366"/>
                <a:gd name="connsiteX1" fmla="*/ 728053 w 4181972"/>
                <a:gd name="connsiteY1" fmla="*/ 446366 h 446366"/>
                <a:gd name="connsiteX2" fmla="*/ 2452846 w 4181972"/>
                <a:gd name="connsiteY2" fmla="*/ 316357 h 446366"/>
                <a:gd name="connsiteX3" fmla="*/ 4181972 w 4181972"/>
                <a:gd name="connsiteY3" fmla="*/ 143011 h 446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1972" h="446366">
                  <a:moveTo>
                    <a:pt x="0" y="0"/>
                  </a:moveTo>
                  <a:lnTo>
                    <a:pt x="728053" y="446366"/>
                  </a:lnTo>
                  <a:lnTo>
                    <a:pt x="2452846" y="316357"/>
                  </a:lnTo>
                  <a:lnTo>
                    <a:pt x="4181972" y="143011"/>
                  </a:lnTo>
                </a:path>
              </a:pathLst>
            </a:custGeom>
            <a:noFill/>
            <a:ln w="19050">
              <a:solidFill>
                <a:srgbClr val="007C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F70A5F65-D635-45B5-AC2B-94C7D61C1AED}"/>
                </a:ext>
              </a:extLst>
            </p:cNvPr>
            <p:cNvSpPr/>
            <p:nvPr/>
          </p:nvSpPr>
          <p:spPr>
            <a:xfrm>
              <a:off x="1412075" y="3161547"/>
              <a:ext cx="4272172" cy="524845"/>
            </a:xfrm>
            <a:custGeom>
              <a:avLst/>
              <a:gdLst>
                <a:gd name="connsiteX0" fmla="*/ 0 w 5044368"/>
                <a:gd name="connsiteY0" fmla="*/ 0 h 619711"/>
                <a:gd name="connsiteX1" fmla="*/ 728053 w 5044368"/>
                <a:gd name="connsiteY1" fmla="*/ 619711 h 619711"/>
                <a:gd name="connsiteX2" fmla="*/ 1590449 w 5044368"/>
                <a:gd name="connsiteY2" fmla="*/ 502703 h 619711"/>
                <a:gd name="connsiteX3" fmla="*/ 5044368 w 5044368"/>
                <a:gd name="connsiteY3" fmla="*/ 65004 h 61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368" h="619711">
                  <a:moveTo>
                    <a:pt x="0" y="0"/>
                  </a:moveTo>
                  <a:lnTo>
                    <a:pt x="728053" y="619711"/>
                  </a:lnTo>
                  <a:lnTo>
                    <a:pt x="1590449" y="502703"/>
                  </a:lnTo>
                  <a:lnTo>
                    <a:pt x="5044368" y="65004"/>
                  </a:lnTo>
                </a:path>
              </a:pathLst>
            </a:custGeom>
            <a:noFill/>
            <a:ln w="19050">
              <a:solidFill>
                <a:srgbClr val="739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83E68B00-7F6F-4370-BE09-C111717D5867}"/>
                </a:ext>
              </a:extLst>
            </p:cNvPr>
            <p:cNvSpPr/>
            <p:nvPr/>
          </p:nvSpPr>
          <p:spPr>
            <a:xfrm>
              <a:off x="1404735" y="3113834"/>
              <a:ext cx="2815083" cy="609263"/>
            </a:xfrm>
            <a:custGeom>
              <a:avLst/>
              <a:gdLst>
                <a:gd name="connsiteX0" fmla="*/ 0 w 3323909"/>
                <a:gd name="connsiteY0" fmla="*/ 52004 h 719386"/>
                <a:gd name="connsiteX1" fmla="*/ 728053 w 3323909"/>
                <a:gd name="connsiteY1" fmla="*/ 719386 h 719386"/>
                <a:gd name="connsiteX2" fmla="*/ 1170085 w 3323909"/>
                <a:gd name="connsiteY2" fmla="*/ 606711 h 719386"/>
                <a:gd name="connsiteX3" fmla="*/ 3323909 w 3323909"/>
                <a:gd name="connsiteY3" fmla="*/ 0 h 71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3909" h="719386">
                  <a:moveTo>
                    <a:pt x="0" y="52004"/>
                  </a:moveTo>
                  <a:lnTo>
                    <a:pt x="728053" y="719386"/>
                  </a:lnTo>
                  <a:lnTo>
                    <a:pt x="1170085" y="606711"/>
                  </a:lnTo>
                  <a:lnTo>
                    <a:pt x="3323909" y="0"/>
                  </a:lnTo>
                </a:path>
              </a:pathLst>
            </a:custGeom>
            <a:noFill/>
            <a:ln w="19050">
              <a:solidFill>
                <a:srgbClr val="E64A0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6CF9AF8F-4581-4695-94F6-819E528AD3ED}"/>
                </a:ext>
              </a:extLst>
            </p:cNvPr>
            <p:cNvSpPr/>
            <p:nvPr/>
          </p:nvSpPr>
          <p:spPr>
            <a:xfrm>
              <a:off x="1419416" y="3168887"/>
              <a:ext cx="2804072" cy="642293"/>
            </a:xfrm>
            <a:custGeom>
              <a:avLst/>
              <a:gdLst>
                <a:gd name="connsiteX0" fmla="*/ 0 w 3310909"/>
                <a:gd name="connsiteY0" fmla="*/ 0 h 758388"/>
                <a:gd name="connsiteX1" fmla="*/ 719386 w 3310909"/>
                <a:gd name="connsiteY1" fmla="*/ 758388 h 758388"/>
                <a:gd name="connsiteX2" fmla="*/ 1144084 w 3310909"/>
                <a:gd name="connsiteY2" fmla="*/ 541706 h 758388"/>
                <a:gd name="connsiteX3" fmla="*/ 1577449 w 3310909"/>
                <a:gd name="connsiteY3" fmla="*/ 390028 h 758388"/>
                <a:gd name="connsiteX4" fmla="*/ 2439845 w 3310909"/>
                <a:gd name="connsiteY4" fmla="*/ 190680 h 758388"/>
                <a:gd name="connsiteX5" fmla="*/ 3310909 w 3310909"/>
                <a:gd name="connsiteY5" fmla="*/ 130009 h 75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0909" h="758388">
                  <a:moveTo>
                    <a:pt x="0" y="0"/>
                  </a:moveTo>
                  <a:lnTo>
                    <a:pt x="719386" y="758388"/>
                  </a:lnTo>
                  <a:lnTo>
                    <a:pt x="1144084" y="541706"/>
                  </a:lnTo>
                  <a:lnTo>
                    <a:pt x="1577449" y="390028"/>
                  </a:lnTo>
                  <a:lnTo>
                    <a:pt x="2439845" y="190680"/>
                  </a:lnTo>
                  <a:lnTo>
                    <a:pt x="3310909" y="130009"/>
                  </a:lnTo>
                </a:path>
              </a:pathLst>
            </a:custGeom>
            <a:noFill/>
            <a:ln w="19050">
              <a:solidFill>
                <a:srgbClr val="D47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CF5645AB-5AC8-4D79-B4D4-9BD2BE4B38B3}"/>
                </a:ext>
              </a:extLst>
            </p:cNvPr>
            <p:cNvSpPr/>
            <p:nvPr/>
          </p:nvSpPr>
          <p:spPr>
            <a:xfrm>
              <a:off x="1415746" y="3161547"/>
              <a:ext cx="4268502" cy="756072"/>
            </a:xfrm>
            <a:custGeom>
              <a:avLst/>
              <a:gdLst>
                <a:gd name="connsiteX0" fmla="*/ 0 w 5040034"/>
                <a:gd name="connsiteY0" fmla="*/ 0 h 892731"/>
                <a:gd name="connsiteX1" fmla="*/ 728053 w 5040034"/>
                <a:gd name="connsiteY1" fmla="*/ 892731 h 892731"/>
                <a:gd name="connsiteX2" fmla="*/ 5040034 w 5040034"/>
                <a:gd name="connsiteY2" fmla="*/ 619711 h 89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034" h="892731">
                  <a:moveTo>
                    <a:pt x="0" y="0"/>
                  </a:moveTo>
                  <a:lnTo>
                    <a:pt x="728053" y="892731"/>
                  </a:lnTo>
                  <a:lnTo>
                    <a:pt x="5040034" y="619711"/>
                  </a:lnTo>
                </a:path>
              </a:pathLst>
            </a:custGeom>
            <a:noFill/>
            <a:ln w="19050">
              <a:solidFill>
                <a:srgbClr val="72B5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FB18AFCE-53AE-4810-A2A1-1466FECB1ECB}"/>
                </a:ext>
              </a:extLst>
            </p:cNvPr>
            <p:cNvSpPr/>
            <p:nvPr/>
          </p:nvSpPr>
          <p:spPr>
            <a:xfrm>
              <a:off x="1408406" y="3040429"/>
              <a:ext cx="4272172" cy="1049693"/>
            </a:xfrm>
            <a:custGeom>
              <a:avLst/>
              <a:gdLst>
                <a:gd name="connsiteX0" fmla="*/ 0 w 5044367"/>
                <a:gd name="connsiteY0" fmla="*/ 138677 h 1239424"/>
                <a:gd name="connsiteX1" fmla="*/ 728053 w 5044367"/>
                <a:gd name="connsiteY1" fmla="*/ 1239424 h 1239424"/>
                <a:gd name="connsiteX2" fmla="*/ 1594782 w 5044367"/>
                <a:gd name="connsiteY2" fmla="*/ 645714 h 1239424"/>
                <a:gd name="connsiteX3" fmla="*/ 5044367 w 5044367"/>
                <a:gd name="connsiteY3" fmla="*/ 0 h 123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367" h="1239424">
                  <a:moveTo>
                    <a:pt x="0" y="138677"/>
                  </a:moveTo>
                  <a:lnTo>
                    <a:pt x="728053" y="1239424"/>
                  </a:lnTo>
                  <a:lnTo>
                    <a:pt x="1594782" y="645714"/>
                  </a:lnTo>
                  <a:lnTo>
                    <a:pt x="5044367" y="0"/>
                  </a:lnTo>
                </a:path>
              </a:pathLst>
            </a:custGeom>
            <a:noFill/>
            <a:ln w="19050">
              <a:solidFill>
                <a:srgbClr val="8278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1B3F258B-5503-45F4-8743-D4891C92B06A}"/>
                </a:ext>
              </a:extLst>
            </p:cNvPr>
            <p:cNvSpPr/>
            <p:nvPr/>
          </p:nvSpPr>
          <p:spPr>
            <a:xfrm>
              <a:off x="1408406" y="3154206"/>
              <a:ext cx="3549132" cy="1064375"/>
            </a:xfrm>
            <a:custGeom>
              <a:avLst/>
              <a:gdLst>
                <a:gd name="connsiteX0" fmla="*/ 0 w 4190638"/>
                <a:gd name="connsiteY0" fmla="*/ 0 h 1243758"/>
                <a:gd name="connsiteX1" fmla="*/ 758388 w 4190638"/>
                <a:gd name="connsiteY1" fmla="*/ 1243758 h 1243758"/>
                <a:gd name="connsiteX2" fmla="*/ 1599116 w 4190638"/>
                <a:gd name="connsiteY2" fmla="*/ 732387 h 1243758"/>
                <a:gd name="connsiteX3" fmla="*/ 4190638 w 4190638"/>
                <a:gd name="connsiteY3" fmla="*/ 190681 h 1243758"/>
                <a:gd name="connsiteX0" fmla="*/ 0 w 4190638"/>
                <a:gd name="connsiteY0" fmla="*/ 0 h 1256759"/>
                <a:gd name="connsiteX1" fmla="*/ 736720 w 4190638"/>
                <a:gd name="connsiteY1" fmla="*/ 1256759 h 1256759"/>
                <a:gd name="connsiteX2" fmla="*/ 1599116 w 4190638"/>
                <a:gd name="connsiteY2" fmla="*/ 732387 h 1256759"/>
                <a:gd name="connsiteX3" fmla="*/ 4190638 w 4190638"/>
                <a:gd name="connsiteY3" fmla="*/ 190681 h 125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638" h="1256759">
                  <a:moveTo>
                    <a:pt x="0" y="0"/>
                  </a:moveTo>
                  <a:lnTo>
                    <a:pt x="736720" y="1256759"/>
                  </a:lnTo>
                  <a:lnTo>
                    <a:pt x="1599116" y="732387"/>
                  </a:lnTo>
                  <a:lnTo>
                    <a:pt x="4190638" y="190681"/>
                  </a:lnTo>
                </a:path>
              </a:pathLst>
            </a:custGeom>
            <a:noFill/>
            <a:ln w="19050">
              <a:solidFill>
                <a:srgbClr val="EAA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62E44622-CE37-40F6-A027-20FED3CD0DAE}"/>
                </a:ext>
              </a:extLst>
            </p:cNvPr>
            <p:cNvSpPr/>
            <p:nvPr/>
          </p:nvSpPr>
          <p:spPr>
            <a:xfrm>
              <a:off x="2003272" y="3473517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9D349140-7DF0-4107-A4C7-11FB572FFBE9}"/>
                </a:ext>
              </a:extLst>
            </p:cNvPr>
            <p:cNvSpPr/>
            <p:nvPr/>
          </p:nvSpPr>
          <p:spPr>
            <a:xfrm>
              <a:off x="2180056" y="3185959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F729610D-51DA-41C3-9C22-755D5142607A}"/>
                </a:ext>
              </a:extLst>
            </p:cNvPr>
            <p:cNvSpPr/>
            <p:nvPr/>
          </p:nvSpPr>
          <p:spPr>
            <a:xfrm>
              <a:off x="2738124" y="3080801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AC48065C-A807-4CE1-A4FC-6AAEF6409A18}"/>
                </a:ext>
              </a:extLst>
            </p:cNvPr>
            <p:cNvSpPr/>
            <p:nvPr/>
          </p:nvSpPr>
          <p:spPr>
            <a:xfrm>
              <a:off x="5653050" y="2724786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AFFD2222-F94F-4D4B-AD62-5B77BC541152}"/>
                </a:ext>
              </a:extLst>
            </p:cNvPr>
            <p:cNvSpPr/>
            <p:nvPr/>
          </p:nvSpPr>
          <p:spPr>
            <a:xfrm>
              <a:off x="2004170" y="3513890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A70FFB99-1795-41D4-B490-5D0F13A3B3BD}"/>
                </a:ext>
              </a:extLst>
            </p:cNvPr>
            <p:cNvSpPr/>
            <p:nvPr/>
          </p:nvSpPr>
          <p:spPr>
            <a:xfrm>
              <a:off x="3455319" y="3403783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31C16373-7EEC-43A0-A0DF-4B93F468A351}"/>
                </a:ext>
              </a:extLst>
            </p:cNvPr>
            <p:cNvSpPr/>
            <p:nvPr/>
          </p:nvSpPr>
          <p:spPr>
            <a:xfrm>
              <a:off x="4929075" y="3257583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075EC1D1-E209-4FD5-9D12-A07B81E37DB4}"/>
                </a:ext>
              </a:extLst>
            </p:cNvPr>
            <p:cNvSpPr/>
            <p:nvPr/>
          </p:nvSpPr>
          <p:spPr>
            <a:xfrm>
              <a:off x="2003272" y="3649690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18BDFBC8-05E4-49A8-BD01-AFA0C097C176}"/>
                </a:ext>
              </a:extLst>
            </p:cNvPr>
            <p:cNvSpPr/>
            <p:nvPr/>
          </p:nvSpPr>
          <p:spPr>
            <a:xfrm>
              <a:off x="5648443" y="3191806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1122B53D-F9E6-4F10-8102-2B863817F663}"/>
                </a:ext>
              </a:extLst>
            </p:cNvPr>
            <p:cNvSpPr/>
            <p:nvPr/>
          </p:nvSpPr>
          <p:spPr>
            <a:xfrm>
              <a:off x="2000003" y="3702151"/>
              <a:ext cx="55053" cy="55055"/>
            </a:xfrm>
            <a:prstGeom prst="ellipse">
              <a:avLst/>
            </a:prstGeom>
            <a:solidFill>
              <a:srgbClr val="E64A0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xmlns="" id="{659AE364-8E94-4E8A-84A0-4241951C2040}"/>
                </a:ext>
              </a:extLst>
            </p:cNvPr>
            <p:cNvSpPr/>
            <p:nvPr/>
          </p:nvSpPr>
          <p:spPr>
            <a:xfrm>
              <a:off x="2374866" y="3602241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EDF08D79-4CF4-41E3-8184-83CC094A50ED}"/>
                </a:ext>
              </a:extLst>
            </p:cNvPr>
            <p:cNvSpPr/>
            <p:nvPr/>
          </p:nvSpPr>
          <p:spPr>
            <a:xfrm>
              <a:off x="3469102" y="3293677"/>
              <a:ext cx="55053" cy="55055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80D1332F-6C23-4941-A6A3-570ADEEB710A}"/>
                </a:ext>
              </a:extLst>
            </p:cNvPr>
            <p:cNvSpPr/>
            <p:nvPr/>
          </p:nvSpPr>
          <p:spPr>
            <a:xfrm>
              <a:off x="4194126" y="3084471"/>
              <a:ext cx="55053" cy="55055"/>
            </a:xfrm>
            <a:prstGeom prst="ellipse">
              <a:avLst/>
            </a:prstGeom>
            <a:solidFill>
              <a:srgbClr val="E64A0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xmlns="" id="{38DED9B2-3BD7-4741-977B-B86BC86F2392}"/>
                </a:ext>
              </a:extLst>
            </p:cNvPr>
            <p:cNvSpPr/>
            <p:nvPr/>
          </p:nvSpPr>
          <p:spPr>
            <a:xfrm>
              <a:off x="2000003" y="3778835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F602B30A-D67A-4B5A-8C6E-9556DD3E623B}"/>
                </a:ext>
              </a:extLst>
            </p:cNvPr>
            <p:cNvSpPr/>
            <p:nvPr/>
          </p:nvSpPr>
          <p:spPr>
            <a:xfrm>
              <a:off x="2733651" y="3472026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9C93B1A0-6DFF-4D20-8B9F-E1CE606789F0}"/>
                </a:ext>
              </a:extLst>
            </p:cNvPr>
            <p:cNvSpPr/>
            <p:nvPr/>
          </p:nvSpPr>
          <p:spPr>
            <a:xfrm>
              <a:off x="3469102" y="3297627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BD005BAE-5698-4A20-BED5-4C2AE640E5D5}"/>
                </a:ext>
              </a:extLst>
            </p:cNvPr>
            <p:cNvSpPr/>
            <p:nvPr/>
          </p:nvSpPr>
          <p:spPr>
            <a:xfrm>
              <a:off x="4192290" y="3252387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749BCDF8-A438-4367-874D-B4196D1ABAFE}"/>
                </a:ext>
              </a:extLst>
            </p:cNvPr>
            <p:cNvSpPr/>
            <p:nvPr/>
          </p:nvSpPr>
          <p:spPr>
            <a:xfrm>
              <a:off x="2000003" y="3888257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xmlns="" id="{D2CB5242-4492-490F-B191-390760AF1641}"/>
                </a:ext>
              </a:extLst>
            </p:cNvPr>
            <p:cNvSpPr/>
            <p:nvPr/>
          </p:nvSpPr>
          <p:spPr>
            <a:xfrm>
              <a:off x="5651711" y="3649689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7F5D6A97-D58C-4542-9179-00765586A461}"/>
                </a:ext>
              </a:extLst>
            </p:cNvPr>
            <p:cNvSpPr/>
            <p:nvPr/>
          </p:nvSpPr>
          <p:spPr>
            <a:xfrm>
              <a:off x="2000003" y="4064110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72A5D522-20C2-4FA1-A2DF-54F6899F38F5}"/>
                </a:ext>
              </a:extLst>
            </p:cNvPr>
            <p:cNvSpPr/>
            <p:nvPr/>
          </p:nvSpPr>
          <p:spPr>
            <a:xfrm>
              <a:off x="2733651" y="3565078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24F610D4-BB8D-487C-828C-4442DF7AE98C}"/>
                </a:ext>
              </a:extLst>
            </p:cNvPr>
            <p:cNvSpPr/>
            <p:nvPr/>
          </p:nvSpPr>
          <p:spPr>
            <a:xfrm>
              <a:off x="5648443" y="3019471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3E078AD4-FEF1-400B-B681-70449E1168F3}"/>
                </a:ext>
              </a:extLst>
            </p:cNvPr>
            <p:cNvSpPr/>
            <p:nvPr/>
          </p:nvSpPr>
          <p:spPr>
            <a:xfrm>
              <a:off x="2000003" y="417637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A916418B-5166-44D3-905B-86062A2981CD}"/>
                </a:ext>
              </a:extLst>
            </p:cNvPr>
            <p:cNvSpPr/>
            <p:nvPr/>
          </p:nvSpPr>
          <p:spPr>
            <a:xfrm>
              <a:off x="2733651" y="374358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8EB935DF-54DA-4D7C-A3A6-306750F498CF}"/>
                </a:ext>
              </a:extLst>
            </p:cNvPr>
            <p:cNvSpPr/>
            <p:nvPr/>
          </p:nvSpPr>
          <p:spPr>
            <a:xfrm>
              <a:off x="4929075" y="3302234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36360F5C-F431-439E-B5D5-41B425C0D6E3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CC2F6EAC-507F-4987-B76D-20E4C845DAE3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xmlns="" id="{0AB903F3-E927-4494-9E2B-239A5F1E24E4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7DD6B501-A1DD-4E98-AD38-FE9EEBB2A2E4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6B03FAFA-A7FE-4FE8-8818-9E2776B602CE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83457FD3-4D87-4E2D-8466-773543E8947E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A0415050-8450-4553-99EB-04BE8E220BF6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29C7962E-FB8C-4954-ABE2-F18A50B7D7DC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xmlns="" id="{9C8AD667-9769-4448-9B12-AA1A95750996}"/>
                </a:ext>
              </a:extLst>
            </p:cNvPr>
            <p:cNvSpPr txBox="1"/>
            <p:nvPr/>
          </p:nvSpPr>
          <p:spPr>
            <a:xfrm>
              <a:off x="2374867" y="5239052"/>
              <a:ext cx="26852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2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Years after intervention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xmlns="" id="{A7C211CB-7FE2-4E94-99CD-6B1C8587B45B}"/>
                </a:ext>
              </a:extLst>
            </p:cNvPr>
            <p:cNvSpPr txBox="1"/>
            <p:nvPr/>
          </p:nvSpPr>
          <p:spPr>
            <a:xfrm rot="16200000">
              <a:off x="-626265" y="3473535"/>
              <a:ext cx="25277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2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Mean weight change (%)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153FBA4E-F3E9-4394-B076-A88A67CDBFCE}"/>
                </a:ext>
              </a:extLst>
            </p:cNvPr>
            <p:cNvSpPr txBox="1"/>
            <p:nvPr/>
          </p:nvSpPr>
          <p:spPr>
            <a:xfrm>
              <a:off x="851419" y="4850092"/>
              <a:ext cx="934741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Pre-</a:t>
              </a:r>
              <a:b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treatmen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E836449D-3C37-48E4-A79C-BD5B0DB5E715}"/>
                </a:ext>
              </a:extLst>
            </p:cNvPr>
            <p:cNvSpPr txBox="1"/>
            <p:nvPr/>
          </p:nvSpPr>
          <p:spPr>
            <a:xfrm>
              <a:off x="1625843" y="4850092"/>
              <a:ext cx="934741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Post-</a:t>
              </a:r>
              <a:b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treatment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xmlns="" id="{A36C79CC-4D78-48A0-9A06-327768D6B99C}"/>
                </a:ext>
              </a:extLst>
            </p:cNvPr>
            <p:cNvSpPr txBox="1"/>
            <p:nvPr/>
          </p:nvSpPr>
          <p:spPr>
            <a:xfrm>
              <a:off x="2521623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8692911E-924C-4C7A-A7BA-844E19524F01}"/>
                </a:ext>
              </a:extLst>
            </p:cNvPr>
            <p:cNvSpPr txBox="1"/>
            <p:nvPr/>
          </p:nvSpPr>
          <p:spPr>
            <a:xfrm>
              <a:off x="3251687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1C8BD318-8FA9-426D-AA2E-F1E6C86F74CB}"/>
                </a:ext>
              </a:extLst>
            </p:cNvPr>
            <p:cNvSpPr txBox="1"/>
            <p:nvPr/>
          </p:nvSpPr>
          <p:spPr>
            <a:xfrm>
              <a:off x="3981750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917EF993-CBCE-4B2C-9DC4-92C247A36410}"/>
                </a:ext>
              </a:extLst>
            </p:cNvPr>
            <p:cNvSpPr txBox="1"/>
            <p:nvPr/>
          </p:nvSpPr>
          <p:spPr>
            <a:xfrm>
              <a:off x="4711813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xmlns="" id="{B9BBA1C4-357C-452C-A61B-7DD92A99088F}"/>
                </a:ext>
              </a:extLst>
            </p:cNvPr>
            <p:cNvSpPr txBox="1"/>
            <p:nvPr/>
          </p:nvSpPr>
          <p:spPr>
            <a:xfrm>
              <a:off x="5441878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067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BF5D0FBA-6271-4D8B-A6C7-607CCFA15D8F}"/>
                </a:ext>
              </a:extLst>
            </p:cNvPr>
            <p:cNvSpPr txBox="1"/>
            <p:nvPr/>
          </p:nvSpPr>
          <p:spPr>
            <a:xfrm>
              <a:off x="644948" y="4292640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defRPr/>
              </a:pPr>
              <a:r>
                <a:rPr lang="en-CA" sz="933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80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xmlns="" id="{DBA431B3-065B-43EC-8B86-DDA4B20EE859}"/>
                </a:ext>
              </a:extLst>
            </p:cNvPr>
            <p:cNvSpPr txBox="1"/>
            <p:nvPr/>
          </p:nvSpPr>
          <p:spPr>
            <a:xfrm>
              <a:off x="644948" y="3675522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defRPr/>
              </a:pPr>
              <a:r>
                <a:rPr lang="en-CA" sz="933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90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xmlns="" id="{C69EF7E9-4310-4715-9782-A52379673CEB}"/>
                </a:ext>
              </a:extLst>
            </p:cNvPr>
            <p:cNvSpPr txBox="1"/>
            <p:nvPr/>
          </p:nvSpPr>
          <p:spPr>
            <a:xfrm>
              <a:off x="644948" y="3058402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defRPr/>
              </a:pPr>
              <a:r>
                <a:rPr lang="en-CA" sz="933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100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F3E28B36-969A-4E63-A947-3F00C71E8027}"/>
                </a:ext>
              </a:extLst>
            </p:cNvPr>
            <p:cNvSpPr txBox="1"/>
            <p:nvPr/>
          </p:nvSpPr>
          <p:spPr>
            <a:xfrm>
              <a:off x="644948" y="2441283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defRPr/>
              </a:pPr>
              <a:r>
                <a:rPr lang="en-CA" sz="933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110</a:t>
              </a: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xmlns="" id="{45447471-E24F-4B58-96C1-FCB99E4290C1}"/>
                </a:ext>
              </a:extLst>
            </p:cNvPr>
            <p:cNvSpPr/>
            <p:nvPr/>
          </p:nvSpPr>
          <p:spPr>
            <a:xfrm>
              <a:off x="1410019" y="5746024"/>
              <a:ext cx="90133" cy="90133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xmlns="" id="{AF0C835B-1DE4-4115-8717-6231F6BAE0B4}"/>
                </a:ext>
              </a:extLst>
            </p:cNvPr>
            <p:cNvSpPr/>
            <p:nvPr/>
          </p:nvSpPr>
          <p:spPr>
            <a:xfrm>
              <a:off x="1410918" y="5932479"/>
              <a:ext cx="90133" cy="90133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xmlns="" id="{B6D5EC31-7E91-4FAD-9181-288D6B9544F1}"/>
                </a:ext>
              </a:extLst>
            </p:cNvPr>
            <p:cNvSpPr/>
            <p:nvPr/>
          </p:nvSpPr>
          <p:spPr>
            <a:xfrm>
              <a:off x="1410019" y="6118935"/>
              <a:ext cx="90133" cy="90133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B1E70622-9F43-4B2C-A508-5866FE5460F2}"/>
                </a:ext>
              </a:extLst>
            </p:cNvPr>
            <p:cNvSpPr/>
            <p:nvPr/>
          </p:nvSpPr>
          <p:spPr>
            <a:xfrm>
              <a:off x="1406751" y="6305390"/>
              <a:ext cx="90133" cy="90133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xmlns="" id="{746E9066-FB47-464D-945E-B56C39C18E92}"/>
                </a:ext>
              </a:extLst>
            </p:cNvPr>
            <p:cNvSpPr/>
            <p:nvPr/>
          </p:nvSpPr>
          <p:spPr>
            <a:xfrm>
              <a:off x="3980125" y="5760278"/>
              <a:ext cx="90133" cy="90133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xmlns="" id="{5545593C-546D-49E0-9330-748540F86969}"/>
                </a:ext>
              </a:extLst>
            </p:cNvPr>
            <p:cNvSpPr/>
            <p:nvPr/>
          </p:nvSpPr>
          <p:spPr>
            <a:xfrm>
              <a:off x="3980125" y="5946732"/>
              <a:ext cx="90133" cy="90133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xmlns="" id="{481780EA-2D5A-44E9-8EE5-19C56554C7CD}"/>
                </a:ext>
              </a:extLst>
            </p:cNvPr>
            <p:cNvSpPr/>
            <p:nvPr/>
          </p:nvSpPr>
          <p:spPr>
            <a:xfrm>
              <a:off x="3980125" y="6133188"/>
              <a:ext cx="90133" cy="90133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xmlns="" id="{9A41CC83-F15E-48E2-8BA4-80488AE46CF9}"/>
                </a:ext>
              </a:extLst>
            </p:cNvPr>
            <p:cNvSpPr/>
            <p:nvPr/>
          </p:nvSpPr>
          <p:spPr>
            <a:xfrm>
              <a:off x="3980125" y="6319643"/>
              <a:ext cx="90133" cy="90133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CA" sz="1333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5431BC0C-E32D-4F6F-8F19-22C4325B2931}"/>
                </a:ext>
              </a:extLst>
            </p:cNvPr>
            <p:cNvSpPr txBox="1"/>
            <p:nvPr/>
          </p:nvSpPr>
          <p:spPr>
            <a:xfrm>
              <a:off x="1580056" y="568288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Stalonas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1984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DACDBB1B-DFB7-442E-A3C3-521CB873AE90}"/>
                </a:ext>
              </a:extLst>
            </p:cNvPr>
            <p:cNvSpPr txBox="1"/>
            <p:nvPr/>
          </p:nvSpPr>
          <p:spPr>
            <a:xfrm>
              <a:off x="1580056" y="586779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Schwarzfuchs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2012)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xmlns="" id="{00014953-D9FD-4C53-A5EA-B6878F10E00C}"/>
                </a:ext>
              </a:extLst>
            </p:cNvPr>
            <p:cNvSpPr txBox="1"/>
            <p:nvPr/>
          </p:nvSpPr>
          <p:spPr>
            <a:xfrm>
              <a:off x="1580056" y="6052702"/>
              <a:ext cx="189304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Olszanecka-Glinianowicz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2012)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B75F01F1-B131-4FD0-BC36-B74A08E95065}"/>
                </a:ext>
              </a:extLst>
            </p:cNvPr>
            <p:cNvSpPr txBox="1"/>
            <p:nvPr/>
          </p:nvSpPr>
          <p:spPr>
            <a:xfrm>
              <a:off x="1580056" y="6237610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Vogels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2005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1AB934C5-8CB3-4E42-8F6E-5BB027B1B09E}"/>
                </a:ext>
              </a:extLst>
            </p:cNvPr>
            <p:cNvSpPr txBox="1"/>
            <p:nvPr/>
          </p:nvSpPr>
          <p:spPr>
            <a:xfrm>
              <a:off x="4153430" y="5690954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Cooper (2010)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9EE10F9E-FDF5-4A2C-9DCF-37DB926C8524}"/>
                </a:ext>
              </a:extLst>
            </p:cNvPr>
            <p:cNvSpPr txBox="1"/>
            <p:nvPr/>
          </p:nvSpPr>
          <p:spPr>
            <a:xfrm>
              <a:off x="4153430" y="5875863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Pekkarinen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1997)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580A2BF5-8C5F-45F3-B919-49299FAEF4CC}"/>
                </a:ext>
              </a:extLst>
            </p:cNvPr>
            <p:cNvSpPr txBox="1"/>
            <p:nvPr/>
          </p:nvSpPr>
          <p:spPr>
            <a:xfrm>
              <a:off x="4153430" y="606077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Wadden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1989)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C7CA3801-A304-46F1-A8C5-E327DCF41EF3}"/>
                </a:ext>
              </a:extLst>
            </p:cNvPr>
            <p:cNvSpPr txBox="1"/>
            <p:nvPr/>
          </p:nvSpPr>
          <p:spPr>
            <a:xfrm>
              <a:off x="4153430" y="6245679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CA" sz="800" dirty="0" err="1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Hensrud</a:t>
              </a:r>
              <a:r>
                <a:rPr lang="en-CA" sz="800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 (1994)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xmlns="" id="{A662F449-AEB4-45AF-A394-D09741537B05}"/>
                </a:ext>
              </a:extLst>
            </p:cNvPr>
            <p:cNvSpPr/>
            <p:nvPr/>
          </p:nvSpPr>
          <p:spPr>
            <a:xfrm>
              <a:off x="1793830" y="1855816"/>
              <a:ext cx="351570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2000" b="1" dirty="0">
                  <a:solidFill>
                    <a:srgbClr val="001965"/>
                  </a:solidFill>
                  <a:latin typeface="Arial" charset="0"/>
                  <a:ea typeface="Arial" charset="0"/>
                  <a:cs typeface="Arial" charset="0"/>
                </a:rPr>
                <a:t>Maintenance of weight loss</a:t>
              </a:r>
            </a:p>
          </p:txBody>
        </p:sp>
      </p:grpSp>
      <p:sp>
        <p:nvSpPr>
          <p:cNvPr id="95" name="Title 2">
            <a:extLst>
              <a:ext uri="{FF2B5EF4-FFF2-40B4-BE49-F238E27FC236}">
                <a16:creationId xmlns:a16="http://schemas.microsoft.com/office/drawing/2014/main" xmlns="" id="{090CD148-3612-42B3-B4EB-8A13AAA12B2A}"/>
              </a:ext>
            </a:extLst>
          </p:cNvPr>
          <p:cNvSpPr txBox="1">
            <a:spLocks/>
          </p:cNvSpPr>
          <p:nvPr/>
        </p:nvSpPr>
        <p:spPr bwMode="auto">
          <a:xfrm>
            <a:off x="7404818" y="1840237"/>
            <a:ext cx="3595287" cy="8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6818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368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0512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7359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algn="ctr" defTabSz="1219170">
              <a:defRPr/>
            </a:pPr>
            <a:r>
              <a:rPr lang="en-CA" sz="2000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rPr>
              <a:t>Metabolic adaptation </a:t>
            </a:r>
            <a:br>
              <a:rPr lang="en-CA" sz="2000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r>
              <a:rPr lang="en-CA" sz="2000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rPr>
              <a:t>following weight loss</a:t>
            </a:r>
            <a:endParaRPr lang="en-GB" sz="2000" dirty="0">
              <a:solidFill>
                <a:srgbClr val="001965"/>
              </a:solidFill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30" name="Arrow: Down 129">
            <a:extLst>
              <a:ext uri="{FF2B5EF4-FFF2-40B4-BE49-F238E27FC236}">
                <a16:creationId xmlns:a16="http://schemas.microsoft.com/office/drawing/2014/main" xmlns="" id="{AACDB6E8-C42D-4471-B464-D6C133798731}"/>
              </a:ext>
            </a:extLst>
          </p:cNvPr>
          <p:cNvSpPr/>
          <p:nvPr/>
        </p:nvSpPr>
        <p:spPr>
          <a:xfrm>
            <a:off x="6819421" y="2827275"/>
            <a:ext cx="723936" cy="3535124"/>
          </a:xfrm>
          <a:prstGeom prst="downArrow">
            <a:avLst/>
          </a:prstGeom>
          <a:solidFill>
            <a:srgbClr val="E6553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 sz="2489">
              <a:solidFill>
                <a:srgbClr val="FFFFFF"/>
              </a:solidFill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xmlns="" id="{3D7D0B08-552B-4CFD-88E4-3F326487E647}"/>
              </a:ext>
            </a:extLst>
          </p:cNvPr>
          <p:cNvGrpSpPr/>
          <p:nvPr/>
        </p:nvGrpSpPr>
        <p:grpSpPr>
          <a:xfrm>
            <a:off x="6997716" y="3821818"/>
            <a:ext cx="4517035" cy="1546037"/>
            <a:chOff x="5248287" y="2892036"/>
            <a:chExt cx="3387776" cy="1159528"/>
          </a:xfrm>
        </p:grpSpPr>
        <p:sp>
          <p:nvSpPr>
            <p:cNvPr id="125" name="Rectangle 8">
              <a:extLst>
                <a:ext uri="{FF2B5EF4-FFF2-40B4-BE49-F238E27FC236}">
                  <a16:creationId xmlns:a16="http://schemas.microsoft.com/office/drawing/2014/main" xmlns="" id="{92687EE3-96D4-4ABE-AB93-7CA6F060B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8287" y="2892036"/>
              <a:ext cx="3387776" cy="1159528"/>
            </a:xfrm>
            <a:prstGeom prst="roundRect">
              <a:avLst>
                <a:gd name="adj" fmla="val 0"/>
              </a:avLst>
            </a:prstGeom>
            <a:solidFill>
              <a:schemeClr val="accent5"/>
            </a:solidFill>
            <a:ln w="38100"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/>
          </p:spPr>
          <p:txBody>
            <a:bodyPr lIns="0" tIns="47959" rIns="0" bIns="47959" anchor="t"/>
            <a:lstStyle/>
            <a:p>
              <a:pPr algn="ctr" defTabSz="1218210">
                <a:spcAft>
                  <a:spcPts val="800"/>
                </a:spcAft>
                <a:defRPr/>
              </a:pPr>
              <a:r>
                <a:rPr lang="en-CA" sz="1400" dirty="0">
                  <a:solidFill>
                    <a:srgbClr val="FFFFFF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Adaptations that resist weight loss:</a:t>
              </a:r>
            </a:p>
          </p:txBody>
        </p:sp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xmlns="" id="{488F71F5-E512-40BF-8B22-B8F2566B87B5}"/>
                </a:ext>
              </a:extLst>
            </p:cNvPr>
            <p:cNvSpPr/>
            <p:nvPr/>
          </p:nvSpPr>
          <p:spPr>
            <a:xfrm>
              <a:off x="5352404" y="3279763"/>
              <a:ext cx="1535931" cy="624467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20" tIns="48000" rIns="48000" bIns="48000" rtlCol="0" anchor="ctr"/>
            <a:lstStyle/>
            <a:p>
              <a:pPr marL="122764" indent="-122764" eaLnBrk="0" hangingPunct="0">
                <a:spcAft>
                  <a:spcPts val="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b="1" dirty="0">
                  <a:solidFill>
                    <a:srgbClr val="3B97DE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Hormone levels</a:t>
              </a:r>
              <a:r>
                <a:rPr lang="en-US" sz="1333" dirty="0">
                  <a:solidFill>
                    <a:srgbClr val="000000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/>
              </a:r>
              <a:br>
                <a:rPr lang="en-US" sz="1333" dirty="0">
                  <a:solidFill>
                    <a:srgbClr val="000000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US" sz="1200" dirty="0">
                  <a:solidFill>
                    <a:srgbClr val="001965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↓ satiety hormones </a:t>
              </a:r>
              <a:br>
                <a:rPr lang="en-US" sz="1200" dirty="0">
                  <a:solidFill>
                    <a:srgbClr val="001965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CA" sz="1200" dirty="0">
                  <a:solidFill>
                    <a:srgbClr val="001965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↑ hunger hormones</a:t>
              </a:r>
              <a:endParaRPr lang="en-CA" sz="1333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27" name="Rectangle: Rounded Corners 126">
              <a:extLst>
                <a:ext uri="{FF2B5EF4-FFF2-40B4-BE49-F238E27FC236}">
                  <a16:creationId xmlns:a16="http://schemas.microsoft.com/office/drawing/2014/main" xmlns="" id="{F6DF3FDF-7591-4338-9E24-F646A933F13A}"/>
                </a:ext>
              </a:extLst>
            </p:cNvPr>
            <p:cNvSpPr/>
            <p:nvPr/>
          </p:nvSpPr>
          <p:spPr>
            <a:xfrm>
              <a:off x="6996015" y="3279763"/>
              <a:ext cx="1535931" cy="624467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20" tIns="48000" rIns="48000" bIns="48000" rtlCol="0" anchor="ctr"/>
            <a:lstStyle/>
            <a:p>
              <a:pPr marL="122764" indent="-122764" eaLnBrk="0" hangingPunct="0">
                <a:spcAft>
                  <a:spcPts val="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b="1" dirty="0">
                  <a:solidFill>
                    <a:srgbClr val="3B97DE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Metabolism</a:t>
              </a:r>
              <a:r>
                <a:rPr lang="en-US" sz="1333" dirty="0">
                  <a:solidFill>
                    <a:srgbClr val="000000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/>
              </a:r>
              <a:br>
                <a:rPr lang="en-US" sz="1333" dirty="0">
                  <a:solidFill>
                    <a:srgbClr val="000000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US" sz="1200" dirty="0">
                  <a:solidFill>
                    <a:srgbClr val="001965"/>
                  </a:solidFill>
                  <a:ea typeface="Apis For Office" panose="020B0504010101010104" pitchFamily="34" charset="0"/>
                  <a:cs typeface="Apis For Office" panose="020B0504010101010104" pitchFamily="34" charset="0"/>
                </a:rPr>
                <a:t>↓ energy expenditure</a:t>
              </a:r>
              <a:endParaRPr lang="en-CA" sz="1333" dirty="0">
                <a:solidFill>
                  <a:srgbClr val="001965"/>
                </a:solidFill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</p:grpSp>
      <p:sp>
        <p:nvSpPr>
          <p:cNvPr id="111" name="Slide Number Placeholder 1">
            <a:extLst>
              <a:ext uri="{FF2B5EF4-FFF2-40B4-BE49-F238E27FC236}">
                <a16:creationId xmlns:a16="http://schemas.microsoft.com/office/drawing/2014/main" xmlns="" id="{35A9B98E-2BFD-4D48-86EC-2BC5E2BE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pPr>
              <a:defRPr/>
            </a:pPr>
            <a:fld id="{23AA811B-2EBD-4900-905E-5BE206449611}" type="slidenum">
              <a:rPr lang="en-GB" smtClean="0">
                <a:solidFill>
                  <a:srgbClr val="001965"/>
                </a:solidFill>
              </a:rPr>
              <a:pPr>
                <a:defRPr/>
              </a:pPr>
              <a:t>14</a:t>
            </a:fld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xmlns="" id="{CFFC31D7-4E22-4A6F-A8BD-D96CCC58F9EB}"/>
              </a:ext>
            </a:extLst>
          </p:cNvPr>
          <p:cNvSpPr/>
          <p:nvPr/>
        </p:nvSpPr>
        <p:spPr>
          <a:xfrm>
            <a:off x="190708" y="6616220"/>
            <a:ext cx="115694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a-DK" sz="1200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Nordmo et al. Obes Rev 2019. doi: 10.1111/obr.12949. Fothergill E, Guo J, Howard L, et al. Obesity (Silver Spring). 2016;24:1612– 1619; Sumithran P, Prendergast LA, Delbridge E, et al. N Engl J Med. 2011;365:1597–1604</a:t>
            </a:r>
          </a:p>
        </p:txBody>
      </p:sp>
    </p:spTree>
    <p:extLst>
      <p:ext uri="{BB962C8B-B14F-4D97-AF65-F5344CB8AC3E}">
        <p14:creationId xmlns:p14="http://schemas.microsoft.com/office/powerpoint/2010/main" val="575449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5</a:t>
            </a:fld>
            <a:endParaRPr lang="en-GB" sz="700" dirty="0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xmlns="" id="{FC8617D1-D0DF-46F9-89D3-91ECB7DC4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527762"/>
            <a:ext cx="11347200" cy="521883"/>
          </a:xfrm>
        </p:spPr>
        <p:txBody>
          <a:bodyPr/>
          <a:lstStyle/>
          <a:p>
            <a:r>
              <a:rPr lang="it-IT" sz="3600" dirty="0"/>
              <a:t>The </a:t>
            </a:r>
            <a:r>
              <a:rPr lang="it-IT" sz="3600" dirty="0" err="1"/>
              <a:t>Role</a:t>
            </a:r>
            <a:r>
              <a:rPr lang="it-IT" sz="3600" dirty="0"/>
              <a:t> of </a:t>
            </a:r>
            <a:r>
              <a:rPr lang="it-IT" sz="3600" dirty="0" err="1"/>
              <a:t>Pharmacotherapy</a:t>
            </a:r>
            <a:endParaRPr lang="en-GB" sz="3600" dirty="0"/>
          </a:p>
        </p:txBody>
      </p:sp>
      <p:pic>
        <p:nvPicPr>
          <p:cNvPr id="2050" name="Picture 2" descr="79 Bariatric Surgery Icon Illustrations &amp;amp; Clip Art - iStock">
            <a:extLst>
              <a:ext uri="{FF2B5EF4-FFF2-40B4-BE49-F238E27FC236}">
                <a16:creationId xmlns:a16="http://schemas.microsoft.com/office/drawing/2014/main" xmlns="" id="{315284F3-D514-4A3F-8D13-606D52B08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047" y="1863784"/>
            <a:ext cx="3713906" cy="371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ccia destra rientrata 5">
            <a:extLst>
              <a:ext uri="{FF2B5EF4-FFF2-40B4-BE49-F238E27FC236}">
                <a16:creationId xmlns:a16="http://schemas.microsoft.com/office/drawing/2014/main" xmlns="" id="{9F279898-99E4-4FF5-9524-6E623BC947A4}"/>
              </a:ext>
            </a:extLst>
          </p:cNvPr>
          <p:cNvSpPr/>
          <p:nvPr/>
        </p:nvSpPr>
        <p:spPr>
          <a:xfrm>
            <a:off x="947064" y="6005660"/>
            <a:ext cx="10426330" cy="696685"/>
          </a:xfrm>
          <a:prstGeom prst="notched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xmlns="" id="{6F3837D3-0A57-4C5A-A285-5911AFA3F917}"/>
              </a:ext>
            </a:extLst>
          </p:cNvPr>
          <p:cNvCxnSpPr/>
          <p:nvPr/>
        </p:nvCxnSpPr>
        <p:spPr>
          <a:xfrm>
            <a:off x="4310747" y="1621973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xmlns="" id="{7F24E4D9-CCE7-4A1E-BF47-A06C4936EF38}"/>
              </a:ext>
            </a:extLst>
          </p:cNvPr>
          <p:cNvCxnSpPr/>
          <p:nvPr/>
        </p:nvCxnSpPr>
        <p:spPr>
          <a:xfrm>
            <a:off x="8007531" y="1621972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66F35D49-F0D4-48C8-9D32-8FC4679E7494}"/>
              </a:ext>
            </a:extLst>
          </p:cNvPr>
          <p:cNvSpPr txBox="1">
            <a:spLocks/>
          </p:cNvSpPr>
          <p:nvPr/>
        </p:nvSpPr>
        <p:spPr bwMode="auto">
          <a:xfrm>
            <a:off x="947064" y="1430380"/>
            <a:ext cx="2873821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re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CEC905D9-9937-4980-9BA5-86F66489212D}"/>
              </a:ext>
            </a:extLst>
          </p:cNvPr>
          <p:cNvSpPr txBox="1">
            <a:spLocks/>
          </p:cNvSpPr>
          <p:nvPr/>
        </p:nvSpPr>
        <p:spPr bwMode="auto">
          <a:xfrm>
            <a:off x="8557769" y="1433961"/>
            <a:ext cx="3113963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ost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1" name="Insert title here">
            <a:extLst>
              <a:ext uri="{FF2B5EF4-FFF2-40B4-BE49-F238E27FC236}">
                <a16:creationId xmlns:a16="http://schemas.microsoft.com/office/drawing/2014/main" xmlns="" id="{18804BA4-4525-4C8E-919A-D1C101484E7B}"/>
              </a:ext>
            </a:extLst>
          </p:cNvPr>
          <p:cNvSpPr/>
          <p:nvPr/>
        </p:nvSpPr>
        <p:spPr>
          <a:xfrm>
            <a:off x="8278954" y="2053108"/>
            <a:ext cx="3392778" cy="34983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Weight Regain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 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   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≥ 25 weight loss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Insufficient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&lt; 50% EWL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desiring further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6</a:t>
            </a: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with no indication for bariatric surger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7                                  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BMI &lt; 40): endoscopic surgery</a:t>
            </a:r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pic>
        <p:nvPicPr>
          <p:cNvPr id="12" name="Picture 2" descr="Obese Icon - Download in Glyph Style">
            <a:extLst>
              <a:ext uri="{FF2B5EF4-FFF2-40B4-BE49-F238E27FC236}">
                <a16:creationId xmlns:a16="http://schemas.microsoft.com/office/drawing/2014/main" xmlns="" id="{88592EA5-5BD8-4A94-8641-05DD2ACBC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rgbClr val="00196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0" y="5785536"/>
            <a:ext cx="974684" cy="97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85">
            <a:extLst>
              <a:ext uri="{FF2B5EF4-FFF2-40B4-BE49-F238E27FC236}">
                <a16:creationId xmlns:a16="http://schemas.microsoft.com/office/drawing/2014/main" xmlns="" id="{6A89ABAC-C963-4853-8361-168C2CBA9C3C}"/>
              </a:ext>
            </a:extLst>
          </p:cNvPr>
          <p:cNvGrpSpPr/>
          <p:nvPr/>
        </p:nvGrpSpPr>
        <p:grpSpPr>
          <a:xfrm>
            <a:off x="11522108" y="5796405"/>
            <a:ext cx="443926" cy="963815"/>
            <a:chOff x="4597006" y="3350024"/>
            <a:chExt cx="211872" cy="530750"/>
          </a:xfrm>
        </p:grpSpPr>
        <p:sp>
          <p:nvSpPr>
            <p:cNvPr id="16" name="Oval 372">
              <a:extLst>
                <a:ext uri="{FF2B5EF4-FFF2-40B4-BE49-F238E27FC236}">
                  <a16:creationId xmlns:a16="http://schemas.microsoft.com/office/drawing/2014/main" xmlns="" id="{36AEFB23-C9BD-4DD4-BDBB-6BA9F81E2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742" y="3350024"/>
              <a:ext cx="86400" cy="86759"/>
            </a:xfrm>
            <a:prstGeom prst="ellipse">
              <a:avLst/>
            </a:pr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22" name="Freeform 373">
              <a:extLst>
                <a:ext uri="{FF2B5EF4-FFF2-40B4-BE49-F238E27FC236}">
                  <a16:creationId xmlns:a16="http://schemas.microsoft.com/office/drawing/2014/main" xmlns="" id="{D3C6E2A6-294E-4D8A-A486-FBEC79EDB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006" y="3449532"/>
              <a:ext cx="211872" cy="431242"/>
            </a:xfrm>
            <a:custGeom>
              <a:avLst/>
              <a:gdLst>
                <a:gd name="T0" fmla="*/ 53 w 78"/>
                <a:gd name="T1" fmla="*/ 0 h 173"/>
                <a:gd name="T2" fmla="*/ 78 w 78"/>
                <a:gd name="T3" fmla="*/ 22 h 173"/>
                <a:gd name="T4" fmla="*/ 78 w 78"/>
                <a:gd name="T5" fmla="*/ 78 h 173"/>
                <a:gd name="T6" fmla="*/ 71 w 78"/>
                <a:gd name="T7" fmla="*/ 86 h 173"/>
                <a:gd name="T8" fmla="*/ 67 w 78"/>
                <a:gd name="T9" fmla="*/ 86 h 173"/>
                <a:gd name="T10" fmla="*/ 67 w 78"/>
                <a:gd name="T11" fmla="*/ 27 h 173"/>
                <a:gd name="T12" fmla="*/ 60 w 78"/>
                <a:gd name="T13" fmla="*/ 27 h 173"/>
                <a:gd name="T14" fmla="*/ 60 w 78"/>
                <a:gd name="T15" fmla="*/ 163 h 173"/>
                <a:gd name="T16" fmla="*/ 52 w 78"/>
                <a:gd name="T17" fmla="*/ 173 h 173"/>
                <a:gd name="T18" fmla="*/ 43 w 78"/>
                <a:gd name="T19" fmla="*/ 163 h 173"/>
                <a:gd name="T20" fmla="*/ 43 w 78"/>
                <a:gd name="T21" fmla="*/ 84 h 173"/>
                <a:gd name="T22" fmla="*/ 36 w 78"/>
                <a:gd name="T23" fmla="*/ 84 h 173"/>
                <a:gd name="T24" fmla="*/ 36 w 78"/>
                <a:gd name="T25" fmla="*/ 163 h 173"/>
                <a:gd name="T26" fmla="*/ 27 w 78"/>
                <a:gd name="T27" fmla="*/ 173 h 173"/>
                <a:gd name="T28" fmla="*/ 18 w 78"/>
                <a:gd name="T29" fmla="*/ 163 h 173"/>
                <a:gd name="T30" fmla="*/ 18 w 78"/>
                <a:gd name="T31" fmla="*/ 27 h 173"/>
                <a:gd name="T32" fmla="*/ 11 w 78"/>
                <a:gd name="T33" fmla="*/ 27 h 173"/>
                <a:gd name="T34" fmla="*/ 11 w 78"/>
                <a:gd name="T35" fmla="*/ 86 h 173"/>
                <a:gd name="T36" fmla="*/ 8 w 78"/>
                <a:gd name="T37" fmla="*/ 86 h 173"/>
                <a:gd name="T38" fmla="*/ 0 w 78"/>
                <a:gd name="T39" fmla="*/ 78 h 173"/>
                <a:gd name="T40" fmla="*/ 0 w 78"/>
                <a:gd name="T41" fmla="*/ 22 h 173"/>
                <a:gd name="T42" fmla="*/ 26 w 78"/>
                <a:gd name="T43" fmla="*/ 0 h 173"/>
                <a:gd name="T44" fmla="*/ 53 w 78"/>
                <a:gd name="T45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173">
                  <a:moveTo>
                    <a:pt x="53" y="0"/>
                  </a:moveTo>
                  <a:cubicBezTo>
                    <a:pt x="65" y="0"/>
                    <a:pt x="78" y="10"/>
                    <a:pt x="78" y="22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82"/>
                    <a:pt x="75" y="86"/>
                    <a:pt x="71" y="86"/>
                  </a:cubicBezTo>
                  <a:cubicBezTo>
                    <a:pt x="69" y="86"/>
                    <a:pt x="70" y="86"/>
                    <a:pt x="67" y="8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8"/>
                    <a:pt x="57" y="173"/>
                    <a:pt x="52" y="173"/>
                  </a:cubicBezTo>
                  <a:cubicBezTo>
                    <a:pt x="46" y="173"/>
                    <a:pt x="43" y="168"/>
                    <a:pt x="43" y="163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63"/>
                    <a:pt x="36" y="163"/>
                    <a:pt x="36" y="163"/>
                  </a:cubicBezTo>
                  <a:cubicBezTo>
                    <a:pt x="36" y="168"/>
                    <a:pt x="32" y="173"/>
                    <a:pt x="27" y="173"/>
                  </a:cubicBezTo>
                  <a:cubicBezTo>
                    <a:pt x="21" y="173"/>
                    <a:pt x="18" y="168"/>
                    <a:pt x="18" y="16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8" y="86"/>
                    <a:pt x="9" y="86"/>
                    <a:pt x="8" y="86"/>
                  </a:cubicBezTo>
                  <a:cubicBezTo>
                    <a:pt x="3" y="86"/>
                    <a:pt x="0" y="82"/>
                    <a:pt x="0" y="7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3" y="0"/>
                    <a:pt x="26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</p:grpSp>
      <p:sp>
        <p:nvSpPr>
          <p:cNvPr id="23" name="Insert title here">
            <a:extLst>
              <a:ext uri="{FF2B5EF4-FFF2-40B4-BE49-F238E27FC236}">
                <a16:creationId xmlns:a16="http://schemas.microsoft.com/office/drawing/2014/main" xmlns="" id="{0406C57B-1415-4696-8CA3-360A8CBDD09A}"/>
              </a:ext>
            </a:extLst>
          </p:cNvPr>
          <p:cNvSpPr/>
          <p:nvPr/>
        </p:nvSpPr>
        <p:spPr>
          <a:xfrm>
            <a:off x="647998" y="2053105"/>
            <a:ext cx="3462443" cy="30675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Treat Metabolic Syndrome: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↑ </a:t>
            </a:r>
            <a:r>
              <a:rPr lang="en-US" sz="14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EWL post-op </a:t>
            </a:r>
            <a:r>
              <a:rPr lang="en-US" sz="1400" baseline="300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Apis Light" panose="020B04040101010101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Reduce hospital stay </a:t>
            </a:r>
            <a:r>
              <a:rPr lang="en-US" sz="1400" baseline="30000" dirty="0">
                <a:solidFill>
                  <a:schemeClr val="tx2"/>
                </a:solidFill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Post-op complications </a:t>
            </a:r>
            <a:r>
              <a:rPr lang="en-US" sz="1400" baseline="30000" dirty="0">
                <a:solidFill>
                  <a:schemeClr val="tx2"/>
                </a:solidFill>
              </a:rPr>
              <a:t>2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Risk in </a:t>
            </a:r>
            <a:r>
              <a:rPr lang="en-GB" sz="1400" b="1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nesthesia</a:t>
            </a: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lvl="1"/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BMI &gt; 65*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re-surgical weight loss is mandatory to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intra-abdominal volume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and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chieve operabilit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3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non-responsive to lifestyle intervention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4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xmlns="" id="{E088B5B6-B66B-4325-8F16-AD9F27FBE471}"/>
              </a:ext>
            </a:extLst>
          </p:cNvPr>
          <p:cNvSpPr/>
          <p:nvPr/>
        </p:nvSpPr>
        <p:spPr>
          <a:xfrm>
            <a:off x="870864" y="6531026"/>
            <a:ext cx="93685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. Hutcheon DA et al. J Am Coll Surg. 2018;226(4):514-524; 2. 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Cassie S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ela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is. 2011;7(6):760-7; 3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i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iabet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5;64:A43; 4. Malone et al. Ann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harmacoth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2;46:779–84; 5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nciguerra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F, et al. 2021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p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1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i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 10.23736/S2724-6507.21.03311-3; 6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aku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U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31(1):84-92; 7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adurdeen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astrointes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ndosc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 Jun;93(6):1316-1324.e1. </a:t>
            </a:r>
          </a:p>
        </p:txBody>
      </p:sp>
      <p:sp>
        <p:nvSpPr>
          <p:cNvPr id="20" name="Insert title here">
            <a:extLst>
              <a:ext uri="{FF2B5EF4-FFF2-40B4-BE49-F238E27FC236}">
                <a16:creationId xmlns:a16="http://schemas.microsoft.com/office/drawing/2014/main" xmlns="" id="{64D8B760-34CB-41EF-8A7C-CC936036F11D}"/>
              </a:ext>
            </a:extLst>
          </p:cNvPr>
          <p:cNvSpPr/>
          <p:nvPr/>
        </p:nvSpPr>
        <p:spPr>
          <a:xfrm>
            <a:off x="1089221" y="5437990"/>
            <a:ext cx="3139038" cy="389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* BMI &gt; 55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main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risk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factor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for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unfavourable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outcom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(SICOB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guidelin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2016)</a:t>
            </a:r>
            <a:endParaRPr lang="en-GB" sz="1100" baseline="300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3407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F9DCE6-08CB-4EF9-967D-4969C1203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578330"/>
            <a:ext cx="10896000" cy="1296000"/>
          </a:xfrm>
        </p:spPr>
        <p:txBody>
          <a:bodyPr/>
          <a:lstStyle/>
          <a:p>
            <a:r>
              <a:rPr lang="en-US" sz="36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epped approach to obesity management</a:t>
            </a:r>
            <a:br>
              <a:rPr lang="en-US" sz="36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US" sz="3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CC401B7-09B4-4778-82D9-1D630004F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sz="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, body mass index.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66A46A45-112D-4F9C-9700-A2295D8A466C}"/>
              </a:ext>
            </a:extLst>
          </p:cNvPr>
          <p:cNvSpPr/>
          <p:nvPr/>
        </p:nvSpPr>
        <p:spPr>
          <a:xfrm>
            <a:off x="647972" y="5241252"/>
            <a:ext cx="10888625" cy="93938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en-GB" sz="1333" dirty="0" err="1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xmlns="" id="{F6FF6ABF-6ABF-43BD-8ACE-F7370ECFD74C}"/>
              </a:ext>
            </a:extLst>
          </p:cNvPr>
          <p:cNvSpPr/>
          <p:nvPr/>
        </p:nvSpPr>
        <p:spPr>
          <a:xfrm>
            <a:off x="2191125" y="1240173"/>
            <a:ext cx="1778000" cy="51816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A" sz="1333" b="1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25–26.9 kg/m</a:t>
            </a:r>
            <a:r>
              <a:rPr lang="en-CA" sz="1333" b="1" baseline="3000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lang="en-US" sz="1333" b="1" baseline="30000" dirty="0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xmlns="" id="{248087C9-BAE3-4A25-B242-D8D5D6B4997D}"/>
              </a:ext>
            </a:extLst>
          </p:cNvPr>
          <p:cNvSpPr/>
          <p:nvPr/>
        </p:nvSpPr>
        <p:spPr>
          <a:xfrm>
            <a:off x="4089352" y="1240173"/>
            <a:ext cx="1778000" cy="51816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A" sz="1333" b="1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27–29.9 kg/m</a:t>
            </a:r>
            <a:r>
              <a:rPr lang="en-CA" sz="1333" b="1" baseline="3000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lang="en-US" sz="1333" b="1" baseline="30000" dirty="0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xmlns="" id="{97CDB1C8-1383-47E2-B08F-467FDAE1A16C}"/>
              </a:ext>
            </a:extLst>
          </p:cNvPr>
          <p:cNvSpPr/>
          <p:nvPr/>
        </p:nvSpPr>
        <p:spPr>
          <a:xfrm>
            <a:off x="5987579" y="1240173"/>
            <a:ext cx="1778000" cy="51816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A" sz="1333" b="1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30–34.9 kg/m</a:t>
            </a:r>
            <a:r>
              <a:rPr lang="en-CA" sz="1333" b="1" baseline="3000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lang="en-US" sz="1333" b="1" baseline="30000" dirty="0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xmlns="" id="{FBDB11A7-00D7-4B9A-B99A-8E03F9B623C4}"/>
              </a:ext>
            </a:extLst>
          </p:cNvPr>
          <p:cNvSpPr/>
          <p:nvPr/>
        </p:nvSpPr>
        <p:spPr>
          <a:xfrm>
            <a:off x="7885805" y="1240173"/>
            <a:ext cx="1778000" cy="51816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A" sz="1333" b="1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35–39.9 kg/m</a:t>
            </a:r>
            <a:r>
              <a:rPr lang="en-CA" sz="1333" b="1" baseline="3000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lang="en-US" sz="1333" b="1" baseline="30000" dirty="0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xmlns="" id="{688C9B91-6DCB-40A7-B28A-389FEFA60480}"/>
              </a:ext>
            </a:extLst>
          </p:cNvPr>
          <p:cNvSpPr/>
          <p:nvPr/>
        </p:nvSpPr>
        <p:spPr>
          <a:xfrm>
            <a:off x="9784035" y="1240173"/>
            <a:ext cx="1778000" cy="51816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/>
            </a:pPr>
            <a:r>
              <a:rPr lang="en-CA" sz="1333" b="1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≥40 kg/m</a:t>
            </a:r>
            <a:r>
              <a:rPr lang="en-CA" sz="1333" b="1" baseline="3000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lang="en-US" sz="1333" b="1" baseline="30000" dirty="0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xmlns="" id="{E17BE038-81E7-4AE2-8905-156496FE264B}"/>
              </a:ext>
            </a:extLst>
          </p:cNvPr>
          <p:cNvSpPr/>
          <p:nvPr/>
        </p:nvSpPr>
        <p:spPr>
          <a:xfrm>
            <a:off x="647999" y="2897075"/>
            <a:ext cx="10896000" cy="1111432"/>
          </a:xfrm>
          <a:prstGeom prst="rect">
            <a:avLst/>
          </a:prstGeom>
          <a:solidFill>
            <a:srgbClr val="99BD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xmlns="" id="{998B0C60-BF61-4C0E-A008-C7546B439EFE}"/>
              </a:ext>
            </a:extLst>
          </p:cNvPr>
          <p:cNvSpPr/>
          <p:nvPr/>
        </p:nvSpPr>
        <p:spPr>
          <a:xfrm>
            <a:off x="647999" y="4052027"/>
            <a:ext cx="10896000" cy="1111432"/>
          </a:xfrm>
          <a:prstGeom prst="rect">
            <a:avLst/>
          </a:prstGeom>
          <a:solidFill>
            <a:srgbClr val="CCDE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xmlns="" id="{62F625C7-A85A-48CD-936D-CD83001BC11B}"/>
              </a:ext>
            </a:extLst>
          </p:cNvPr>
          <p:cNvSpPr/>
          <p:nvPr/>
        </p:nvSpPr>
        <p:spPr>
          <a:xfrm>
            <a:off x="647999" y="1747303"/>
            <a:ext cx="10896000" cy="1111432"/>
          </a:xfrm>
          <a:prstGeom prst="rect">
            <a:avLst/>
          </a:prstGeom>
          <a:solidFill>
            <a:srgbClr val="AAD3D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8" name="Plus Sign 147">
            <a:extLst>
              <a:ext uri="{FF2B5EF4-FFF2-40B4-BE49-F238E27FC236}">
                <a16:creationId xmlns:a16="http://schemas.microsoft.com/office/drawing/2014/main" xmlns="" id="{CCF02664-E442-4443-A78C-B9956EA11645}"/>
              </a:ext>
            </a:extLst>
          </p:cNvPr>
          <p:cNvSpPr/>
          <p:nvPr/>
        </p:nvSpPr>
        <p:spPr>
          <a:xfrm>
            <a:off x="8384586" y="4228464"/>
            <a:ext cx="719635" cy="703408"/>
          </a:xfrm>
          <a:prstGeom prst="mathPlus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9" name="Plus Sign 148">
            <a:extLst>
              <a:ext uri="{FF2B5EF4-FFF2-40B4-BE49-F238E27FC236}">
                <a16:creationId xmlns:a16="http://schemas.microsoft.com/office/drawing/2014/main" xmlns="" id="{7FF0BDE1-FB4C-404D-9DF2-7C951168A565}"/>
              </a:ext>
            </a:extLst>
          </p:cNvPr>
          <p:cNvSpPr/>
          <p:nvPr/>
        </p:nvSpPr>
        <p:spPr>
          <a:xfrm>
            <a:off x="10292854" y="1992741"/>
            <a:ext cx="719635" cy="703408"/>
          </a:xfrm>
          <a:prstGeom prst="mathPlus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xmlns="" id="{EFF16861-871B-4427-95FC-2830251F0456}"/>
              </a:ext>
            </a:extLst>
          </p:cNvPr>
          <p:cNvSpPr txBox="1"/>
          <p:nvPr/>
        </p:nvSpPr>
        <p:spPr>
          <a:xfrm>
            <a:off x="566165" y="2949861"/>
            <a:ext cx="1855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harmacotherapy</a:t>
            </a:r>
            <a:endParaRPr lang="en-US" sz="1400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xmlns="" id="{DC25E939-246B-4D86-9B27-63C0C298B7DC}"/>
              </a:ext>
            </a:extLst>
          </p:cNvPr>
          <p:cNvGrpSpPr/>
          <p:nvPr/>
        </p:nvGrpSpPr>
        <p:grpSpPr>
          <a:xfrm>
            <a:off x="911608" y="3147389"/>
            <a:ext cx="845395" cy="750503"/>
            <a:chOff x="506088" y="3199373"/>
            <a:chExt cx="634046" cy="562877"/>
          </a:xfrm>
        </p:grpSpPr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="" id="{6AEC128E-C76F-4DB2-8FB6-8E260CCD8FA9}"/>
                </a:ext>
              </a:extLst>
            </p:cNvPr>
            <p:cNvGrpSpPr/>
            <p:nvPr/>
          </p:nvGrpSpPr>
          <p:grpSpPr>
            <a:xfrm rot="19962947">
              <a:off x="962237" y="3199373"/>
              <a:ext cx="177897" cy="562877"/>
              <a:chOff x="6245181" y="2255684"/>
              <a:chExt cx="248074" cy="784922"/>
            </a:xfrm>
            <a:solidFill>
              <a:schemeClr val="tx2"/>
            </a:solidFill>
          </p:grpSpPr>
          <p:sp>
            <p:nvSpPr>
              <p:cNvPr id="174" name="Freeform 28">
                <a:extLst>
                  <a:ext uri="{FF2B5EF4-FFF2-40B4-BE49-F238E27FC236}">
                    <a16:creationId xmlns:a16="http://schemas.microsoft.com/office/drawing/2014/main" xmlns="" id="{69A4049F-5A92-4A09-A72D-96DCDB778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0067" y="2943702"/>
                <a:ext cx="180241" cy="96904"/>
              </a:xfrm>
              <a:custGeom>
                <a:avLst/>
                <a:gdLst>
                  <a:gd name="T0" fmla="*/ 0 w 62"/>
                  <a:gd name="T1" fmla="*/ 33 h 33"/>
                  <a:gd name="T2" fmla="*/ 0 w 62"/>
                  <a:gd name="T3" fmla="*/ 29 h 33"/>
                  <a:gd name="T4" fmla="*/ 3 w 62"/>
                  <a:gd name="T5" fmla="*/ 26 h 33"/>
                  <a:gd name="T6" fmla="*/ 20 w 62"/>
                  <a:gd name="T7" fmla="*/ 26 h 33"/>
                  <a:gd name="T8" fmla="*/ 17 w 62"/>
                  <a:gd name="T9" fmla="*/ 0 h 33"/>
                  <a:gd name="T10" fmla="*/ 44 w 62"/>
                  <a:gd name="T11" fmla="*/ 0 h 33"/>
                  <a:gd name="T12" fmla="*/ 42 w 62"/>
                  <a:gd name="T13" fmla="*/ 26 h 33"/>
                  <a:gd name="T14" fmla="*/ 58 w 62"/>
                  <a:gd name="T15" fmla="*/ 26 h 33"/>
                  <a:gd name="T16" fmla="*/ 62 w 62"/>
                  <a:gd name="T17" fmla="*/ 29 h 33"/>
                  <a:gd name="T18" fmla="*/ 62 w 62"/>
                  <a:gd name="T19" fmla="*/ 33 h 33"/>
                  <a:gd name="T20" fmla="*/ 0 w 62"/>
                  <a:gd name="T2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33">
                    <a:moveTo>
                      <a:pt x="0" y="33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0" y="27"/>
                      <a:pt x="1" y="26"/>
                      <a:pt x="3" y="26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26"/>
                      <a:pt x="42" y="26"/>
                      <a:pt x="42" y="26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60" y="26"/>
                      <a:pt x="62" y="27"/>
                      <a:pt x="62" y="29"/>
                    </a:cubicBezTo>
                    <a:cubicBezTo>
                      <a:pt x="62" y="33"/>
                      <a:pt x="62" y="33"/>
                      <a:pt x="62" y="33"/>
                    </a:cubicBezTo>
                    <a:lnTo>
                      <a:pt x="0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5" name="Freeform 29">
                <a:extLst>
                  <a:ext uri="{FF2B5EF4-FFF2-40B4-BE49-F238E27FC236}">
                    <a16:creationId xmlns:a16="http://schemas.microsoft.com/office/drawing/2014/main" xmlns="" id="{9F4E243B-459B-4F70-8050-E575364DD3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3404" y="2255684"/>
                <a:ext cx="9690" cy="168613"/>
              </a:xfrm>
              <a:custGeom>
                <a:avLst/>
                <a:gdLst>
                  <a:gd name="T0" fmla="*/ 5 w 5"/>
                  <a:gd name="T1" fmla="*/ 87 h 87"/>
                  <a:gd name="T2" fmla="*/ 5 w 5"/>
                  <a:gd name="T3" fmla="*/ 0 h 87"/>
                  <a:gd name="T4" fmla="*/ 0 w 5"/>
                  <a:gd name="T5" fmla="*/ 9 h 87"/>
                  <a:gd name="T6" fmla="*/ 0 w 5"/>
                  <a:gd name="T7" fmla="*/ 87 h 87"/>
                  <a:gd name="T8" fmla="*/ 5 w 5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7">
                    <a:moveTo>
                      <a:pt x="5" y="87"/>
                    </a:moveTo>
                    <a:lnTo>
                      <a:pt x="5" y="0"/>
                    </a:lnTo>
                    <a:lnTo>
                      <a:pt x="0" y="9"/>
                    </a:lnTo>
                    <a:lnTo>
                      <a:pt x="0" y="87"/>
                    </a:lnTo>
                    <a:lnTo>
                      <a:pt x="5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6" name="Freeform 30">
                <a:extLst>
                  <a:ext uri="{FF2B5EF4-FFF2-40B4-BE49-F238E27FC236}">
                    <a16:creationId xmlns:a16="http://schemas.microsoft.com/office/drawing/2014/main" xmlns="" id="{E77E364A-E79B-4318-9FCF-4B2B2AB14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333" y="2433987"/>
                <a:ext cx="69771" cy="116285"/>
              </a:xfrm>
              <a:custGeom>
                <a:avLst/>
                <a:gdLst>
                  <a:gd name="T0" fmla="*/ 30 w 36"/>
                  <a:gd name="T1" fmla="*/ 51 h 60"/>
                  <a:gd name="T2" fmla="*/ 30 w 36"/>
                  <a:gd name="T3" fmla="*/ 18 h 60"/>
                  <a:gd name="T4" fmla="*/ 21 w 36"/>
                  <a:gd name="T5" fmla="*/ 0 h 60"/>
                  <a:gd name="T6" fmla="*/ 14 w 36"/>
                  <a:gd name="T7" fmla="*/ 0 h 60"/>
                  <a:gd name="T8" fmla="*/ 5 w 36"/>
                  <a:gd name="T9" fmla="*/ 18 h 60"/>
                  <a:gd name="T10" fmla="*/ 5 w 36"/>
                  <a:gd name="T11" fmla="*/ 51 h 60"/>
                  <a:gd name="T12" fmla="*/ 0 w 36"/>
                  <a:gd name="T13" fmla="*/ 51 h 60"/>
                  <a:gd name="T14" fmla="*/ 0 w 36"/>
                  <a:gd name="T15" fmla="*/ 60 h 60"/>
                  <a:gd name="T16" fmla="*/ 36 w 36"/>
                  <a:gd name="T17" fmla="*/ 60 h 60"/>
                  <a:gd name="T18" fmla="*/ 36 w 36"/>
                  <a:gd name="T19" fmla="*/ 51 h 60"/>
                  <a:gd name="T20" fmla="*/ 30 w 36"/>
                  <a:gd name="T21" fmla="*/ 5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" h="60">
                    <a:moveTo>
                      <a:pt x="30" y="51"/>
                    </a:moveTo>
                    <a:lnTo>
                      <a:pt x="30" y="18"/>
                    </a:lnTo>
                    <a:lnTo>
                      <a:pt x="21" y="0"/>
                    </a:lnTo>
                    <a:lnTo>
                      <a:pt x="14" y="0"/>
                    </a:lnTo>
                    <a:lnTo>
                      <a:pt x="5" y="18"/>
                    </a:lnTo>
                    <a:lnTo>
                      <a:pt x="5" y="51"/>
                    </a:lnTo>
                    <a:lnTo>
                      <a:pt x="0" y="51"/>
                    </a:lnTo>
                    <a:lnTo>
                      <a:pt x="0" y="60"/>
                    </a:lnTo>
                    <a:lnTo>
                      <a:pt x="36" y="60"/>
                    </a:lnTo>
                    <a:lnTo>
                      <a:pt x="36" y="51"/>
                    </a:lnTo>
                    <a:lnTo>
                      <a:pt x="30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7" name="Rectangle 31">
                <a:extLst>
                  <a:ext uri="{FF2B5EF4-FFF2-40B4-BE49-F238E27FC236}">
                    <a16:creationId xmlns:a16="http://schemas.microsoft.com/office/drawing/2014/main" xmlns="" id="{3CBEEEA3-9368-49DB-B29F-05F3B2B6DD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581" y="2711133"/>
                <a:ext cx="83337" cy="19187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8" name="Rectangle 32">
                <a:extLst>
                  <a:ext uri="{FF2B5EF4-FFF2-40B4-BE49-F238E27FC236}">
                    <a16:creationId xmlns:a16="http://schemas.microsoft.com/office/drawing/2014/main" xmlns="" id="{1A584A9B-31EA-49DD-B0EE-B7F4F48FDB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6890" y="2664619"/>
                <a:ext cx="102718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9" name="Freeform 33">
                <a:extLst>
                  <a:ext uri="{FF2B5EF4-FFF2-40B4-BE49-F238E27FC236}">
                    <a16:creationId xmlns:a16="http://schemas.microsoft.com/office/drawing/2014/main" xmlns="" id="{DBD9FF0F-CCEE-4919-98C6-37FACA045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181" y="2561901"/>
                <a:ext cx="248074" cy="370173"/>
              </a:xfrm>
              <a:custGeom>
                <a:avLst/>
                <a:gdLst>
                  <a:gd name="T0" fmla="*/ 102 w 128"/>
                  <a:gd name="T1" fmla="*/ 182 h 191"/>
                  <a:gd name="T2" fmla="*/ 102 w 128"/>
                  <a:gd name="T3" fmla="*/ 15 h 191"/>
                  <a:gd name="T4" fmla="*/ 76 w 128"/>
                  <a:gd name="T5" fmla="*/ 0 h 191"/>
                  <a:gd name="T6" fmla="*/ 70 w 128"/>
                  <a:gd name="T7" fmla="*/ 0 h 191"/>
                  <a:gd name="T8" fmla="*/ 70 w 128"/>
                  <a:gd name="T9" fmla="*/ 4 h 191"/>
                  <a:gd name="T10" fmla="*/ 96 w 128"/>
                  <a:gd name="T11" fmla="*/ 19 h 191"/>
                  <a:gd name="T12" fmla="*/ 96 w 128"/>
                  <a:gd name="T13" fmla="*/ 182 h 191"/>
                  <a:gd name="T14" fmla="*/ 31 w 128"/>
                  <a:gd name="T15" fmla="*/ 182 h 191"/>
                  <a:gd name="T16" fmla="*/ 31 w 128"/>
                  <a:gd name="T17" fmla="*/ 19 h 191"/>
                  <a:gd name="T18" fmla="*/ 58 w 128"/>
                  <a:gd name="T19" fmla="*/ 4 h 191"/>
                  <a:gd name="T20" fmla="*/ 58 w 128"/>
                  <a:gd name="T21" fmla="*/ 0 h 191"/>
                  <a:gd name="T22" fmla="*/ 51 w 128"/>
                  <a:gd name="T23" fmla="*/ 0 h 191"/>
                  <a:gd name="T24" fmla="*/ 51 w 128"/>
                  <a:gd name="T25" fmla="*/ 0 h 191"/>
                  <a:gd name="T26" fmla="*/ 25 w 128"/>
                  <a:gd name="T27" fmla="*/ 15 h 191"/>
                  <a:gd name="T28" fmla="*/ 25 w 128"/>
                  <a:gd name="T29" fmla="*/ 182 h 191"/>
                  <a:gd name="T30" fmla="*/ 0 w 128"/>
                  <a:gd name="T31" fmla="*/ 182 h 191"/>
                  <a:gd name="T32" fmla="*/ 0 w 128"/>
                  <a:gd name="T33" fmla="*/ 191 h 191"/>
                  <a:gd name="T34" fmla="*/ 128 w 128"/>
                  <a:gd name="T35" fmla="*/ 191 h 191"/>
                  <a:gd name="T36" fmla="*/ 128 w 128"/>
                  <a:gd name="T37" fmla="*/ 182 h 191"/>
                  <a:gd name="T38" fmla="*/ 102 w 128"/>
                  <a:gd name="T39" fmla="*/ 182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91">
                    <a:moveTo>
                      <a:pt x="102" y="182"/>
                    </a:moveTo>
                    <a:lnTo>
                      <a:pt x="102" y="15"/>
                    </a:lnTo>
                    <a:lnTo>
                      <a:pt x="7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96" y="19"/>
                    </a:lnTo>
                    <a:lnTo>
                      <a:pt x="96" y="182"/>
                    </a:lnTo>
                    <a:lnTo>
                      <a:pt x="31" y="182"/>
                    </a:lnTo>
                    <a:lnTo>
                      <a:pt x="31" y="19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25" y="15"/>
                    </a:lnTo>
                    <a:lnTo>
                      <a:pt x="25" y="182"/>
                    </a:lnTo>
                    <a:lnTo>
                      <a:pt x="0" y="182"/>
                    </a:lnTo>
                    <a:lnTo>
                      <a:pt x="0" y="191"/>
                    </a:lnTo>
                    <a:lnTo>
                      <a:pt x="128" y="191"/>
                    </a:lnTo>
                    <a:lnTo>
                      <a:pt x="128" y="182"/>
                    </a:lnTo>
                    <a:lnTo>
                      <a:pt x="102" y="1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xmlns="" id="{FAB03AEF-3DFB-4038-B3BD-71BE6A9761AB}"/>
                </a:ext>
              </a:extLst>
            </p:cNvPr>
            <p:cNvSpPr/>
            <p:nvPr/>
          </p:nvSpPr>
          <p:spPr>
            <a:xfrm>
              <a:off x="517407" y="3452453"/>
              <a:ext cx="191574" cy="304405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xmlns="" id="{F51E9E81-D432-4CE8-A626-095CFEF8583F}"/>
                </a:ext>
              </a:extLst>
            </p:cNvPr>
            <p:cNvSpPr/>
            <p:nvPr/>
          </p:nvSpPr>
          <p:spPr>
            <a:xfrm>
              <a:off x="766256" y="3507576"/>
              <a:ext cx="203993" cy="23998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55" name="Rectangle: Top Corners Rounded 154">
              <a:extLst>
                <a:ext uri="{FF2B5EF4-FFF2-40B4-BE49-F238E27FC236}">
                  <a16:creationId xmlns:a16="http://schemas.microsoft.com/office/drawing/2014/main" xmlns="" id="{3729BC1A-8195-4B78-8442-297FFAEB1F60}"/>
                </a:ext>
              </a:extLst>
            </p:cNvPr>
            <p:cNvSpPr/>
            <p:nvPr/>
          </p:nvSpPr>
          <p:spPr>
            <a:xfrm>
              <a:off x="788342" y="3332853"/>
              <a:ext cx="154842" cy="141892"/>
            </a:xfrm>
            <a:prstGeom prst="round2Same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201D88CD-FB4A-4EB8-8C1C-D434A09860DE}"/>
                </a:ext>
              </a:extLst>
            </p:cNvPr>
            <p:cNvGrpSpPr/>
            <p:nvPr/>
          </p:nvGrpSpPr>
          <p:grpSpPr>
            <a:xfrm>
              <a:off x="506088" y="3314404"/>
              <a:ext cx="474571" cy="445297"/>
              <a:chOff x="5223814" y="2383597"/>
              <a:chExt cx="596928" cy="560106"/>
            </a:xfrm>
            <a:solidFill>
              <a:schemeClr val="tx2"/>
            </a:solidFill>
          </p:grpSpPr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xmlns="" id="{8937FCE5-97B0-483A-A1B9-D26F35D9D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8080" y="2383597"/>
                <a:ext cx="153108" cy="17443"/>
              </a:xfrm>
              <a:custGeom>
                <a:avLst/>
                <a:gdLst>
                  <a:gd name="T0" fmla="*/ 53 w 53"/>
                  <a:gd name="T1" fmla="*/ 6 h 6"/>
                  <a:gd name="T2" fmla="*/ 53 w 53"/>
                  <a:gd name="T3" fmla="*/ 3 h 6"/>
                  <a:gd name="T4" fmla="*/ 50 w 53"/>
                  <a:gd name="T5" fmla="*/ 0 h 6"/>
                  <a:gd name="T6" fmla="*/ 3 w 53"/>
                  <a:gd name="T7" fmla="*/ 0 h 6"/>
                  <a:gd name="T8" fmla="*/ 0 w 53"/>
                  <a:gd name="T9" fmla="*/ 3 h 6"/>
                  <a:gd name="T10" fmla="*/ 0 w 53"/>
                  <a:gd name="T11" fmla="*/ 6 h 6"/>
                  <a:gd name="T12" fmla="*/ 53 w 5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6">
                    <a:moveTo>
                      <a:pt x="53" y="6"/>
                    </a:moveTo>
                    <a:cubicBezTo>
                      <a:pt x="53" y="3"/>
                      <a:pt x="53" y="3"/>
                      <a:pt x="53" y="3"/>
                    </a:cubicBezTo>
                    <a:cubicBezTo>
                      <a:pt x="53" y="1"/>
                      <a:pt x="52" y="0"/>
                      <a:pt x="5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53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xmlns="" id="{BEAAF7A0-2396-43F4-A65C-85299901B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8080" y="2497944"/>
                <a:ext cx="153108" cy="17443"/>
              </a:xfrm>
              <a:custGeom>
                <a:avLst/>
                <a:gdLst>
                  <a:gd name="T0" fmla="*/ 0 w 53"/>
                  <a:gd name="T1" fmla="*/ 0 h 6"/>
                  <a:gd name="T2" fmla="*/ 0 w 53"/>
                  <a:gd name="T3" fmla="*/ 3 h 6"/>
                  <a:gd name="T4" fmla="*/ 3 w 53"/>
                  <a:gd name="T5" fmla="*/ 6 h 6"/>
                  <a:gd name="T6" fmla="*/ 50 w 53"/>
                  <a:gd name="T7" fmla="*/ 6 h 6"/>
                  <a:gd name="T8" fmla="*/ 53 w 53"/>
                  <a:gd name="T9" fmla="*/ 3 h 6"/>
                  <a:gd name="T10" fmla="*/ 53 w 53"/>
                  <a:gd name="T11" fmla="*/ 0 h 6"/>
                  <a:gd name="T12" fmla="*/ 0 w 5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6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6"/>
                      <a:pt x="3" y="6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52" y="6"/>
                      <a:pt x="53" y="5"/>
                      <a:pt x="53" y="3"/>
                    </a:cubicBezTo>
                    <a:cubicBezTo>
                      <a:pt x="53" y="0"/>
                      <a:pt x="53" y="0"/>
                      <a:pt x="5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59" name="Rectangle 36">
                <a:extLst>
                  <a:ext uri="{FF2B5EF4-FFF2-40B4-BE49-F238E27FC236}">
                    <a16:creationId xmlns:a16="http://schemas.microsoft.com/office/drawing/2014/main" xmlns="" id="{6C84E707-97F3-4133-8A17-84ABBC9EC0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761" y="2412669"/>
                <a:ext cx="15505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0" name="Rectangle 37">
                <a:extLst>
                  <a:ext uri="{FF2B5EF4-FFF2-40B4-BE49-F238E27FC236}">
                    <a16:creationId xmlns:a16="http://schemas.microsoft.com/office/drawing/2014/main" xmlns="" id="{E1BF24ED-B2DF-470D-A852-E77D592D0B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83894" y="2412669"/>
                <a:ext cx="13567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1" name="Rectangle 38">
                <a:extLst>
                  <a:ext uri="{FF2B5EF4-FFF2-40B4-BE49-F238E27FC236}">
                    <a16:creationId xmlns:a16="http://schemas.microsoft.com/office/drawing/2014/main" xmlns="" id="{C568E1CB-3457-4037-8242-1624F71D4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9090" y="2412669"/>
                <a:ext cx="15505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2" name="Rectangle 39">
                <a:extLst>
                  <a:ext uri="{FF2B5EF4-FFF2-40B4-BE49-F238E27FC236}">
                    <a16:creationId xmlns:a16="http://schemas.microsoft.com/office/drawing/2014/main" xmlns="" id="{F916A6E2-EC01-49AC-A8F9-85F87DD579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6223" y="2412669"/>
                <a:ext cx="13567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3" name="Rectangle 40">
                <a:extLst>
                  <a:ext uri="{FF2B5EF4-FFF2-40B4-BE49-F238E27FC236}">
                    <a16:creationId xmlns:a16="http://schemas.microsoft.com/office/drawing/2014/main" xmlns="" id="{49313C87-C932-4F8B-8195-994858525A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1418" y="2412669"/>
                <a:ext cx="15505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4" name="Rectangle 41">
                <a:extLst>
                  <a:ext uri="{FF2B5EF4-FFF2-40B4-BE49-F238E27FC236}">
                    <a16:creationId xmlns:a16="http://schemas.microsoft.com/office/drawing/2014/main" xmlns="" id="{1C7E8EBD-8FEC-491F-90BE-3B25E2E3A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8551" y="2412669"/>
                <a:ext cx="13567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5" name="Rectangle 42">
                <a:extLst>
                  <a:ext uri="{FF2B5EF4-FFF2-40B4-BE49-F238E27FC236}">
                    <a16:creationId xmlns:a16="http://schemas.microsoft.com/office/drawing/2014/main" xmlns="" id="{98D95CA5-F5FB-4409-A625-319211D795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3746" y="2412669"/>
                <a:ext cx="15505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6" name="Rectangle 43">
                <a:extLst>
                  <a:ext uri="{FF2B5EF4-FFF2-40B4-BE49-F238E27FC236}">
                    <a16:creationId xmlns:a16="http://schemas.microsoft.com/office/drawing/2014/main" xmlns="" id="{A8A9C4EB-3BC3-4639-9670-399E0FB5E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0879" y="2412669"/>
                <a:ext cx="11628" cy="7364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7" name="Rectangle 44">
                <a:extLst>
                  <a:ext uri="{FF2B5EF4-FFF2-40B4-BE49-F238E27FC236}">
                    <a16:creationId xmlns:a16="http://schemas.microsoft.com/office/drawing/2014/main" xmlns="" id="{76649A89-6B6B-4F41-B5CC-8C57DEBF9D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452" y="2753770"/>
                <a:ext cx="176365" cy="15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8" name="Rectangle 45">
                <a:extLst>
                  <a:ext uri="{FF2B5EF4-FFF2-40B4-BE49-F238E27FC236}">
                    <a16:creationId xmlns:a16="http://schemas.microsoft.com/office/drawing/2014/main" xmlns="" id="{F1243FCB-53C9-4C59-B227-CA06DF81B9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80018" y="2695628"/>
                <a:ext cx="149232" cy="3876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69" name="Rectangle 46">
                <a:extLst>
                  <a:ext uri="{FF2B5EF4-FFF2-40B4-BE49-F238E27FC236}">
                    <a16:creationId xmlns:a16="http://schemas.microsoft.com/office/drawing/2014/main" xmlns="" id="{EF9CC8E0-5174-4A64-B085-92BDA24533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452" y="2800284"/>
                <a:ext cx="176365" cy="15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xmlns="" id="{43991FF3-95A7-46DF-BE0F-29DB48B6A4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3814" y="2527015"/>
                <a:ext cx="263579" cy="416687"/>
              </a:xfrm>
              <a:custGeom>
                <a:avLst/>
                <a:gdLst>
                  <a:gd name="T0" fmla="*/ 76 w 90"/>
                  <a:gd name="T1" fmla="*/ 8 h 143"/>
                  <a:gd name="T2" fmla="*/ 69 w 90"/>
                  <a:gd name="T3" fmla="*/ 0 h 143"/>
                  <a:gd name="T4" fmla="*/ 20 w 90"/>
                  <a:gd name="T5" fmla="*/ 0 h 143"/>
                  <a:gd name="T6" fmla="*/ 14 w 90"/>
                  <a:gd name="T7" fmla="*/ 8 h 143"/>
                  <a:gd name="T8" fmla="*/ 0 w 90"/>
                  <a:gd name="T9" fmla="*/ 32 h 143"/>
                  <a:gd name="T10" fmla="*/ 0 w 90"/>
                  <a:gd name="T11" fmla="*/ 123 h 143"/>
                  <a:gd name="T12" fmla="*/ 20 w 90"/>
                  <a:gd name="T13" fmla="*/ 143 h 143"/>
                  <a:gd name="T14" fmla="*/ 70 w 90"/>
                  <a:gd name="T15" fmla="*/ 143 h 143"/>
                  <a:gd name="T16" fmla="*/ 90 w 90"/>
                  <a:gd name="T17" fmla="*/ 123 h 143"/>
                  <a:gd name="T18" fmla="*/ 90 w 90"/>
                  <a:gd name="T19" fmla="*/ 32 h 143"/>
                  <a:gd name="T20" fmla="*/ 76 w 90"/>
                  <a:gd name="T21" fmla="*/ 8 h 143"/>
                  <a:gd name="T22" fmla="*/ 60 w 90"/>
                  <a:gd name="T23" fmla="*/ 14 h 143"/>
                  <a:gd name="T24" fmla="*/ 62 w 90"/>
                  <a:gd name="T25" fmla="*/ 17 h 143"/>
                  <a:gd name="T26" fmla="*/ 60 w 90"/>
                  <a:gd name="T27" fmla="*/ 19 h 143"/>
                  <a:gd name="T28" fmla="*/ 58 w 90"/>
                  <a:gd name="T29" fmla="*/ 17 h 143"/>
                  <a:gd name="T30" fmla="*/ 60 w 90"/>
                  <a:gd name="T31" fmla="*/ 14 h 143"/>
                  <a:gd name="T32" fmla="*/ 7 w 90"/>
                  <a:gd name="T33" fmla="*/ 26 h 143"/>
                  <a:gd name="T34" fmla="*/ 18 w 90"/>
                  <a:gd name="T35" fmla="*/ 14 h 143"/>
                  <a:gd name="T36" fmla="*/ 52 w 90"/>
                  <a:gd name="T37" fmla="*/ 14 h 143"/>
                  <a:gd name="T38" fmla="*/ 55 w 90"/>
                  <a:gd name="T39" fmla="*/ 17 h 143"/>
                  <a:gd name="T40" fmla="*/ 52 w 90"/>
                  <a:gd name="T41" fmla="*/ 19 h 143"/>
                  <a:gd name="T42" fmla="*/ 18 w 90"/>
                  <a:gd name="T43" fmla="*/ 19 h 143"/>
                  <a:gd name="T44" fmla="*/ 11 w 90"/>
                  <a:gd name="T45" fmla="*/ 26 h 143"/>
                  <a:gd name="T46" fmla="*/ 9 w 90"/>
                  <a:gd name="T47" fmla="*/ 28 h 143"/>
                  <a:gd name="T48" fmla="*/ 7 w 90"/>
                  <a:gd name="T49" fmla="*/ 26 h 143"/>
                  <a:gd name="T50" fmla="*/ 82 w 90"/>
                  <a:gd name="T51" fmla="*/ 109 h 143"/>
                  <a:gd name="T52" fmla="*/ 8 w 90"/>
                  <a:gd name="T53" fmla="*/ 109 h 143"/>
                  <a:gd name="T54" fmla="*/ 8 w 90"/>
                  <a:gd name="T55" fmla="*/ 48 h 143"/>
                  <a:gd name="T56" fmla="*/ 82 w 90"/>
                  <a:gd name="T57" fmla="*/ 48 h 143"/>
                  <a:gd name="T58" fmla="*/ 82 w 90"/>
                  <a:gd name="T59" fmla="*/ 10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0" h="143">
                    <a:moveTo>
                      <a:pt x="76" y="8"/>
                    </a:moveTo>
                    <a:cubicBezTo>
                      <a:pt x="73" y="6"/>
                      <a:pt x="71" y="3"/>
                      <a:pt x="69" y="0"/>
                    </a:cubicBezTo>
                    <a:cubicBezTo>
                      <a:pt x="69" y="0"/>
                      <a:pt x="21" y="0"/>
                      <a:pt x="20" y="0"/>
                    </a:cubicBezTo>
                    <a:cubicBezTo>
                      <a:pt x="19" y="3"/>
                      <a:pt x="17" y="6"/>
                      <a:pt x="14" y="8"/>
                    </a:cubicBezTo>
                    <a:cubicBezTo>
                      <a:pt x="5" y="15"/>
                      <a:pt x="0" y="22"/>
                      <a:pt x="0" y="32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34"/>
                      <a:pt x="9" y="143"/>
                      <a:pt x="20" y="143"/>
                    </a:cubicBezTo>
                    <a:cubicBezTo>
                      <a:pt x="70" y="143"/>
                      <a:pt x="70" y="143"/>
                      <a:pt x="70" y="143"/>
                    </a:cubicBezTo>
                    <a:cubicBezTo>
                      <a:pt x="81" y="143"/>
                      <a:pt x="90" y="134"/>
                      <a:pt x="90" y="123"/>
                    </a:cubicBezTo>
                    <a:cubicBezTo>
                      <a:pt x="90" y="32"/>
                      <a:pt x="90" y="32"/>
                      <a:pt x="90" y="32"/>
                    </a:cubicBezTo>
                    <a:cubicBezTo>
                      <a:pt x="90" y="22"/>
                      <a:pt x="85" y="15"/>
                      <a:pt x="76" y="8"/>
                    </a:cubicBezTo>
                    <a:close/>
                    <a:moveTo>
                      <a:pt x="60" y="14"/>
                    </a:moveTo>
                    <a:cubicBezTo>
                      <a:pt x="61" y="14"/>
                      <a:pt x="62" y="16"/>
                      <a:pt x="62" y="17"/>
                    </a:cubicBezTo>
                    <a:cubicBezTo>
                      <a:pt x="62" y="18"/>
                      <a:pt x="61" y="19"/>
                      <a:pt x="60" y="19"/>
                    </a:cubicBezTo>
                    <a:cubicBezTo>
                      <a:pt x="59" y="19"/>
                      <a:pt x="58" y="18"/>
                      <a:pt x="58" y="17"/>
                    </a:cubicBezTo>
                    <a:cubicBezTo>
                      <a:pt x="58" y="16"/>
                      <a:pt x="59" y="14"/>
                      <a:pt x="60" y="14"/>
                    </a:cubicBezTo>
                    <a:close/>
                    <a:moveTo>
                      <a:pt x="7" y="26"/>
                    </a:moveTo>
                    <a:cubicBezTo>
                      <a:pt x="7" y="20"/>
                      <a:pt x="12" y="14"/>
                      <a:pt x="18" y="14"/>
                    </a:cubicBezTo>
                    <a:cubicBezTo>
                      <a:pt x="52" y="14"/>
                      <a:pt x="52" y="14"/>
                      <a:pt x="52" y="14"/>
                    </a:cubicBezTo>
                    <a:cubicBezTo>
                      <a:pt x="54" y="14"/>
                      <a:pt x="55" y="16"/>
                      <a:pt x="55" y="17"/>
                    </a:cubicBezTo>
                    <a:cubicBezTo>
                      <a:pt x="55" y="18"/>
                      <a:pt x="54" y="19"/>
                      <a:pt x="52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4" y="19"/>
                      <a:pt x="11" y="22"/>
                      <a:pt x="11" y="26"/>
                    </a:cubicBezTo>
                    <a:cubicBezTo>
                      <a:pt x="11" y="27"/>
                      <a:pt x="10" y="28"/>
                      <a:pt x="9" y="28"/>
                    </a:cubicBezTo>
                    <a:cubicBezTo>
                      <a:pt x="8" y="28"/>
                      <a:pt x="7" y="27"/>
                      <a:pt x="7" y="26"/>
                    </a:cubicBezTo>
                    <a:close/>
                    <a:moveTo>
                      <a:pt x="82" y="109"/>
                    </a:moveTo>
                    <a:cubicBezTo>
                      <a:pt x="8" y="109"/>
                      <a:pt x="8" y="109"/>
                      <a:pt x="8" y="109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2" y="48"/>
                      <a:pt x="82" y="48"/>
                      <a:pt x="82" y="48"/>
                    </a:cubicBezTo>
                    <a:lnTo>
                      <a:pt x="82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1" name="Rectangle 48">
                <a:extLst>
                  <a:ext uri="{FF2B5EF4-FFF2-40B4-BE49-F238E27FC236}">
                    <a16:creationId xmlns:a16="http://schemas.microsoft.com/office/drawing/2014/main" xmlns="" id="{C2CB1AC3-BE44-43F8-8A8F-1A5B83A94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452" y="2777027"/>
                <a:ext cx="176365" cy="15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xmlns="" id="{75941307-36E4-48B8-8FCD-155AEC12EF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66854" y="2395226"/>
                <a:ext cx="230631" cy="197684"/>
              </a:xfrm>
              <a:custGeom>
                <a:avLst/>
                <a:gdLst>
                  <a:gd name="T0" fmla="*/ 79 w 79"/>
                  <a:gd name="T1" fmla="*/ 68 h 68"/>
                  <a:gd name="T2" fmla="*/ 79 w 79"/>
                  <a:gd name="T3" fmla="*/ 10 h 68"/>
                  <a:gd name="T4" fmla="*/ 70 w 79"/>
                  <a:gd name="T5" fmla="*/ 0 h 68"/>
                  <a:gd name="T6" fmla="*/ 9 w 79"/>
                  <a:gd name="T7" fmla="*/ 0 h 68"/>
                  <a:gd name="T8" fmla="*/ 0 w 79"/>
                  <a:gd name="T9" fmla="*/ 10 h 68"/>
                  <a:gd name="T10" fmla="*/ 0 w 79"/>
                  <a:gd name="T11" fmla="*/ 68 h 68"/>
                  <a:gd name="T12" fmla="*/ 79 w 79"/>
                  <a:gd name="T13" fmla="*/ 68 h 68"/>
                  <a:gd name="T14" fmla="*/ 56 w 79"/>
                  <a:gd name="T15" fmla="*/ 12 h 68"/>
                  <a:gd name="T16" fmla="*/ 65 w 79"/>
                  <a:gd name="T17" fmla="*/ 21 h 68"/>
                  <a:gd name="T18" fmla="*/ 56 w 79"/>
                  <a:gd name="T19" fmla="*/ 31 h 68"/>
                  <a:gd name="T20" fmla="*/ 46 w 79"/>
                  <a:gd name="T21" fmla="*/ 21 h 68"/>
                  <a:gd name="T22" fmla="*/ 56 w 79"/>
                  <a:gd name="T23" fmla="*/ 12 h 68"/>
                  <a:gd name="T24" fmla="*/ 56 w 79"/>
                  <a:gd name="T25" fmla="*/ 41 h 68"/>
                  <a:gd name="T26" fmla="*/ 65 w 79"/>
                  <a:gd name="T27" fmla="*/ 51 h 68"/>
                  <a:gd name="T28" fmla="*/ 56 w 79"/>
                  <a:gd name="T29" fmla="*/ 61 h 68"/>
                  <a:gd name="T30" fmla="*/ 46 w 79"/>
                  <a:gd name="T31" fmla="*/ 51 h 68"/>
                  <a:gd name="T32" fmla="*/ 56 w 79"/>
                  <a:gd name="T33" fmla="*/ 41 h 68"/>
                  <a:gd name="T34" fmla="*/ 23 w 79"/>
                  <a:gd name="T35" fmla="*/ 12 h 68"/>
                  <a:gd name="T36" fmla="*/ 33 w 79"/>
                  <a:gd name="T37" fmla="*/ 21 h 68"/>
                  <a:gd name="T38" fmla="*/ 23 w 79"/>
                  <a:gd name="T39" fmla="*/ 31 h 68"/>
                  <a:gd name="T40" fmla="*/ 14 w 79"/>
                  <a:gd name="T41" fmla="*/ 21 h 68"/>
                  <a:gd name="T42" fmla="*/ 23 w 79"/>
                  <a:gd name="T43" fmla="*/ 12 h 68"/>
                  <a:gd name="T44" fmla="*/ 23 w 79"/>
                  <a:gd name="T45" fmla="*/ 41 h 68"/>
                  <a:gd name="T46" fmla="*/ 33 w 79"/>
                  <a:gd name="T47" fmla="*/ 51 h 68"/>
                  <a:gd name="T48" fmla="*/ 23 w 79"/>
                  <a:gd name="T49" fmla="*/ 61 h 68"/>
                  <a:gd name="T50" fmla="*/ 14 w 79"/>
                  <a:gd name="T51" fmla="*/ 51 h 68"/>
                  <a:gd name="T52" fmla="*/ 23 w 79"/>
                  <a:gd name="T53" fmla="*/ 4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" h="68">
                    <a:moveTo>
                      <a:pt x="79" y="68"/>
                    </a:move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4"/>
                      <a:pt x="75" y="0"/>
                      <a:pt x="7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68"/>
                      <a:pt x="0" y="68"/>
                      <a:pt x="0" y="68"/>
                    </a:cubicBezTo>
                    <a:lnTo>
                      <a:pt x="79" y="68"/>
                    </a:lnTo>
                    <a:close/>
                    <a:moveTo>
                      <a:pt x="56" y="12"/>
                    </a:moveTo>
                    <a:cubicBezTo>
                      <a:pt x="61" y="12"/>
                      <a:pt x="65" y="16"/>
                      <a:pt x="65" y="21"/>
                    </a:cubicBezTo>
                    <a:cubicBezTo>
                      <a:pt x="65" y="27"/>
                      <a:pt x="61" y="31"/>
                      <a:pt x="56" y="31"/>
                    </a:cubicBezTo>
                    <a:cubicBezTo>
                      <a:pt x="50" y="31"/>
                      <a:pt x="46" y="27"/>
                      <a:pt x="46" y="21"/>
                    </a:cubicBezTo>
                    <a:cubicBezTo>
                      <a:pt x="46" y="16"/>
                      <a:pt x="50" y="12"/>
                      <a:pt x="56" y="12"/>
                    </a:cubicBezTo>
                    <a:close/>
                    <a:moveTo>
                      <a:pt x="56" y="41"/>
                    </a:moveTo>
                    <a:cubicBezTo>
                      <a:pt x="61" y="41"/>
                      <a:pt x="65" y="46"/>
                      <a:pt x="65" y="51"/>
                    </a:cubicBezTo>
                    <a:cubicBezTo>
                      <a:pt x="65" y="56"/>
                      <a:pt x="61" y="61"/>
                      <a:pt x="56" y="61"/>
                    </a:cubicBezTo>
                    <a:cubicBezTo>
                      <a:pt x="50" y="61"/>
                      <a:pt x="46" y="56"/>
                      <a:pt x="46" y="51"/>
                    </a:cubicBezTo>
                    <a:cubicBezTo>
                      <a:pt x="46" y="46"/>
                      <a:pt x="50" y="41"/>
                      <a:pt x="56" y="41"/>
                    </a:cubicBezTo>
                    <a:close/>
                    <a:moveTo>
                      <a:pt x="23" y="12"/>
                    </a:moveTo>
                    <a:cubicBezTo>
                      <a:pt x="29" y="12"/>
                      <a:pt x="33" y="16"/>
                      <a:pt x="33" y="21"/>
                    </a:cubicBezTo>
                    <a:cubicBezTo>
                      <a:pt x="33" y="27"/>
                      <a:pt x="29" y="31"/>
                      <a:pt x="23" y="31"/>
                    </a:cubicBezTo>
                    <a:cubicBezTo>
                      <a:pt x="18" y="31"/>
                      <a:pt x="14" y="27"/>
                      <a:pt x="14" y="21"/>
                    </a:cubicBezTo>
                    <a:cubicBezTo>
                      <a:pt x="14" y="16"/>
                      <a:pt x="18" y="12"/>
                      <a:pt x="23" y="12"/>
                    </a:cubicBezTo>
                    <a:close/>
                    <a:moveTo>
                      <a:pt x="23" y="41"/>
                    </a:moveTo>
                    <a:cubicBezTo>
                      <a:pt x="29" y="41"/>
                      <a:pt x="33" y="46"/>
                      <a:pt x="33" y="51"/>
                    </a:cubicBezTo>
                    <a:cubicBezTo>
                      <a:pt x="33" y="56"/>
                      <a:pt x="29" y="61"/>
                      <a:pt x="23" y="61"/>
                    </a:cubicBezTo>
                    <a:cubicBezTo>
                      <a:pt x="18" y="61"/>
                      <a:pt x="14" y="56"/>
                      <a:pt x="14" y="51"/>
                    </a:cubicBezTo>
                    <a:cubicBezTo>
                      <a:pt x="14" y="46"/>
                      <a:pt x="18" y="41"/>
                      <a:pt x="23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xmlns="" id="{CFD04A0C-A2A9-4F42-B489-227E88A0B9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9721" y="2608415"/>
                <a:ext cx="281021" cy="335288"/>
              </a:xfrm>
              <a:custGeom>
                <a:avLst/>
                <a:gdLst>
                  <a:gd name="T0" fmla="*/ 0 w 145"/>
                  <a:gd name="T1" fmla="*/ 0 h 173"/>
                  <a:gd name="T2" fmla="*/ 0 w 145"/>
                  <a:gd name="T3" fmla="*/ 173 h 173"/>
                  <a:gd name="T4" fmla="*/ 145 w 145"/>
                  <a:gd name="T5" fmla="*/ 173 h 173"/>
                  <a:gd name="T6" fmla="*/ 145 w 145"/>
                  <a:gd name="T7" fmla="*/ 0 h 173"/>
                  <a:gd name="T8" fmla="*/ 0 w 145"/>
                  <a:gd name="T9" fmla="*/ 0 h 173"/>
                  <a:gd name="T10" fmla="*/ 20 w 145"/>
                  <a:gd name="T11" fmla="*/ 66 h 173"/>
                  <a:gd name="T12" fmla="*/ 97 w 145"/>
                  <a:gd name="T13" fmla="*/ 66 h 173"/>
                  <a:gd name="T14" fmla="*/ 97 w 145"/>
                  <a:gd name="T15" fmla="*/ 72 h 173"/>
                  <a:gd name="T16" fmla="*/ 20 w 145"/>
                  <a:gd name="T17" fmla="*/ 72 h 173"/>
                  <a:gd name="T18" fmla="*/ 20 w 145"/>
                  <a:gd name="T19" fmla="*/ 66 h 173"/>
                  <a:gd name="T20" fmla="*/ 20 w 145"/>
                  <a:gd name="T21" fmla="*/ 78 h 173"/>
                  <a:gd name="T22" fmla="*/ 97 w 145"/>
                  <a:gd name="T23" fmla="*/ 78 h 173"/>
                  <a:gd name="T24" fmla="*/ 97 w 145"/>
                  <a:gd name="T25" fmla="*/ 86 h 173"/>
                  <a:gd name="T26" fmla="*/ 20 w 145"/>
                  <a:gd name="T27" fmla="*/ 86 h 173"/>
                  <a:gd name="T28" fmla="*/ 20 w 145"/>
                  <a:gd name="T29" fmla="*/ 78 h 173"/>
                  <a:gd name="T30" fmla="*/ 127 w 145"/>
                  <a:gd name="T31" fmla="*/ 157 h 173"/>
                  <a:gd name="T32" fmla="*/ 20 w 145"/>
                  <a:gd name="T33" fmla="*/ 157 h 173"/>
                  <a:gd name="T34" fmla="*/ 20 w 145"/>
                  <a:gd name="T35" fmla="*/ 152 h 173"/>
                  <a:gd name="T36" fmla="*/ 127 w 145"/>
                  <a:gd name="T37" fmla="*/ 152 h 173"/>
                  <a:gd name="T38" fmla="*/ 127 w 145"/>
                  <a:gd name="T39" fmla="*/ 157 h 173"/>
                  <a:gd name="T40" fmla="*/ 127 w 145"/>
                  <a:gd name="T41" fmla="*/ 143 h 173"/>
                  <a:gd name="T42" fmla="*/ 20 w 145"/>
                  <a:gd name="T43" fmla="*/ 143 h 173"/>
                  <a:gd name="T44" fmla="*/ 20 w 145"/>
                  <a:gd name="T45" fmla="*/ 139 h 173"/>
                  <a:gd name="T46" fmla="*/ 127 w 145"/>
                  <a:gd name="T47" fmla="*/ 139 h 173"/>
                  <a:gd name="T48" fmla="*/ 127 w 145"/>
                  <a:gd name="T49" fmla="*/ 143 h 173"/>
                  <a:gd name="T50" fmla="*/ 127 w 145"/>
                  <a:gd name="T51" fmla="*/ 130 h 173"/>
                  <a:gd name="T52" fmla="*/ 20 w 145"/>
                  <a:gd name="T53" fmla="*/ 130 h 173"/>
                  <a:gd name="T54" fmla="*/ 20 w 145"/>
                  <a:gd name="T55" fmla="*/ 125 h 173"/>
                  <a:gd name="T56" fmla="*/ 127 w 145"/>
                  <a:gd name="T57" fmla="*/ 125 h 173"/>
                  <a:gd name="T58" fmla="*/ 127 w 145"/>
                  <a:gd name="T59" fmla="*/ 130 h 173"/>
                  <a:gd name="T60" fmla="*/ 127 w 145"/>
                  <a:gd name="T61" fmla="*/ 118 h 173"/>
                  <a:gd name="T62" fmla="*/ 20 w 145"/>
                  <a:gd name="T63" fmla="*/ 118 h 173"/>
                  <a:gd name="T64" fmla="*/ 20 w 145"/>
                  <a:gd name="T65" fmla="*/ 113 h 173"/>
                  <a:gd name="T66" fmla="*/ 127 w 145"/>
                  <a:gd name="T67" fmla="*/ 113 h 173"/>
                  <a:gd name="T68" fmla="*/ 127 w 145"/>
                  <a:gd name="T69" fmla="*/ 118 h 173"/>
                  <a:gd name="T70" fmla="*/ 127 w 145"/>
                  <a:gd name="T71" fmla="*/ 104 h 173"/>
                  <a:gd name="T72" fmla="*/ 20 w 145"/>
                  <a:gd name="T73" fmla="*/ 104 h 173"/>
                  <a:gd name="T74" fmla="*/ 20 w 145"/>
                  <a:gd name="T75" fmla="*/ 99 h 173"/>
                  <a:gd name="T76" fmla="*/ 127 w 145"/>
                  <a:gd name="T77" fmla="*/ 99 h 173"/>
                  <a:gd name="T78" fmla="*/ 127 w 145"/>
                  <a:gd name="T79" fmla="*/ 104 h 173"/>
                  <a:gd name="T80" fmla="*/ 127 w 145"/>
                  <a:gd name="T81" fmla="*/ 53 h 173"/>
                  <a:gd name="T82" fmla="*/ 20 w 145"/>
                  <a:gd name="T83" fmla="*/ 53 h 173"/>
                  <a:gd name="T84" fmla="*/ 20 w 145"/>
                  <a:gd name="T85" fmla="*/ 27 h 173"/>
                  <a:gd name="T86" fmla="*/ 127 w 145"/>
                  <a:gd name="T87" fmla="*/ 27 h 173"/>
                  <a:gd name="T88" fmla="*/ 127 w 145"/>
                  <a:gd name="T89" fmla="*/ 5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5" h="173">
                    <a:moveTo>
                      <a:pt x="0" y="0"/>
                    </a:moveTo>
                    <a:lnTo>
                      <a:pt x="0" y="173"/>
                    </a:lnTo>
                    <a:lnTo>
                      <a:pt x="145" y="173"/>
                    </a:lnTo>
                    <a:lnTo>
                      <a:pt x="145" y="0"/>
                    </a:lnTo>
                    <a:lnTo>
                      <a:pt x="0" y="0"/>
                    </a:lnTo>
                    <a:close/>
                    <a:moveTo>
                      <a:pt x="20" y="66"/>
                    </a:moveTo>
                    <a:lnTo>
                      <a:pt x="97" y="66"/>
                    </a:lnTo>
                    <a:lnTo>
                      <a:pt x="97" y="72"/>
                    </a:lnTo>
                    <a:lnTo>
                      <a:pt x="20" y="72"/>
                    </a:lnTo>
                    <a:lnTo>
                      <a:pt x="20" y="66"/>
                    </a:lnTo>
                    <a:close/>
                    <a:moveTo>
                      <a:pt x="20" y="78"/>
                    </a:moveTo>
                    <a:lnTo>
                      <a:pt x="97" y="78"/>
                    </a:lnTo>
                    <a:lnTo>
                      <a:pt x="97" y="86"/>
                    </a:lnTo>
                    <a:lnTo>
                      <a:pt x="20" y="86"/>
                    </a:lnTo>
                    <a:lnTo>
                      <a:pt x="20" y="78"/>
                    </a:lnTo>
                    <a:close/>
                    <a:moveTo>
                      <a:pt x="127" y="157"/>
                    </a:moveTo>
                    <a:lnTo>
                      <a:pt x="20" y="157"/>
                    </a:lnTo>
                    <a:lnTo>
                      <a:pt x="20" y="152"/>
                    </a:lnTo>
                    <a:lnTo>
                      <a:pt x="127" y="152"/>
                    </a:lnTo>
                    <a:lnTo>
                      <a:pt x="127" y="157"/>
                    </a:lnTo>
                    <a:close/>
                    <a:moveTo>
                      <a:pt x="127" y="143"/>
                    </a:moveTo>
                    <a:lnTo>
                      <a:pt x="20" y="143"/>
                    </a:lnTo>
                    <a:lnTo>
                      <a:pt x="20" y="139"/>
                    </a:lnTo>
                    <a:lnTo>
                      <a:pt x="127" y="139"/>
                    </a:lnTo>
                    <a:lnTo>
                      <a:pt x="127" y="143"/>
                    </a:lnTo>
                    <a:close/>
                    <a:moveTo>
                      <a:pt x="127" y="130"/>
                    </a:moveTo>
                    <a:lnTo>
                      <a:pt x="20" y="130"/>
                    </a:lnTo>
                    <a:lnTo>
                      <a:pt x="20" y="125"/>
                    </a:lnTo>
                    <a:lnTo>
                      <a:pt x="127" y="125"/>
                    </a:lnTo>
                    <a:lnTo>
                      <a:pt x="127" y="130"/>
                    </a:lnTo>
                    <a:close/>
                    <a:moveTo>
                      <a:pt x="127" y="118"/>
                    </a:moveTo>
                    <a:lnTo>
                      <a:pt x="20" y="118"/>
                    </a:lnTo>
                    <a:lnTo>
                      <a:pt x="20" y="113"/>
                    </a:lnTo>
                    <a:lnTo>
                      <a:pt x="127" y="113"/>
                    </a:lnTo>
                    <a:lnTo>
                      <a:pt x="127" y="118"/>
                    </a:lnTo>
                    <a:close/>
                    <a:moveTo>
                      <a:pt x="127" y="104"/>
                    </a:moveTo>
                    <a:lnTo>
                      <a:pt x="20" y="104"/>
                    </a:lnTo>
                    <a:lnTo>
                      <a:pt x="20" y="99"/>
                    </a:lnTo>
                    <a:lnTo>
                      <a:pt x="127" y="99"/>
                    </a:lnTo>
                    <a:lnTo>
                      <a:pt x="127" y="104"/>
                    </a:lnTo>
                    <a:close/>
                    <a:moveTo>
                      <a:pt x="127" y="53"/>
                    </a:moveTo>
                    <a:lnTo>
                      <a:pt x="20" y="53"/>
                    </a:lnTo>
                    <a:lnTo>
                      <a:pt x="20" y="27"/>
                    </a:lnTo>
                    <a:lnTo>
                      <a:pt x="127" y="27"/>
                    </a:lnTo>
                    <a:lnTo>
                      <a:pt x="127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</p:grpSp>
      <p:sp>
        <p:nvSpPr>
          <p:cNvPr id="180" name="Plus Sign 179">
            <a:extLst>
              <a:ext uri="{FF2B5EF4-FFF2-40B4-BE49-F238E27FC236}">
                <a16:creationId xmlns:a16="http://schemas.microsoft.com/office/drawing/2014/main" xmlns="" id="{567455E3-6881-42E8-A246-51AAA2FEF60F}"/>
              </a:ext>
            </a:extLst>
          </p:cNvPr>
          <p:cNvSpPr/>
          <p:nvPr/>
        </p:nvSpPr>
        <p:spPr>
          <a:xfrm>
            <a:off x="6487718" y="3108656"/>
            <a:ext cx="719635" cy="703408"/>
          </a:xfrm>
          <a:prstGeom prst="mathPlus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1" name="Plus Sign 180">
            <a:extLst>
              <a:ext uri="{FF2B5EF4-FFF2-40B4-BE49-F238E27FC236}">
                <a16:creationId xmlns:a16="http://schemas.microsoft.com/office/drawing/2014/main" xmlns="" id="{84D275E5-8608-47F3-8498-3BAD76369DCA}"/>
              </a:ext>
            </a:extLst>
          </p:cNvPr>
          <p:cNvSpPr/>
          <p:nvPr/>
        </p:nvSpPr>
        <p:spPr>
          <a:xfrm>
            <a:off x="8384586" y="3108656"/>
            <a:ext cx="719635" cy="703408"/>
          </a:xfrm>
          <a:prstGeom prst="mathPlus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2" name="Plus Sign 181">
            <a:extLst>
              <a:ext uri="{FF2B5EF4-FFF2-40B4-BE49-F238E27FC236}">
                <a16:creationId xmlns:a16="http://schemas.microsoft.com/office/drawing/2014/main" xmlns="" id="{3DDDBF5A-3605-452C-890E-4C978B1BE2BD}"/>
              </a:ext>
            </a:extLst>
          </p:cNvPr>
          <p:cNvSpPr/>
          <p:nvPr/>
        </p:nvSpPr>
        <p:spPr>
          <a:xfrm>
            <a:off x="10292854" y="3108656"/>
            <a:ext cx="719635" cy="703408"/>
          </a:xfrm>
          <a:prstGeom prst="mathPlus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2E5C5F87-6578-46C0-980A-5F7EF382F1A9}"/>
              </a:ext>
            </a:extLst>
          </p:cNvPr>
          <p:cNvSpPr txBox="1"/>
          <p:nvPr/>
        </p:nvSpPr>
        <p:spPr>
          <a:xfrm>
            <a:off x="3635389" y="3095160"/>
            <a:ext cx="26083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ith</a:t>
            </a:r>
            <a:b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diposity-related complications</a:t>
            </a:r>
            <a:endParaRPr lang="en-US" sz="1400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4" name="Plus Sign 183">
            <a:extLst>
              <a:ext uri="{FF2B5EF4-FFF2-40B4-BE49-F238E27FC236}">
                <a16:creationId xmlns:a16="http://schemas.microsoft.com/office/drawing/2014/main" xmlns="" id="{D3560BC2-F529-4EB5-B453-0640691B3E10}"/>
              </a:ext>
            </a:extLst>
          </p:cNvPr>
          <p:cNvSpPr/>
          <p:nvPr/>
        </p:nvSpPr>
        <p:spPr>
          <a:xfrm>
            <a:off x="10292854" y="4228464"/>
            <a:ext cx="719635" cy="703408"/>
          </a:xfrm>
          <a:prstGeom prst="mathPlus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CAFC5EA8-BB50-4870-B2E7-70FD3AFCB96E}"/>
              </a:ext>
            </a:extLst>
          </p:cNvPr>
          <p:cNvGrpSpPr/>
          <p:nvPr/>
        </p:nvGrpSpPr>
        <p:grpSpPr>
          <a:xfrm>
            <a:off x="870654" y="1746656"/>
            <a:ext cx="927661" cy="985245"/>
            <a:chOff x="416095" y="2133444"/>
            <a:chExt cx="695746" cy="738934"/>
          </a:xfrm>
        </p:grpSpPr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xmlns="" id="{74A12624-8964-4244-994F-72823C0F6717}"/>
                </a:ext>
              </a:extLst>
            </p:cNvPr>
            <p:cNvSpPr txBox="1"/>
            <p:nvPr/>
          </p:nvSpPr>
          <p:spPr>
            <a:xfrm>
              <a:off x="416095" y="2133444"/>
              <a:ext cx="695746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CA" sz="1400" dirty="0">
                  <a:solidFill>
                    <a:srgbClr val="2A918B">
                      <a:lumMod val="75000"/>
                    </a:srgbClr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Surgery</a:t>
              </a:r>
              <a:endParaRPr lang="en-US" sz="1400" dirty="0">
                <a:solidFill>
                  <a:srgbClr val="2A918B">
                    <a:lumMod val="75000"/>
                  </a:srgb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xmlns="" id="{E1D58619-686E-401B-9AFA-63C9EAA71728}"/>
                </a:ext>
              </a:extLst>
            </p:cNvPr>
            <p:cNvGrpSpPr/>
            <p:nvPr/>
          </p:nvGrpSpPr>
          <p:grpSpPr>
            <a:xfrm>
              <a:off x="511011" y="2342336"/>
              <a:ext cx="488623" cy="530042"/>
              <a:chOff x="5625874" y="3203573"/>
              <a:chExt cx="990764" cy="1074747"/>
            </a:xfrm>
          </p:grpSpPr>
          <p:sp>
            <p:nvSpPr>
              <p:cNvPr id="188" name="Rectangle: Rounded Corners 187">
                <a:extLst>
                  <a:ext uri="{FF2B5EF4-FFF2-40B4-BE49-F238E27FC236}">
                    <a16:creationId xmlns:a16="http://schemas.microsoft.com/office/drawing/2014/main" xmlns="" id="{29337A0E-EF86-447D-90C0-CFE7A5835F15}"/>
                  </a:ext>
                </a:extLst>
              </p:cNvPr>
              <p:cNvSpPr/>
              <p:nvPr/>
            </p:nvSpPr>
            <p:spPr>
              <a:xfrm>
                <a:off x="5625874" y="3276421"/>
                <a:ext cx="990762" cy="1001899"/>
              </a:xfrm>
              <a:prstGeom prst="roundRect">
                <a:avLst>
                  <a:gd name="adj" fmla="val 11488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xmlns="" id="{6CCD593C-DDD2-4F39-9000-A2B61EFC694A}"/>
                  </a:ext>
                </a:extLst>
              </p:cNvPr>
              <p:cNvSpPr/>
              <p:nvPr/>
            </p:nvSpPr>
            <p:spPr>
              <a:xfrm>
                <a:off x="5625876" y="3823680"/>
                <a:ext cx="990762" cy="454638"/>
              </a:xfrm>
              <a:custGeom>
                <a:avLst/>
                <a:gdLst>
                  <a:gd name="connsiteX0" fmla="*/ 0 w 4571415"/>
                  <a:gd name="connsiteY0" fmla="*/ 0 h 2097718"/>
                  <a:gd name="connsiteX1" fmla="*/ 79867 w 4571415"/>
                  <a:gd name="connsiteY1" fmla="*/ 31644 h 2097718"/>
                  <a:gd name="connsiteX2" fmla="*/ 604932 w 4571415"/>
                  <a:gd name="connsiteY2" fmla="*/ 301575 h 2097718"/>
                  <a:gd name="connsiteX3" fmla="*/ 1315224 w 4571415"/>
                  <a:gd name="connsiteY3" fmla="*/ 513846 h 2097718"/>
                  <a:gd name="connsiteX4" fmla="*/ 2988903 w 4571415"/>
                  <a:gd name="connsiteY4" fmla="*/ 456697 h 2097718"/>
                  <a:gd name="connsiteX5" fmla="*/ 4513871 w 4571415"/>
                  <a:gd name="connsiteY5" fmla="*/ 271294 h 2097718"/>
                  <a:gd name="connsiteX6" fmla="*/ 4571415 w 4571415"/>
                  <a:gd name="connsiteY6" fmla="*/ 263523 h 2097718"/>
                  <a:gd name="connsiteX7" fmla="*/ 4571415 w 4571415"/>
                  <a:gd name="connsiteY7" fmla="*/ 1572554 h 2097718"/>
                  <a:gd name="connsiteX8" fmla="*/ 4046251 w 4571415"/>
                  <a:gd name="connsiteY8" fmla="*/ 2097718 h 2097718"/>
                  <a:gd name="connsiteX9" fmla="*/ 525164 w 4571415"/>
                  <a:gd name="connsiteY9" fmla="*/ 2097718 h 2097718"/>
                  <a:gd name="connsiteX10" fmla="*/ 0 w 4571415"/>
                  <a:gd name="connsiteY10" fmla="*/ 1572554 h 2097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71415" h="2097718">
                    <a:moveTo>
                      <a:pt x="0" y="0"/>
                    </a:moveTo>
                    <a:lnTo>
                      <a:pt x="79867" y="31644"/>
                    </a:lnTo>
                    <a:cubicBezTo>
                      <a:pt x="274279" y="119580"/>
                      <a:pt x="472263" y="245786"/>
                      <a:pt x="604932" y="301575"/>
                    </a:cubicBezTo>
                    <a:cubicBezTo>
                      <a:pt x="870271" y="413153"/>
                      <a:pt x="917896" y="487992"/>
                      <a:pt x="1315224" y="513846"/>
                    </a:cubicBezTo>
                    <a:cubicBezTo>
                      <a:pt x="1712553" y="539700"/>
                      <a:pt x="2432371" y="500240"/>
                      <a:pt x="2988903" y="456697"/>
                    </a:cubicBezTo>
                    <a:cubicBezTo>
                      <a:pt x="3475869" y="418597"/>
                      <a:pt x="4140982" y="322155"/>
                      <a:pt x="4513871" y="271294"/>
                    </a:cubicBezTo>
                    <a:lnTo>
                      <a:pt x="4571415" y="263523"/>
                    </a:lnTo>
                    <a:lnTo>
                      <a:pt x="4571415" y="1572554"/>
                    </a:lnTo>
                    <a:cubicBezTo>
                      <a:pt x="4571415" y="1862594"/>
                      <a:pt x="4336291" y="2097718"/>
                      <a:pt x="4046251" y="2097718"/>
                    </a:cubicBezTo>
                    <a:lnTo>
                      <a:pt x="525164" y="2097718"/>
                    </a:lnTo>
                    <a:cubicBezTo>
                      <a:pt x="235124" y="2097718"/>
                      <a:pt x="0" y="1862594"/>
                      <a:pt x="0" y="1572554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0" name="Arc 189">
                <a:extLst>
                  <a:ext uri="{FF2B5EF4-FFF2-40B4-BE49-F238E27FC236}">
                    <a16:creationId xmlns:a16="http://schemas.microsoft.com/office/drawing/2014/main" xmlns="" id="{42D2543C-B9FC-473F-8EA3-BEBD64D61B86}"/>
                  </a:ext>
                </a:extLst>
              </p:cNvPr>
              <p:cNvSpPr/>
              <p:nvPr/>
            </p:nvSpPr>
            <p:spPr>
              <a:xfrm>
                <a:off x="5766340" y="3856207"/>
                <a:ext cx="620416" cy="283909"/>
              </a:xfrm>
              <a:prstGeom prst="arc">
                <a:avLst>
                  <a:gd name="adj1" fmla="val 20758391"/>
                  <a:gd name="adj2" fmla="val 11644259"/>
                </a:avLst>
              </a:prstGeom>
              <a:ln w="9525" cap="rnd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srgbClr val="0000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xmlns="" id="{AE4C5271-0974-433A-80F9-17F2DCCCAFFA}"/>
                  </a:ext>
                </a:extLst>
              </p:cNvPr>
              <p:cNvSpPr/>
              <p:nvPr/>
            </p:nvSpPr>
            <p:spPr>
              <a:xfrm>
                <a:off x="5825991" y="3988129"/>
                <a:ext cx="235336" cy="30081"/>
              </a:xfrm>
              <a:custGeom>
                <a:avLst/>
                <a:gdLst>
                  <a:gd name="connsiteX0" fmla="*/ 0 w 1085850"/>
                  <a:gd name="connsiteY0" fmla="*/ 32657 h 138793"/>
                  <a:gd name="connsiteX1" fmla="*/ 922564 w 1085850"/>
                  <a:gd name="connsiteY1" fmla="*/ 0 h 138793"/>
                  <a:gd name="connsiteX2" fmla="*/ 1085850 w 1085850"/>
                  <a:gd name="connsiteY2" fmla="*/ 73479 h 138793"/>
                  <a:gd name="connsiteX3" fmla="*/ 832757 w 1085850"/>
                  <a:gd name="connsiteY3" fmla="*/ 138793 h 138793"/>
                  <a:gd name="connsiteX4" fmla="*/ 0 w 1085850"/>
                  <a:gd name="connsiteY4" fmla="*/ 32657 h 138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5850" h="138793">
                    <a:moveTo>
                      <a:pt x="0" y="32657"/>
                    </a:moveTo>
                    <a:lnTo>
                      <a:pt x="922564" y="0"/>
                    </a:lnTo>
                    <a:lnTo>
                      <a:pt x="1085850" y="73479"/>
                    </a:lnTo>
                    <a:lnTo>
                      <a:pt x="832757" y="138793"/>
                    </a:lnTo>
                    <a:lnTo>
                      <a:pt x="0" y="32657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xmlns="" id="{74663E83-4DD8-4ABC-909F-CF880B27BD91}"/>
                  </a:ext>
                </a:extLst>
              </p:cNvPr>
              <p:cNvSpPr/>
              <p:nvPr/>
            </p:nvSpPr>
            <p:spPr>
              <a:xfrm>
                <a:off x="5948083" y="3543998"/>
                <a:ext cx="349570" cy="463595"/>
              </a:xfrm>
              <a:custGeom>
                <a:avLst/>
                <a:gdLst>
                  <a:gd name="connsiteX0" fmla="*/ 1257300 w 1612928"/>
                  <a:gd name="connsiteY0" fmla="*/ 0 h 2139043"/>
                  <a:gd name="connsiteX1" fmla="*/ 1400235 w 1612928"/>
                  <a:gd name="connsiteY1" fmla="*/ 77594 h 2139043"/>
                  <a:gd name="connsiteX2" fmla="*/ 617783 w 1612928"/>
                  <a:gd name="connsiteY2" fmla="*/ 1452503 h 2139043"/>
                  <a:gd name="connsiteX3" fmla="*/ 645496 w 1612928"/>
                  <a:gd name="connsiteY3" fmla="*/ 1553416 h 2139043"/>
                  <a:gd name="connsiteX4" fmla="*/ 746408 w 1612928"/>
                  <a:gd name="connsiteY4" fmla="*/ 1525703 h 2139043"/>
                  <a:gd name="connsiteX5" fmla="*/ 1530328 w 1612928"/>
                  <a:gd name="connsiteY5" fmla="*/ 148216 h 2139043"/>
                  <a:gd name="connsiteX6" fmla="*/ 1543050 w 1612928"/>
                  <a:gd name="connsiteY6" fmla="*/ 155122 h 2139043"/>
                  <a:gd name="connsiteX7" fmla="*/ 1592037 w 1612928"/>
                  <a:gd name="connsiteY7" fmla="*/ 400051 h 2139043"/>
                  <a:gd name="connsiteX8" fmla="*/ 1551215 w 1612928"/>
                  <a:gd name="connsiteY8" fmla="*/ 555172 h 2139043"/>
                  <a:gd name="connsiteX9" fmla="*/ 930729 w 1612928"/>
                  <a:gd name="connsiteY9" fmla="*/ 1722665 h 2139043"/>
                  <a:gd name="connsiteX10" fmla="*/ 530680 w 1612928"/>
                  <a:gd name="connsiteY10" fmla="*/ 2090057 h 2139043"/>
                  <a:gd name="connsiteX11" fmla="*/ 228600 w 1612928"/>
                  <a:gd name="connsiteY11" fmla="*/ 2139043 h 2139043"/>
                  <a:gd name="connsiteX12" fmla="*/ 0 w 1612928"/>
                  <a:gd name="connsiteY12" fmla="*/ 2114550 h 213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12928" h="2139043">
                    <a:moveTo>
                      <a:pt x="1257300" y="0"/>
                    </a:moveTo>
                    <a:lnTo>
                      <a:pt x="1400235" y="77594"/>
                    </a:lnTo>
                    <a:lnTo>
                      <a:pt x="617783" y="1452503"/>
                    </a:lnTo>
                    <a:cubicBezTo>
                      <a:pt x="597569" y="1488022"/>
                      <a:pt x="609977" y="1533202"/>
                      <a:pt x="645496" y="1553416"/>
                    </a:cubicBezTo>
                    <a:cubicBezTo>
                      <a:pt x="681015" y="1573629"/>
                      <a:pt x="726195" y="1561222"/>
                      <a:pt x="746408" y="1525703"/>
                    </a:cubicBezTo>
                    <a:lnTo>
                      <a:pt x="1530328" y="148216"/>
                    </a:lnTo>
                    <a:lnTo>
                      <a:pt x="1543050" y="155122"/>
                    </a:lnTo>
                    <a:cubicBezTo>
                      <a:pt x="1596118" y="223158"/>
                      <a:pt x="1590676" y="333376"/>
                      <a:pt x="1592037" y="400051"/>
                    </a:cubicBezTo>
                    <a:cubicBezTo>
                      <a:pt x="1593398" y="466726"/>
                      <a:pt x="1658711" y="336097"/>
                      <a:pt x="1551215" y="555172"/>
                    </a:cubicBezTo>
                    <a:lnTo>
                      <a:pt x="930729" y="1722665"/>
                    </a:lnTo>
                    <a:cubicBezTo>
                      <a:pt x="755197" y="1975758"/>
                      <a:pt x="647702" y="2020661"/>
                      <a:pt x="530680" y="2090057"/>
                    </a:cubicBezTo>
                    <a:cubicBezTo>
                      <a:pt x="413659" y="2159453"/>
                      <a:pt x="311604" y="2132240"/>
                      <a:pt x="228600" y="2139043"/>
                    </a:cubicBezTo>
                    <a:lnTo>
                      <a:pt x="0" y="211455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xmlns="" id="{E39AA1E8-3DC8-4EC4-8498-9941DA219707}"/>
                  </a:ext>
                </a:extLst>
              </p:cNvPr>
              <p:cNvSpPr/>
              <p:nvPr/>
            </p:nvSpPr>
            <p:spPr>
              <a:xfrm rot="18077000">
                <a:off x="6131309" y="3347199"/>
                <a:ext cx="449540" cy="162287"/>
              </a:xfrm>
              <a:custGeom>
                <a:avLst/>
                <a:gdLst>
                  <a:gd name="connsiteX0" fmla="*/ 1551699 w 1962314"/>
                  <a:gd name="connsiteY0" fmla="*/ 0 h 748798"/>
                  <a:gd name="connsiteX1" fmla="*/ 1894181 w 1962314"/>
                  <a:gd name="connsiteY1" fmla="*/ 563653 h 748798"/>
                  <a:gd name="connsiteX2" fmla="*/ 1940022 w 1962314"/>
                  <a:gd name="connsiteY2" fmla="*/ 659645 h 748798"/>
                  <a:gd name="connsiteX3" fmla="*/ 1962314 w 1962314"/>
                  <a:gd name="connsiteY3" fmla="*/ 748798 h 748798"/>
                  <a:gd name="connsiteX4" fmla="*/ 124802 w 1962314"/>
                  <a:gd name="connsiteY4" fmla="*/ 748798 h 748798"/>
                  <a:gd name="connsiteX5" fmla="*/ 0 w 1962314"/>
                  <a:gd name="connsiteY5" fmla="*/ 623996 h 748798"/>
                  <a:gd name="connsiteX6" fmla="*/ 0 w 1962314"/>
                  <a:gd name="connsiteY6" fmla="*/ 124802 h 748798"/>
                  <a:gd name="connsiteX7" fmla="*/ 124802 w 1962314"/>
                  <a:gd name="connsiteY7" fmla="*/ 0 h 748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2314" h="748798">
                    <a:moveTo>
                      <a:pt x="1551699" y="0"/>
                    </a:moveTo>
                    <a:lnTo>
                      <a:pt x="1894181" y="563653"/>
                    </a:lnTo>
                    <a:cubicBezTo>
                      <a:pt x="1913008" y="594637"/>
                      <a:pt x="1928248" y="626795"/>
                      <a:pt x="1940022" y="659645"/>
                    </a:cubicBezTo>
                    <a:lnTo>
                      <a:pt x="1962314" y="748798"/>
                    </a:lnTo>
                    <a:lnTo>
                      <a:pt x="124802" y="748798"/>
                    </a:lnTo>
                    <a:cubicBezTo>
                      <a:pt x="55876" y="748798"/>
                      <a:pt x="0" y="692922"/>
                      <a:pt x="0" y="623996"/>
                    </a:cubicBezTo>
                    <a:lnTo>
                      <a:pt x="0" y="124802"/>
                    </a:lnTo>
                    <a:cubicBezTo>
                      <a:pt x="0" y="55876"/>
                      <a:pt x="55876" y="0"/>
                      <a:pt x="124802" y="0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4" name="Rectangle: Rounded Corners 193">
                <a:extLst>
                  <a:ext uri="{FF2B5EF4-FFF2-40B4-BE49-F238E27FC236}">
                    <a16:creationId xmlns:a16="http://schemas.microsoft.com/office/drawing/2014/main" xmlns="" id="{6B87AF23-72DD-4272-8FA6-DB461C753E0C}"/>
                  </a:ext>
                </a:extLst>
              </p:cNvPr>
              <p:cNvSpPr/>
              <p:nvPr/>
            </p:nvSpPr>
            <p:spPr>
              <a:xfrm rot="1766499">
                <a:off x="6274963" y="3472154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5" name="Rectangle: Rounded Corners 194">
                <a:extLst>
                  <a:ext uri="{FF2B5EF4-FFF2-40B4-BE49-F238E27FC236}">
                    <a16:creationId xmlns:a16="http://schemas.microsoft.com/office/drawing/2014/main" xmlns="" id="{820C9C61-96C4-4EBB-901A-2878A692E9A3}"/>
                  </a:ext>
                </a:extLst>
              </p:cNvPr>
              <p:cNvSpPr/>
              <p:nvPr/>
            </p:nvSpPr>
            <p:spPr>
              <a:xfrm rot="1766499">
                <a:off x="6293700" y="3442037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6" name="Rectangle: Rounded Corners 195">
                <a:extLst>
                  <a:ext uri="{FF2B5EF4-FFF2-40B4-BE49-F238E27FC236}">
                    <a16:creationId xmlns:a16="http://schemas.microsoft.com/office/drawing/2014/main" xmlns="" id="{C60DEBCE-FF90-44A5-A241-52E1847A3409}"/>
                  </a:ext>
                </a:extLst>
              </p:cNvPr>
              <p:cNvSpPr/>
              <p:nvPr/>
            </p:nvSpPr>
            <p:spPr>
              <a:xfrm rot="1766499">
                <a:off x="6312438" y="3411919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97" name="Rectangle: Rounded Corners 196">
                <a:extLst>
                  <a:ext uri="{FF2B5EF4-FFF2-40B4-BE49-F238E27FC236}">
                    <a16:creationId xmlns:a16="http://schemas.microsoft.com/office/drawing/2014/main" xmlns="" id="{B7DDA2A8-EA7E-4B86-AA2D-1A1EFB3E49A9}"/>
                  </a:ext>
                </a:extLst>
              </p:cNvPr>
              <p:cNvSpPr/>
              <p:nvPr/>
            </p:nvSpPr>
            <p:spPr>
              <a:xfrm rot="1766499">
                <a:off x="6331175" y="3381802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258" name="Rectangle: Rounded Corners 257">
                <a:extLst>
                  <a:ext uri="{FF2B5EF4-FFF2-40B4-BE49-F238E27FC236}">
                    <a16:creationId xmlns:a16="http://schemas.microsoft.com/office/drawing/2014/main" xmlns="" id="{DABB307F-37FD-4D1B-AB79-55D53C5DFAED}"/>
                  </a:ext>
                </a:extLst>
              </p:cNvPr>
              <p:cNvSpPr/>
              <p:nvPr/>
            </p:nvSpPr>
            <p:spPr>
              <a:xfrm rot="1766499">
                <a:off x="6349912" y="3351684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259" name="Rectangle: Rounded Corners 258">
                <a:extLst>
                  <a:ext uri="{FF2B5EF4-FFF2-40B4-BE49-F238E27FC236}">
                    <a16:creationId xmlns:a16="http://schemas.microsoft.com/office/drawing/2014/main" xmlns="" id="{AE6DA18E-2547-4F25-9060-459B681983F9}"/>
                  </a:ext>
                </a:extLst>
              </p:cNvPr>
              <p:cNvSpPr/>
              <p:nvPr/>
            </p:nvSpPr>
            <p:spPr>
              <a:xfrm rot="1766499">
                <a:off x="6368650" y="3321566"/>
                <a:ext cx="105071" cy="1623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260" name="Rectangle: Rounded Corners 259">
                <a:extLst>
                  <a:ext uri="{FF2B5EF4-FFF2-40B4-BE49-F238E27FC236}">
                    <a16:creationId xmlns:a16="http://schemas.microsoft.com/office/drawing/2014/main" xmlns="" id="{D2218B97-5B78-4A43-809D-BF1BFA5D1939}"/>
                  </a:ext>
                </a:extLst>
              </p:cNvPr>
              <p:cNvSpPr/>
              <p:nvPr/>
            </p:nvSpPr>
            <p:spPr>
              <a:xfrm>
                <a:off x="5625876" y="3276419"/>
                <a:ext cx="990762" cy="1001899"/>
              </a:xfrm>
              <a:prstGeom prst="roundRect">
                <a:avLst>
                  <a:gd name="adj" fmla="val 11488"/>
                </a:avLst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</p:grpSp>
      <p:sp>
        <p:nvSpPr>
          <p:cNvPr id="261" name="Plus Sign 260">
            <a:extLst>
              <a:ext uri="{FF2B5EF4-FFF2-40B4-BE49-F238E27FC236}">
                <a16:creationId xmlns:a16="http://schemas.microsoft.com/office/drawing/2014/main" xmlns="" id="{CEFB9816-547B-42D3-A516-CF167759B736}"/>
              </a:ext>
            </a:extLst>
          </p:cNvPr>
          <p:cNvSpPr/>
          <p:nvPr/>
        </p:nvSpPr>
        <p:spPr>
          <a:xfrm>
            <a:off x="6487718" y="4228464"/>
            <a:ext cx="719635" cy="703408"/>
          </a:xfrm>
          <a:prstGeom prst="mathPlus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2" name="Plus Sign 261">
            <a:extLst>
              <a:ext uri="{FF2B5EF4-FFF2-40B4-BE49-F238E27FC236}">
                <a16:creationId xmlns:a16="http://schemas.microsoft.com/office/drawing/2014/main" xmlns="" id="{045CA92E-E292-4CAF-ABBF-2ABE2CB93ADA}"/>
              </a:ext>
            </a:extLst>
          </p:cNvPr>
          <p:cNvSpPr/>
          <p:nvPr/>
        </p:nvSpPr>
        <p:spPr>
          <a:xfrm>
            <a:off x="4576673" y="4228464"/>
            <a:ext cx="719635" cy="703408"/>
          </a:xfrm>
          <a:prstGeom prst="mathPlus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3" name="Plus Sign 262">
            <a:extLst>
              <a:ext uri="{FF2B5EF4-FFF2-40B4-BE49-F238E27FC236}">
                <a16:creationId xmlns:a16="http://schemas.microsoft.com/office/drawing/2014/main" xmlns="" id="{D6A3ECB5-84C0-434B-97B9-000F6D9FCDCA}"/>
              </a:ext>
            </a:extLst>
          </p:cNvPr>
          <p:cNvSpPr/>
          <p:nvPr/>
        </p:nvSpPr>
        <p:spPr>
          <a:xfrm>
            <a:off x="2694280" y="4228464"/>
            <a:ext cx="719635" cy="703408"/>
          </a:xfrm>
          <a:prstGeom prst="mathPlus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xmlns="" id="{8647E26A-273D-451C-A70E-B93D1216F085}"/>
              </a:ext>
            </a:extLst>
          </p:cNvPr>
          <p:cNvSpPr txBox="1"/>
          <p:nvPr/>
        </p:nvSpPr>
        <p:spPr>
          <a:xfrm>
            <a:off x="686103" y="4020243"/>
            <a:ext cx="1504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CA" sz="1400" kern="0" dirty="0">
                <a:solidFill>
                  <a:srgbClr val="3B97DE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ehavioural modification</a:t>
            </a:r>
            <a:endParaRPr lang="en-US" sz="1400" kern="0" dirty="0">
              <a:solidFill>
                <a:srgbClr val="3B97DE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xmlns="" id="{700E67CB-CA15-468F-A148-CE1896480DC5}"/>
              </a:ext>
            </a:extLst>
          </p:cNvPr>
          <p:cNvSpPr txBox="1"/>
          <p:nvPr/>
        </p:nvSpPr>
        <p:spPr>
          <a:xfrm>
            <a:off x="7470624" y="1810862"/>
            <a:ext cx="26083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ith</a:t>
            </a:r>
            <a:b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diposity-related complications</a:t>
            </a:r>
            <a:endParaRPr lang="en-US" sz="1400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xmlns="" id="{309F426D-2FEA-41FB-AD0B-79C88BFAD064}"/>
              </a:ext>
            </a:extLst>
          </p:cNvPr>
          <p:cNvSpPr txBox="1"/>
          <p:nvPr/>
        </p:nvSpPr>
        <p:spPr>
          <a:xfrm>
            <a:off x="5873968" y="1734625"/>
            <a:ext cx="201183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CA" sz="14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hen optimal medical and behavioural management has been insufficient</a:t>
            </a:r>
            <a:endParaRPr lang="en-US" sz="1400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xmlns="" id="{274997D8-4190-492D-BA2B-F63FC92B5687}"/>
              </a:ext>
            </a:extLst>
          </p:cNvPr>
          <p:cNvSpPr txBox="1"/>
          <p:nvPr/>
        </p:nvSpPr>
        <p:spPr>
          <a:xfrm>
            <a:off x="3156691" y="5419171"/>
            <a:ext cx="8174636" cy="5700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l individuals, regardless of body size or composition, benefit from a healthy, </a:t>
            </a:r>
            <a:br>
              <a:rPr lang="en-US" sz="1600" dirty="0">
                <a:solidFill>
                  <a:schemeClr val="bg1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ell-balanced eating pattern and regular physical activity </a:t>
            </a:r>
            <a:endParaRPr lang="en-GB" sz="1600" dirty="0">
              <a:solidFill>
                <a:schemeClr val="bg1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268" name="Group 267">
            <a:extLst>
              <a:ext uri="{FF2B5EF4-FFF2-40B4-BE49-F238E27FC236}">
                <a16:creationId xmlns:a16="http://schemas.microsoft.com/office/drawing/2014/main" xmlns="" id="{282A0829-7F7D-46B5-B412-7E4B1CED5803}"/>
              </a:ext>
            </a:extLst>
          </p:cNvPr>
          <p:cNvGrpSpPr/>
          <p:nvPr/>
        </p:nvGrpSpPr>
        <p:grpSpPr>
          <a:xfrm>
            <a:off x="826507" y="5281427"/>
            <a:ext cx="1223363" cy="761783"/>
            <a:chOff x="253049" y="2130462"/>
            <a:chExt cx="917522" cy="571337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xmlns="" id="{848D641E-6FB7-4080-9BB6-9FE19B317F40}"/>
                </a:ext>
              </a:extLst>
            </p:cNvPr>
            <p:cNvSpPr/>
            <p:nvPr/>
          </p:nvSpPr>
          <p:spPr>
            <a:xfrm>
              <a:off x="593315" y="2543964"/>
              <a:ext cx="489401" cy="114054"/>
            </a:xfrm>
            <a:prstGeom prst="ellipse">
              <a:avLst/>
            </a:prstGeom>
            <a:solidFill>
              <a:srgbClr val="009FDA">
                <a:lumMod val="50000"/>
                <a:alpha val="42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270" name="Oval 269">
              <a:extLst>
                <a:ext uri="{FF2B5EF4-FFF2-40B4-BE49-F238E27FC236}">
                  <a16:creationId xmlns:a16="http://schemas.microsoft.com/office/drawing/2014/main" xmlns="" id="{985EB56C-1EBC-4600-B8B1-0383294EE1EB}"/>
                </a:ext>
              </a:extLst>
            </p:cNvPr>
            <p:cNvSpPr/>
            <p:nvPr/>
          </p:nvSpPr>
          <p:spPr>
            <a:xfrm>
              <a:off x="253049" y="2497754"/>
              <a:ext cx="700315" cy="53717"/>
            </a:xfrm>
            <a:prstGeom prst="ellipse">
              <a:avLst/>
            </a:prstGeom>
            <a:solidFill>
              <a:srgbClr val="009FDA">
                <a:lumMod val="50000"/>
                <a:alpha val="42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xmlns="" id="{33D6F8DD-9DE1-4E66-AF35-208B7779F0B8}"/>
                </a:ext>
              </a:extLst>
            </p:cNvPr>
            <p:cNvGrpSpPr/>
            <p:nvPr/>
          </p:nvGrpSpPr>
          <p:grpSpPr>
            <a:xfrm>
              <a:off x="274921" y="2195631"/>
              <a:ext cx="464051" cy="390530"/>
              <a:chOff x="8062913" y="-1081653"/>
              <a:chExt cx="1400568" cy="1178673"/>
            </a:xfrm>
          </p:grpSpPr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xmlns="" id="{815595A8-B7D7-481D-8A32-213262FC810F}"/>
                  </a:ext>
                </a:extLst>
              </p:cNvPr>
              <p:cNvSpPr/>
              <p:nvPr/>
            </p:nvSpPr>
            <p:spPr>
              <a:xfrm>
                <a:off x="8062913" y="-890588"/>
                <a:ext cx="1371600" cy="800100"/>
              </a:xfrm>
              <a:custGeom>
                <a:avLst/>
                <a:gdLst>
                  <a:gd name="connsiteX0" fmla="*/ 0 w 1371600"/>
                  <a:gd name="connsiteY0" fmla="*/ 581025 h 800100"/>
                  <a:gd name="connsiteX1" fmla="*/ 33337 w 1371600"/>
                  <a:gd name="connsiteY1" fmla="*/ 490538 h 800100"/>
                  <a:gd name="connsiteX2" fmla="*/ 100012 w 1371600"/>
                  <a:gd name="connsiteY2" fmla="*/ 447675 h 800100"/>
                  <a:gd name="connsiteX3" fmla="*/ 276225 w 1371600"/>
                  <a:gd name="connsiteY3" fmla="*/ 442913 h 800100"/>
                  <a:gd name="connsiteX4" fmla="*/ 366712 w 1371600"/>
                  <a:gd name="connsiteY4" fmla="*/ 423863 h 800100"/>
                  <a:gd name="connsiteX5" fmla="*/ 409575 w 1371600"/>
                  <a:gd name="connsiteY5" fmla="*/ 376238 h 800100"/>
                  <a:gd name="connsiteX6" fmla="*/ 519112 w 1371600"/>
                  <a:gd name="connsiteY6" fmla="*/ 300038 h 800100"/>
                  <a:gd name="connsiteX7" fmla="*/ 685800 w 1371600"/>
                  <a:gd name="connsiteY7" fmla="*/ 123825 h 800100"/>
                  <a:gd name="connsiteX8" fmla="*/ 762000 w 1371600"/>
                  <a:gd name="connsiteY8" fmla="*/ 57150 h 800100"/>
                  <a:gd name="connsiteX9" fmla="*/ 933450 w 1371600"/>
                  <a:gd name="connsiteY9" fmla="*/ 66675 h 800100"/>
                  <a:gd name="connsiteX10" fmla="*/ 1028700 w 1371600"/>
                  <a:gd name="connsiteY10" fmla="*/ 71438 h 800100"/>
                  <a:gd name="connsiteX11" fmla="*/ 1085850 w 1371600"/>
                  <a:gd name="connsiteY11" fmla="*/ 71438 h 800100"/>
                  <a:gd name="connsiteX12" fmla="*/ 1166812 w 1371600"/>
                  <a:gd name="connsiteY12" fmla="*/ 19050 h 800100"/>
                  <a:gd name="connsiteX13" fmla="*/ 1281112 w 1371600"/>
                  <a:gd name="connsiteY13" fmla="*/ 0 h 800100"/>
                  <a:gd name="connsiteX14" fmla="*/ 1352550 w 1371600"/>
                  <a:gd name="connsiteY14" fmla="*/ 76200 h 800100"/>
                  <a:gd name="connsiteX15" fmla="*/ 1366837 w 1371600"/>
                  <a:gd name="connsiteY15" fmla="*/ 152400 h 800100"/>
                  <a:gd name="connsiteX16" fmla="*/ 1371600 w 1371600"/>
                  <a:gd name="connsiteY16" fmla="*/ 242888 h 800100"/>
                  <a:gd name="connsiteX17" fmla="*/ 1371600 w 1371600"/>
                  <a:gd name="connsiteY17" fmla="*/ 357188 h 800100"/>
                  <a:gd name="connsiteX18" fmla="*/ 1371600 w 1371600"/>
                  <a:gd name="connsiteY18" fmla="*/ 514350 h 800100"/>
                  <a:gd name="connsiteX19" fmla="*/ 1343025 w 1371600"/>
                  <a:gd name="connsiteY19" fmla="*/ 609600 h 800100"/>
                  <a:gd name="connsiteX20" fmla="*/ 1228725 w 1371600"/>
                  <a:gd name="connsiteY20" fmla="*/ 661988 h 800100"/>
                  <a:gd name="connsiteX21" fmla="*/ 1000125 w 1371600"/>
                  <a:gd name="connsiteY21" fmla="*/ 676275 h 800100"/>
                  <a:gd name="connsiteX22" fmla="*/ 842962 w 1371600"/>
                  <a:gd name="connsiteY22" fmla="*/ 700088 h 800100"/>
                  <a:gd name="connsiteX23" fmla="*/ 781050 w 1371600"/>
                  <a:gd name="connsiteY23" fmla="*/ 738188 h 800100"/>
                  <a:gd name="connsiteX24" fmla="*/ 642937 w 1371600"/>
                  <a:gd name="connsiteY24" fmla="*/ 795338 h 800100"/>
                  <a:gd name="connsiteX25" fmla="*/ 485775 w 1371600"/>
                  <a:gd name="connsiteY25" fmla="*/ 800100 h 800100"/>
                  <a:gd name="connsiteX26" fmla="*/ 328612 w 1371600"/>
                  <a:gd name="connsiteY26" fmla="*/ 757238 h 800100"/>
                  <a:gd name="connsiteX27" fmla="*/ 157162 w 1371600"/>
                  <a:gd name="connsiteY27" fmla="*/ 695325 h 800100"/>
                  <a:gd name="connsiteX28" fmla="*/ 0 w 1371600"/>
                  <a:gd name="connsiteY28" fmla="*/ 581025 h 80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371600" h="800100">
                    <a:moveTo>
                      <a:pt x="0" y="581025"/>
                    </a:moveTo>
                    <a:lnTo>
                      <a:pt x="33337" y="490538"/>
                    </a:lnTo>
                    <a:lnTo>
                      <a:pt x="100012" y="447675"/>
                    </a:lnTo>
                    <a:lnTo>
                      <a:pt x="276225" y="442913"/>
                    </a:lnTo>
                    <a:lnTo>
                      <a:pt x="366712" y="423863"/>
                    </a:lnTo>
                    <a:lnTo>
                      <a:pt x="409575" y="376238"/>
                    </a:lnTo>
                    <a:lnTo>
                      <a:pt x="519112" y="300038"/>
                    </a:lnTo>
                    <a:lnTo>
                      <a:pt x="685800" y="123825"/>
                    </a:lnTo>
                    <a:lnTo>
                      <a:pt x="762000" y="57150"/>
                    </a:lnTo>
                    <a:lnTo>
                      <a:pt x="933450" y="66675"/>
                    </a:lnTo>
                    <a:lnTo>
                      <a:pt x="1028700" y="71438"/>
                    </a:lnTo>
                    <a:lnTo>
                      <a:pt x="1085850" y="71438"/>
                    </a:lnTo>
                    <a:lnTo>
                      <a:pt x="1166812" y="19050"/>
                    </a:lnTo>
                    <a:lnTo>
                      <a:pt x="1281112" y="0"/>
                    </a:lnTo>
                    <a:lnTo>
                      <a:pt x="1352550" y="76200"/>
                    </a:lnTo>
                    <a:lnTo>
                      <a:pt x="1366837" y="152400"/>
                    </a:lnTo>
                    <a:lnTo>
                      <a:pt x="1371600" y="242888"/>
                    </a:lnTo>
                    <a:lnTo>
                      <a:pt x="1371600" y="357188"/>
                    </a:lnTo>
                    <a:lnTo>
                      <a:pt x="1371600" y="514350"/>
                    </a:lnTo>
                    <a:lnTo>
                      <a:pt x="1343025" y="609600"/>
                    </a:lnTo>
                    <a:lnTo>
                      <a:pt x="1228725" y="661988"/>
                    </a:lnTo>
                    <a:lnTo>
                      <a:pt x="1000125" y="676275"/>
                    </a:lnTo>
                    <a:lnTo>
                      <a:pt x="842962" y="700088"/>
                    </a:lnTo>
                    <a:lnTo>
                      <a:pt x="781050" y="738188"/>
                    </a:lnTo>
                    <a:lnTo>
                      <a:pt x="642937" y="795338"/>
                    </a:lnTo>
                    <a:lnTo>
                      <a:pt x="485775" y="800100"/>
                    </a:lnTo>
                    <a:lnTo>
                      <a:pt x="328612" y="757238"/>
                    </a:lnTo>
                    <a:lnTo>
                      <a:pt x="157162" y="695325"/>
                    </a:lnTo>
                    <a:lnTo>
                      <a:pt x="0" y="5810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grpSp>
            <p:nvGrpSpPr>
              <p:cNvPr id="302" name="Group 4">
                <a:extLst>
                  <a:ext uri="{FF2B5EF4-FFF2-40B4-BE49-F238E27FC236}">
                    <a16:creationId xmlns:a16="http://schemas.microsoft.com/office/drawing/2014/main" xmlns="" id="{39B45386-33ED-42E6-BFDE-3B08FE5FFF1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rot="1832573">
                <a:off x="8239389" y="-1081653"/>
                <a:ext cx="1224092" cy="1178673"/>
                <a:chOff x="2442" y="1360"/>
                <a:chExt cx="539" cy="519"/>
              </a:xfrm>
              <a:solidFill>
                <a:srgbClr val="009FDA"/>
              </a:solidFill>
            </p:grpSpPr>
            <p:sp>
              <p:nvSpPr>
                <p:cNvPr id="303" name="Freeform 6">
                  <a:extLst>
                    <a:ext uri="{FF2B5EF4-FFF2-40B4-BE49-F238E27FC236}">
                      <a16:creationId xmlns:a16="http://schemas.microsoft.com/office/drawing/2014/main" xmlns="" id="{57766C45-71D5-450A-AAC7-7769E53E8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6" y="1360"/>
                  <a:ext cx="168" cy="134"/>
                </a:xfrm>
                <a:custGeom>
                  <a:avLst/>
                  <a:gdLst>
                    <a:gd name="T0" fmla="*/ 70 w 111"/>
                    <a:gd name="T1" fmla="*/ 0 h 88"/>
                    <a:gd name="T2" fmla="*/ 84 w 111"/>
                    <a:gd name="T3" fmla="*/ 6 h 88"/>
                    <a:gd name="T4" fmla="*/ 88 w 111"/>
                    <a:gd name="T5" fmla="*/ 9 h 88"/>
                    <a:gd name="T6" fmla="*/ 91 w 111"/>
                    <a:gd name="T7" fmla="*/ 46 h 88"/>
                    <a:gd name="T8" fmla="*/ 76 w 111"/>
                    <a:gd name="T9" fmla="*/ 66 h 88"/>
                    <a:gd name="T10" fmla="*/ 77 w 111"/>
                    <a:gd name="T11" fmla="*/ 67 h 88"/>
                    <a:gd name="T12" fmla="*/ 85 w 111"/>
                    <a:gd name="T13" fmla="*/ 63 h 88"/>
                    <a:gd name="T14" fmla="*/ 95 w 111"/>
                    <a:gd name="T15" fmla="*/ 40 h 88"/>
                    <a:gd name="T16" fmla="*/ 93 w 111"/>
                    <a:gd name="T17" fmla="*/ 12 h 88"/>
                    <a:gd name="T18" fmla="*/ 103 w 111"/>
                    <a:gd name="T19" fmla="*/ 25 h 88"/>
                    <a:gd name="T20" fmla="*/ 107 w 111"/>
                    <a:gd name="T21" fmla="*/ 50 h 88"/>
                    <a:gd name="T22" fmla="*/ 103 w 111"/>
                    <a:gd name="T23" fmla="*/ 65 h 88"/>
                    <a:gd name="T24" fmla="*/ 73 w 111"/>
                    <a:gd name="T25" fmla="*/ 87 h 88"/>
                    <a:gd name="T26" fmla="*/ 19 w 111"/>
                    <a:gd name="T27" fmla="*/ 81 h 88"/>
                    <a:gd name="T28" fmla="*/ 0 w 111"/>
                    <a:gd name="T29" fmla="*/ 80 h 88"/>
                    <a:gd name="T30" fmla="*/ 2 w 111"/>
                    <a:gd name="T31" fmla="*/ 72 h 88"/>
                    <a:gd name="T32" fmla="*/ 30 w 111"/>
                    <a:gd name="T33" fmla="*/ 58 h 88"/>
                    <a:gd name="T34" fmla="*/ 59 w 111"/>
                    <a:gd name="T35" fmla="*/ 64 h 88"/>
                    <a:gd name="T36" fmla="*/ 78 w 111"/>
                    <a:gd name="T37" fmla="*/ 55 h 88"/>
                    <a:gd name="T38" fmla="*/ 75 w 111"/>
                    <a:gd name="T39" fmla="*/ 30 h 88"/>
                    <a:gd name="T40" fmla="*/ 66 w 111"/>
                    <a:gd name="T41" fmla="*/ 18 h 88"/>
                    <a:gd name="T42" fmla="*/ 57 w 111"/>
                    <a:gd name="T43" fmla="*/ 2 h 88"/>
                    <a:gd name="T44" fmla="*/ 62 w 111"/>
                    <a:gd name="T45" fmla="*/ 0 h 88"/>
                    <a:gd name="T46" fmla="*/ 70 w 111"/>
                    <a:gd name="T47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1" h="88">
                      <a:moveTo>
                        <a:pt x="70" y="0"/>
                      </a:moveTo>
                      <a:cubicBezTo>
                        <a:pt x="75" y="2"/>
                        <a:pt x="80" y="3"/>
                        <a:pt x="84" y="6"/>
                      </a:cubicBezTo>
                      <a:cubicBezTo>
                        <a:pt x="86" y="6"/>
                        <a:pt x="87" y="8"/>
                        <a:pt x="88" y="9"/>
                      </a:cubicBezTo>
                      <a:cubicBezTo>
                        <a:pt x="91" y="21"/>
                        <a:pt x="93" y="34"/>
                        <a:pt x="91" y="46"/>
                      </a:cubicBezTo>
                      <a:cubicBezTo>
                        <a:pt x="89" y="55"/>
                        <a:pt x="84" y="62"/>
                        <a:pt x="76" y="66"/>
                      </a:cubicBezTo>
                      <a:cubicBezTo>
                        <a:pt x="76" y="67"/>
                        <a:pt x="77" y="67"/>
                        <a:pt x="77" y="67"/>
                      </a:cubicBezTo>
                      <a:cubicBezTo>
                        <a:pt x="79" y="66"/>
                        <a:pt x="82" y="65"/>
                        <a:pt x="85" y="63"/>
                      </a:cubicBezTo>
                      <a:cubicBezTo>
                        <a:pt x="92" y="57"/>
                        <a:pt x="95" y="49"/>
                        <a:pt x="95" y="40"/>
                      </a:cubicBezTo>
                      <a:cubicBezTo>
                        <a:pt x="95" y="31"/>
                        <a:pt x="94" y="21"/>
                        <a:pt x="93" y="12"/>
                      </a:cubicBezTo>
                      <a:cubicBezTo>
                        <a:pt x="96" y="16"/>
                        <a:pt x="99" y="21"/>
                        <a:pt x="103" y="25"/>
                      </a:cubicBezTo>
                      <a:cubicBezTo>
                        <a:pt x="109" y="33"/>
                        <a:pt x="111" y="41"/>
                        <a:pt x="107" y="50"/>
                      </a:cubicBezTo>
                      <a:cubicBezTo>
                        <a:pt x="105" y="55"/>
                        <a:pt x="104" y="60"/>
                        <a:pt x="103" y="65"/>
                      </a:cubicBezTo>
                      <a:cubicBezTo>
                        <a:pt x="100" y="80"/>
                        <a:pt x="86" y="88"/>
                        <a:pt x="73" y="87"/>
                      </a:cubicBezTo>
                      <a:cubicBezTo>
                        <a:pt x="55" y="86"/>
                        <a:pt x="37" y="83"/>
                        <a:pt x="19" y="81"/>
                      </a:cubicBezTo>
                      <a:cubicBezTo>
                        <a:pt x="13" y="81"/>
                        <a:pt x="7" y="80"/>
                        <a:pt x="0" y="80"/>
                      </a:cubicBezTo>
                      <a:cubicBezTo>
                        <a:pt x="1" y="77"/>
                        <a:pt x="1" y="75"/>
                        <a:pt x="2" y="72"/>
                      </a:cubicBezTo>
                      <a:cubicBezTo>
                        <a:pt x="7" y="60"/>
                        <a:pt x="16" y="55"/>
                        <a:pt x="30" y="58"/>
                      </a:cubicBezTo>
                      <a:cubicBezTo>
                        <a:pt x="39" y="60"/>
                        <a:pt x="49" y="63"/>
                        <a:pt x="59" y="64"/>
                      </a:cubicBezTo>
                      <a:cubicBezTo>
                        <a:pt x="67" y="65"/>
                        <a:pt x="75" y="63"/>
                        <a:pt x="78" y="55"/>
                      </a:cubicBezTo>
                      <a:cubicBezTo>
                        <a:pt x="82" y="46"/>
                        <a:pt x="81" y="37"/>
                        <a:pt x="75" y="30"/>
                      </a:cubicBezTo>
                      <a:cubicBezTo>
                        <a:pt x="72" y="26"/>
                        <a:pt x="68" y="23"/>
                        <a:pt x="66" y="18"/>
                      </a:cubicBezTo>
                      <a:cubicBezTo>
                        <a:pt x="62" y="13"/>
                        <a:pt x="60" y="8"/>
                        <a:pt x="57" y="2"/>
                      </a:cubicBezTo>
                      <a:cubicBezTo>
                        <a:pt x="59" y="1"/>
                        <a:pt x="60" y="1"/>
                        <a:pt x="62" y="0"/>
                      </a:cubicBezTo>
                      <a:cubicBezTo>
                        <a:pt x="64" y="0"/>
                        <a:pt x="67" y="0"/>
                        <a:pt x="70" y="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4" name="Freeform 7">
                  <a:extLst>
                    <a:ext uri="{FF2B5EF4-FFF2-40B4-BE49-F238E27FC236}">
                      <a16:creationId xmlns:a16="http://schemas.microsoft.com/office/drawing/2014/main" xmlns="" id="{114BCD92-6317-40BB-85A4-11110F21F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821"/>
                  <a:ext cx="203" cy="58"/>
                </a:xfrm>
                <a:custGeom>
                  <a:avLst/>
                  <a:gdLst>
                    <a:gd name="T0" fmla="*/ 0 w 134"/>
                    <a:gd name="T1" fmla="*/ 28 h 38"/>
                    <a:gd name="T2" fmla="*/ 1 w 134"/>
                    <a:gd name="T3" fmla="*/ 27 h 38"/>
                    <a:gd name="T4" fmla="*/ 30 w 134"/>
                    <a:gd name="T5" fmla="*/ 11 h 38"/>
                    <a:gd name="T6" fmla="*/ 37 w 134"/>
                    <a:gd name="T7" fmla="*/ 13 h 38"/>
                    <a:gd name="T8" fmla="*/ 75 w 134"/>
                    <a:gd name="T9" fmla="*/ 14 h 38"/>
                    <a:gd name="T10" fmla="*/ 117 w 134"/>
                    <a:gd name="T11" fmla="*/ 0 h 38"/>
                    <a:gd name="T12" fmla="*/ 134 w 134"/>
                    <a:gd name="T13" fmla="*/ 20 h 38"/>
                    <a:gd name="T14" fmla="*/ 126 w 134"/>
                    <a:gd name="T15" fmla="*/ 24 h 38"/>
                    <a:gd name="T16" fmla="*/ 72 w 134"/>
                    <a:gd name="T17" fmla="*/ 37 h 38"/>
                    <a:gd name="T18" fmla="*/ 67 w 134"/>
                    <a:gd name="T19" fmla="*/ 38 h 38"/>
                    <a:gd name="T20" fmla="*/ 58 w 134"/>
                    <a:gd name="T21" fmla="*/ 38 h 38"/>
                    <a:gd name="T22" fmla="*/ 54 w 134"/>
                    <a:gd name="T23" fmla="*/ 37 h 38"/>
                    <a:gd name="T24" fmla="*/ 26 w 134"/>
                    <a:gd name="T25" fmla="*/ 35 h 38"/>
                    <a:gd name="T26" fmla="*/ 0 w 134"/>
                    <a:gd name="T27" fmla="*/ 31 h 38"/>
                    <a:gd name="T28" fmla="*/ 0 w 134"/>
                    <a:gd name="T29" fmla="*/ 2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4" h="38">
                      <a:moveTo>
                        <a:pt x="0" y="28"/>
                      </a:moveTo>
                      <a:cubicBezTo>
                        <a:pt x="0" y="28"/>
                        <a:pt x="0" y="28"/>
                        <a:pt x="1" y="27"/>
                      </a:cubicBezTo>
                      <a:cubicBezTo>
                        <a:pt x="5" y="11"/>
                        <a:pt x="13" y="6"/>
                        <a:pt x="30" y="11"/>
                      </a:cubicBezTo>
                      <a:cubicBezTo>
                        <a:pt x="32" y="11"/>
                        <a:pt x="35" y="12"/>
                        <a:pt x="37" y="13"/>
                      </a:cubicBezTo>
                      <a:cubicBezTo>
                        <a:pt x="50" y="20"/>
                        <a:pt x="63" y="19"/>
                        <a:pt x="75" y="14"/>
                      </a:cubicBezTo>
                      <a:cubicBezTo>
                        <a:pt x="89" y="9"/>
                        <a:pt x="103" y="5"/>
                        <a:pt x="117" y="0"/>
                      </a:cubicBezTo>
                      <a:cubicBezTo>
                        <a:pt x="123" y="6"/>
                        <a:pt x="128" y="12"/>
                        <a:pt x="134" y="20"/>
                      </a:cubicBezTo>
                      <a:cubicBezTo>
                        <a:pt x="131" y="21"/>
                        <a:pt x="129" y="23"/>
                        <a:pt x="126" y="24"/>
                      </a:cubicBezTo>
                      <a:cubicBezTo>
                        <a:pt x="109" y="32"/>
                        <a:pt x="91" y="36"/>
                        <a:pt x="72" y="37"/>
                      </a:cubicBezTo>
                      <a:cubicBezTo>
                        <a:pt x="71" y="37"/>
                        <a:pt x="69" y="37"/>
                        <a:pt x="67" y="38"/>
                      </a:cubicBezTo>
                      <a:cubicBezTo>
                        <a:pt x="64" y="38"/>
                        <a:pt x="61" y="38"/>
                        <a:pt x="58" y="38"/>
                      </a:cubicBezTo>
                      <a:cubicBezTo>
                        <a:pt x="57" y="38"/>
                        <a:pt x="55" y="37"/>
                        <a:pt x="54" y="37"/>
                      </a:cubicBezTo>
                      <a:cubicBezTo>
                        <a:pt x="45" y="36"/>
                        <a:pt x="36" y="36"/>
                        <a:pt x="26" y="35"/>
                      </a:cubicBezTo>
                      <a:cubicBezTo>
                        <a:pt x="18" y="34"/>
                        <a:pt x="9" y="32"/>
                        <a:pt x="0" y="31"/>
                      </a:cubicBezTo>
                      <a:cubicBezTo>
                        <a:pt x="0" y="30"/>
                        <a:pt x="0" y="29"/>
                        <a:pt x="0" y="28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5" name="Freeform 8">
                  <a:extLst>
                    <a:ext uri="{FF2B5EF4-FFF2-40B4-BE49-F238E27FC236}">
                      <a16:creationId xmlns:a16="http://schemas.microsoft.com/office/drawing/2014/main" xmlns="" id="{C8EBB36C-2222-4B01-BB87-1C2411949E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868"/>
                  <a:ext cx="88" cy="11"/>
                </a:xfrm>
                <a:custGeom>
                  <a:avLst/>
                  <a:gdLst>
                    <a:gd name="T0" fmla="*/ 0 w 58"/>
                    <a:gd name="T1" fmla="*/ 0 h 7"/>
                    <a:gd name="T2" fmla="*/ 26 w 58"/>
                    <a:gd name="T3" fmla="*/ 4 h 7"/>
                    <a:gd name="T4" fmla="*/ 54 w 58"/>
                    <a:gd name="T5" fmla="*/ 6 h 7"/>
                    <a:gd name="T6" fmla="*/ 58 w 58"/>
                    <a:gd name="T7" fmla="*/ 7 h 7"/>
                    <a:gd name="T8" fmla="*/ 0 w 58"/>
                    <a:gd name="T9" fmla="*/ 7 h 7"/>
                    <a:gd name="T10" fmla="*/ 0 w 58"/>
                    <a:gd name="T11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8" h="7">
                      <a:moveTo>
                        <a:pt x="0" y="0"/>
                      </a:moveTo>
                      <a:cubicBezTo>
                        <a:pt x="9" y="1"/>
                        <a:pt x="18" y="3"/>
                        <a:pt x="26" y="4"/>
                      </a:cubicBezTo>
                      <a:cubicBezTo>
                        <a:pt x="36" y="5"/>
                        <a:pt x="45" y="5"/>
                        <a:pt x="54" y="6"/>
                      </a:cubicBezTo>
                      <a:cubicBezTo>
                        <a:pt x="55" y="6"/>
                        <a:pt x="57" y="7"/>
                        <a:pt x="58" y="7"/>
                      </a:cubicBezTo>
                      <a:cubicBezTo>
                        <a:pt x="38" y="7"/>
                        <a:pt x="19" y="7"/>
                        <a:pt x="0" y="7"/>
                      </a:cubicBezTo>
                      <a:cubicBezTo>
                        <a:pt x="0" y="4"/>
                        <a:pt x="0" y="2"/>
                        <a:pt x="0" y="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6" name="Freeform 9">
                  <a:extLst>
                    <a:ext uri="{FF2B5EF4-FFF2-40B4-BE49-F238E27FC236}">
                      <a16:creationId xmlns:a16="http://schemas.microsoft.com/office/drawing/2014/main" xmlns="" id="{1F862BDD-1F42-4764-8BFE-7B32058AC4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667"/>
                  <a:ext cx="313" cy="171"/>
                </a:xfrm>
                <a:custGeom>
                  <a:avLst/>
                  <a:gdLst>
                    <a:gd name="T0" fmla="*/ 170 w 207"/>
                    <a:gd name="T1" fmla="*/ 8 h 112"/>
                    <a:gd name="T2" fmla="*/ 112 w 207"/>
                    <a:gd name="T3" fmla="*/ 67 h 112"/>
                    <a:gd name="T4" fmla="*/ 114 w 207"/>
                    <a:gd name="T5" fmla="*/ 66 h 112"/>
                    <a:gd name="T6" fmla="*/ 175 w 207"/>
                    <a:gd name="T7" fmla="*/ 12 h 112"/>
                    <a:gd name="T8" fmla="*/ 179 w 207"/>
                    <a:gd name="T9" fmla="*/ 11 h 112"/>
                    <a:gd name="T10" fmla="*/ 204 w 207"/>
                    <a:gd name="T11" fmla="*/ 23 h 112"/>
                    <a:gd name="T12" fmla="*/ 206 w 207"/>
                    <a:gd name="T13" fmla="*/ 28 h 112"/>
                    <a:gd name="T14" fmla="*/ 188 w 207"/>
                    <a:gd name="T15" fmla="*/ 54 h 112"/>
                    <a:gd name="T16" fmla="*/ 128 w 207"/>
                    <a:gd name="T17" fmla="*/ 91 h 112"/>
                    <a:gd name="T18" fmla="*/ 70 w 207"/>
                    <a:gd name="T19" fmla="*/ 110 h 112"/>
                    <a:gd name="T20" fmla="*/ 45 w 207"/>
                    <a:gd name="T21" fmla="*/ 111 h 112"/>
                    <a:gd name="T22" fmla="*/ 38 w 207"/>
                    <a:gd name="T23" fmla="*/ 108 h 112"/>
                    <a:gd name="T24" fmla="*/ 14 w 207"/>
                    <a:gd name="T25" fmla="*/ 105 h 112"/>
                    <a:gd name="T26" fmla="*/ 2 w 207"/>
                    <a:gd name="T27" fmla="*/ 112 h 112"/>
                    <a:gd name="T28" fmla="*/ 3 w 207"/>
                    <a:gd name="T29" fmla="*/ 97 h 112"/>
                    <a:gd name="T30" fmla="*/ 21 w 207"/>
                    <a:gd name="T31" fmla="*/ 74 h 112"/>
                    <a:gd name="T32" fmla="*/ 55 w 207"/>
                    <a:gd name="T33" fmla="*/ 56 h 112"/>
                    <a:gd name="T34" fmla="*/ 62 w 207"/>
                    <a:gd name="T35" fmla="*/ 51 h 112"/>
                    <a:gd name="T36" fmla="*/ 78 w 207"/>
                    <a:gd name="T37" fmla="*/ 24 h 112"/>
                    <a:gd name="T38" fmla="*/ 81 w 207"/>
                    <a:gd name="T39" fmla="*/ 21 h 112"/>
                    <a:gd name="T40" fmla="*/ 170 w 207"/>
                    <a:gd name="T41" fmla="*/ 8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07" h="112">
                      <a:moveTo>
                        <a:pt x="170" y="8"/>
                      </a:moveTo>
                      <a:cubicBezTo>
                        <a:pt x="155" y="32"/>
                        <a:pt x="134" y="50"/>
                        <a:pt x="112" y="67"/>
                      </a:cubicBezTo>
                      <a:cubicBezTo>
                        <a:pt x="112" y="66"/>
                        <a:pt x="113" y="66"/>
                        <a:pt x="114" y="66"/>
                      </a:cubicBezTo>
                      <a:cubicBezTo>
                        <a:pt x="138" y="53"/>
                        <a:pt x="159" y="36"/>
                        <a:pt x="175" y="12"/>
                      </a:cubicBezTo>
                      <a:cubicBezTo>
                        <a:pt x="176" y="11"/>
                        <a:pt x="178" y="10"/>
                        <a:pt x="179" y="11"/>
                      </a:cubicBezTo>
                      <a:cubicBezTo>
                        <a:pt x="188" y="15"/>
                        <a:pt x="196" y="19"/>
                        <a:pt x="204" y="23"/>
                      </a:cubicBezTo>
                      <a:cubicBezTo>
                        <a:pt x="207" y="24"/>
                        <a:pt x="207" y="26"/>
                        <a:pt x="206" y="28"/>
                      </a:cubicBezTo>
                      <a:cubicBezTo>
                        <a:pt x="202" y="39"/>
                        <a:pt x="196" y="47"/>
                        <a:pt x="188" y="54"/>
                      </a:cubicBezTo>
                      <a:cubicBezTo>
                        <a:pt x="171" y="71"/>
                        <a:pt x="150" y="82"/>
                        <a:pt x="128" y="91"/>
                      </a:cubicBezTo>
                      <a:cubicBezTo>
                        <a:pt x="109" y="98"/>
                        <a:pt x="89" y="105"/>
                        <a:pt x="70" y="110"/>
                      </a:cubicBezTo>
                      <a:cubicBezTo>
                        <a:pt x="62" y="112"/>
                        <a:pt x="53" y="111"/>
                        <a:pt x="45" y="111"/>
                      </a:cubicBezTo>
                      <a:cubicBezTo>
                        <a:pt x="42" y="111"/>
                        <a:pt x="40" y="109"/>
                        <a:pt x="38" y="108"/>
                      </a:cubicBezTo>
                      <a:cubicBezTo>
                        <a:pt x="30" y="101"/>
                        <a:pt x="22" y="101"/>
                        <a:pt x="14" y="105"/>
                      </a:cubicBezTo>
                      <a:cubicBezTo>
                        <a:pt x="10" y="107"/>
                        <a:pt x="6" y="109"/>
                        <a:pt x="2" y="112"/>
                      </a:cubicBezTo>
                      <a:cubicBezTo>
                        <a:pt x="0" y="107"/>
                        <a:pt x="1" y="102"/>
                        <a:pt x="3" y="97"/>
                      </a:cubicBezTo>
                      <a:cubicBezTo>
                        <a:pt x="6" y="87"/>
                        <a:pt x="12" y="79"/>
                        <a:pt x="21" y="74"/>
                      </a:cubicBezTo>
                      <a:cubicBezTo>
                        <a:pt x="32" y="67"/>
                        <a:pt x="44" y="62"/>
                        <a:pt x="55" y="56"/>
                      </a:cubicBezTo>
                      <a:cubicBezTo>
                        <a:pt x="58" y="55"/>
                        <a:pt x="60" y="53"/>
                        <a:pt x="62" y="51"/>
                      </a:cubicBezTo>
                      <a:cubicBezTo>
                        <a:pt x="69" y="43"/>
                        <a:pt x="75" y="34"/>
                        <a:pt x="78" y="24"/>
                      </a:cubicBezTo>
                      <a:cubicBezTo>
                        <a:pt x="78" y="23"/>
                        <a:pt x="80" y="22"/>
                        <a:pt x="81" y="21"/>
                      </a:cubicBezTo>
                      <a:cubicBezTo>
                        <a:pt x="109" y="6"/>
                        <a:pt x="138" y="0"/>
                        <a:pt x="170" y="8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7" name="Freeform 10">
                  <a:extLst>
                    <a:ext uri="{FF2B5EF4-FFF2-40B4-BE49-F238E27FC236}">
                      <a16:creationId xmlns:a16="http://schemas.microsoft.com/office/drawing/2014/main" xmlns="" id="{D56514EB-927B-4281-BE05-1FD8CCE2919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22" y="1424"/>
                  <a:ext cx="315" cy="271"/>
                </a:xfrm>
                <a:custGeom>
                  <a:avLst/>
                  <a:gdLst>
                    <a:gd name="T0" fmla="*/ 89 w 208"/>
                    <a:gd name="T1" fmla="*/ 178 h 178"/>
                    <a:gd name="T2" fmla="*/ 21 w 208"/>
                    <a:gd name="T3" fmla="*/ 160 h 178"/>
                    <a:gd name="T4" fmla="*/ 5 w 208"/>
                    <a:gd name="T5" fmla="*/ 158 h 178"/>
                    <a:gd name="T6" fmla="*/ 0 w 208"/>
                    <a:gd name="T7" fmla="*/ 154 h 178"/>
                    <a:gd name="T8" fmla="*/ 0 w 208"/>
                    <a:gd name="T9" fmla="*/ 153 h 178"/>
                    <a:gd name="T10" fmla="*/ 14 w 208"/>
                    <a:gd name="T11" fmla="*/ 151 h 178"/>
                    <a:gd name="T12" fmla="*/ 21 w 208"/>
                    <a:gd name="T13" fmla="*/ 150 h 178"/>
                    <a:gd name="T14" fmla="*/ 24 w 208"/>
                    <a:gd name="T15" fmla="*/ 145 h 178"/>
                    <a:gd name="T16" fmla="*/ 20 w 208"/>
                    <a:gd name="T17" fmla="*/ 141 h 178"/>
                    <a:gd name="T18" fmla="*/ 8 w 208"/>
                    <a:gd name="T19" fmla="*/ 140 h 178"/>
                    <a:gd name="T20" fmla="*/ 17 w 208"/>
                    <a:gd name="T21" fmla="*/ 125 h 178"/>
                    <a:gd name="T22" fmla="*/ 20 w 208"/>
                    <a:gd name="T23" fmla="*/ 124 h 178"/>
                    <a:gd name="T24" fmla="*/ 33 w 208"/>
                    <a:gd name="T25" fmla="*/ 123 h 178"/>
                    <a:gd name="T26" fmla="*/ 39 w 208"/>
                    <a:gd name="T27" fmla="*/ 118 h 178"/>
                    <a:gd name="T28" fmla="*/ 34 w 208"/>
                    <a:gd name="T29" fmla="*/ 113 h 178"/>
                    <a:gd name="T30" fmla="*/ 23 w 208"/>
                    <a:gd name="T31" fmla="*/ 113 h 178"/>
                    <a:gd name="T32" fmla="*/ 31 w 208"/>
                    <a:gd name="T33" fmla="*/ 97 h 178"/>
                    <a:gd name="T34" fmla="*/ 34 w 208"/>
                    <a:gd name="T35" fmla="*/ 96 h 178"/>
                    <a:gd name="T36" fmla="*/ 42 w 208"/>
                    <a:gd name="T37" fmla="*/ 97 h 178"/>
                    <a:gd name="T38" fmla="*/ 49 w 208"/>
                    <a:gd name="T39" fmla="*/ 93 h 178"/>
                    <a:gd name="T40" fmla="*/ 44 w 208"/>
                    <a:gd name="T41" fmla="*/ 87 h 178"/>
                    <a:gd name="T42" fmla="*/ 37 w 208"/>
                    <a:gd name="T43" fmla="*/ 85 h 178"/>
                    <a:gd name="T44" fmla="*/ 44 w 208"/>
                    <a:gd name="T45" fmla="*/ 71 h 178"/>
                    <a:gd name="T46" fmla="*/ 47 w 208"/>
                    <a:gd name="T47" fmla="*/ 70 h 178"/>
                    <a:gd name="T48" fmla="*/ 54 w 208"/>
                    <a:gd name="T49" fmla="*/ 70 h 178"/>
                    <a:gd name="T50" fmla="*/ 59 w 208"/>
                    <a:gd name="T51" fmla="*/ 66 h 178"/>
                    <a:gd name="T52" fmla="*/ 56 w 208"/>
                    <a:gd name="T53" fmla="*/ 61 h 178"/>
                    <a:gd name="T54" fmla="*/ 50 w 208"/>
                    <a:gd name="T55" fmla="*/ 59 h 178"/>
                    <a:gd name="T56" fmla="*/ 74 w 208"/>
                    <a:gd name="T57" fmla="*/ 43 h 178"/>
                    <a:gd name="T58" fmla="*/ 95 w 208"/>
                    <a:gd name="T59" fmla="*/ 46 h 178"/>
                    <a:gd name="T60" fmla="*/ 152 w 208"/>
                    <a:gd name="T61" fmla="*/ 48 h 178"/>
                    <a:gd name="T62" fmla="*/ 173 w 208"/>
                    <a:gd name="T63" fmla="*/ 32 h 178"/>
                    <a:gd name="T64" fmla="*/ 182 w 208"/>
                    <a:gd name="T65" fmla="*/ 0 h 178"/>
                    <a:gd name="T66" fmla="*/ 183 w 208"/>
                    <a:gd name="T67" fmla="*/ 0 h 178"/>
                    <a:gd name="T68" fmla="*/ 206 w 208"/>
                    <a:gd name="T69" fmla="*/ 36 h 178"/>
                    <a:gd name="T70" fmla="*/ 206 w 208"/>
                    <a:gd name="T71" fmla="*/ 46 h 178"/>
                    <a:gd name="T72" fmla="*/ 180 w 208"/>
                    <a:gd name="T73" fmla="*/ 75 h 178"/>
                    <a:gd name="T74" fmla="*/ 97 w 208"/>
                    <a:gd name="T75" fmla="*/ 165 h 178"/>
                    <a:gd name="T76" fmla="*/ 89 w 208"/>
                    <a:gd name="T77" fmla="*/ 178 h 178"/>
                    <a:gd name="T78" fmla="*/ 91 w 208"/>
                    <a:gd name="T79" fmla="*/ 162 h 178"/>
                    <a:gd name="T80" fmla="*/ 99 w 208"/>
                    <a:gd name="T81" fmla="*/ 148 h 178"/>
                    <a:gd name="T82" fmla="*/ 150 w 208"/>
                    <a:gd name="T83" fmla="*/ 70 h 178"/>
                    <a:gd name="T84" fmla="*/ 153 w 208"/>
                    <a:gd name="T85" fmla="*/ 65 h 178"/>
                    <a:gd name="T86" fmla="*/ 148 w 208"/>
                    <a:gd name="T87" fmla="*/ 56 h 178"/>
                    <a:gd name="T88" fmla="*/ 98 w 208"/>
                    <a:gd name="T89" fmla="*/ 52 h 178"/>
                    <a:gd name="T90" fmla="*/ 86 w 208"/>
                    <a:gd name="T91" fmla="*/ 58 h 178"/>
                    <a:gd name="T92" fmla="*/ 83 w 208"/>
                    <a:gd name="T93" fmla="*/ 62 h 178"/>
                    <a:gd name="T94" fmla="*/ 41 w 208"/>
                    <a:gd name="T95" fmla="*/ 142 h 178"/>
                    <a:gd name="T96" fmla="*/ 45 w 208"/>
                    <a:gd name="T97" fmla="*/ 149 h 178"/>
                    <a:gd name="T98" fmla="*/ 57 w 208"/>
                    <a:gd name="T99" fmla="*/ 152 h 178"/>
                    <a:gd name="T100" fmla="*/ 91 w 208"/>
                    <a:gd name="T101" fmla="*/ 162 h 178"/>
                    <a:gd name="T102" fmla="*/ 122 w 208"/>
                    <a:gd name="T103" fmla="*/ 120 h 178"/>
                    <a:gd name="T104" fmla="*/ 123 w 208"/>
                    <a:gd name="T105" fmla="*/ 121 h 178"/>
                    <a:gd name="T106" fmla="*/ 124 w 208"/>
                    <a:gd name="T107" fmla="*/ 120 h 178"/>
                    <a:gd name="T108" fmla="*/ 181 w 208"/>
                    <a:gd name="T109" fmla="*/ 67 h 178"/>
                    <a:gd name="T110" fmla="*/ 199 w 208"/>
                    <a:gd name="T111" fmla="*/ 44 h 178"/>
                    <a:gd name="T112" fmla="*/ 200 w 208"/>
                    <a:gd name="T113" fmla="*/ 38 h 178"/>
                    <a:gd name="T114" fmla="*/ 186 w 208"/>
                    <a:gd name="T115" fmla="*/ 13 h 178"/>
                    <a:gd name="T116" fmla="*/ 163 w 208"/>
                    <a:gd name="T117" fmla="*/ 70 h 178"/>
                    <a:gd name="T118" fmla="*/ 141 w 208"/>
                    <a:gd name="T119" fmla="*/ 95 h 178"/>
                    <a:gd name="T120" fmla="*/ 122 w 208"/>
                    <a:gd name="T121" fmla="*/ 12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08" h="178">
                      <a:moveTo>
                        <a:pt x="89" y="178"/>
                      </a:moveTo>
                      <a:cubicBezTo>
                        <a:pt x="68" y="165"/>
                        <a:pt x="45" y="159"/>
                        <a:pt x="21" y="160"/>
                      </a:cubicBezTo>
                      <a:cubicBezTo>
                        <a:pt x="15" y="160"/>
                        <a:pt x="10" y="162"/>
                        <a:pt x="5" y="158"/>
                      </a:cubicBezTo>
                      <a:cubicBezTo>
                        <a:pt x="3" y="157"/>
                        <a:pt x="2" y="156"/>
                        <a:pt x="0" y="154"/>
                      </a:cubicBezTo>
                      <a:cubicBezTo>
                        <a:pt x="0" y="154"/>
                        <a:pt x="0" y="153"/>
                        <a:pt x="0" y="153"/>
                      </a:cubicBezTo>
                      <a:cubicBezTo>
                        <a:pt x="5" y="152"/>
                        <a:pt x="9" y="152"/>
                        <a:pt x="14" y="151"/>
                      </a:cubicBezTo>
                      <a:cubicBezTo>
                        <a:pt x="16" y="151"/>
                        <a:pt x="19" y="151"/>
                        <a:pt x="21" y="150"/>
                      </a:cubicBezTo>
                      <a:cubicBezTo>
                        <a:pt x="22" y="149"/>
                        <a:pt x="24" y="146"/>
                        <a:pt x="24" y="145"/>
                      </a:cubicBezTo>
                      <a:cubicBezTo>
                        <a:pt x="24" y="143"/>
                        <a:pt x="21" y="141"/>
                        <a:pt x="20" y="141"/>
                      </a:cubicBezTo>
                      <a:cubicBezTo>
                        <a:pt x="16" y="140"/>
                        <a:pt x="13" y="140"/>
                        <a:pt x="8" y="140"/>
                      </a:cubicBezTo>
                      <a:cubicBezTo>
                        <a:pt x="11" y="135"/>
                        <a:pt x="14" y="130"/>
                        <a:pt x="17" y="125"/>
                      </a:cubicBezTo>
                      <a:cubicBezTo>
                        <a:pt x="17" y="124"/>
                        <a:pt x="19" y="124"/>
                        <a:pt x="20" y="124"/>
                      </a:cubicBezTo>
                      <a:cubicBezTo>
                        <a:pt x="24" y="123"/>
                        <a:pt x="29" y="123"/>
                        <a:pt x="33" y="123"/>
                      </a:cubicBezTo>
                      <a:cubicBezTo>
                        <a:pt x="37" y="123"/>
                        <a:pt x="39" y="122"/>
                        <a:pt x="39" y="118"/>
                      </a:cubicBezTo>
                      <a:cubicBezTo>
                        <a:pt x="39" y="115"/>
                        <a:pt x="37" y="113"/>
                        <a:pt x="34" y="113"/>
                      </a:cubicBezTo>
                      <a:cubicBezTo>
                        <a:pt x="31" y="113"/>
                        <a:pt x="27" y="113"/>
                        <a:pt x="23" y="113"/>
                      </a:cubicBezTo>
                      <a:cubicBezTo>
                        <a:pt x="26" y="107"/>
                        <a:pt x="28" y="102"/>
                        <a:pt x="31" y="97"/>
                      </a:cubicBezTo>
                      <a:cubicBezTo>
                        <a:pt x="31" y="97"/>
                        <a:pt x="33" y="96"/>
                        <a:pt x="34" y="96"/>
                      </a:cubicBezTo>
                      <a:cubicBezTo>
                        <a:pt x="37" y="96"/>
                        <a:pt x="40" y="97"/>
                        <a:pt x="42" y="97"/>
                      </a:cubicBezTo>
                      <a:cubicBezTo>
                        <a:pt x="46" y="98"/>
                        <a:pt x="48" y="96"/>
                        <a:pt x="49" y="93"/>
                      </a:cubicBezTo>
                      <a:cubicBezTo>
                        <a:pt x="49" y="90"/>
                        <a:pt x="48" y="87"/>
                        <a:pt x="44" y="87"/>
                      </a:cubicBezTo>
                      <a:cubicBezTo>
                        <a:pt x="42" y="86"/>
                        <a:pt x="39" y="86"/>
                        <a:pt x="37" y="85"/>
                      </a:cubicBezTo>
                      <a:cubicBezTo>
                        <a:pt x="39" y="80"/>
                        <a:pt x="41" y="76"/>
                        <a:pt x="44" y="71"/>
                      </a:cubicBezTo>
                      <a:cubicBezTo>
                        <a:pt x="44" y="70"/>
                        <a:pt x="46" y="70"/>
                        <a:pt x="47" y="70"/>
                      </a:cubicBezTo>
                      <a:cubicBezTo>
                        <a:pt x="50" y="70"/>
                        <a:pt x="52" y="71"/>
                        <a:pt x="54" y="70"/>
                      </a:cubicBezTo>
                      <a:cubicBezTo>
                        <a:pt x="56" y="70"/>
                        <a:pt x="59" y="68"/>
                        <a:pt x="59" y="66"/>
                      </a:cubicBezTo>
                      <a:cubicBezTo>
                        <a:pt x="60" y="65"/>
                        <a:pt x="57" y="62"/>
                        <a:pt x="56" y="61"/>
                      </a:cubicBezTo>
                      <a:cubicBezTo>
                        <a:pt x="54" y="60"/>
                        <a:pt x="52" y="60"/>
                        <a:pt x="50" y="59"/>
                      </a:cubicBezTo>
                      <a:cubicBezTo>
                        <a:pt x="52" y="50"/>
                        <a:pt x="62" y="42"/>
                        <a:pt x="74" y="43"/>
                      </a:cubicBezTo>
                      <a:cubicBezTo>
                        <a:pt x="81" y="43"/>
                        <a:pt x="88" y="44"/>
                        <a:pt x="95" y="46"/>
                      </a:cubicBezTo>
                      <a:cubicBezTo>
                        <a:pt x="114" y="49"/>
                        <a:pt x="133" y="50"/>
                        <a:pt x="152" y="48"/>
                      </a:cubicBezTo>
                      <a:cubicBezTo>
                        <a:pt x="162" y="47"/>
                        <a:pt x="170" y="42"/>
                        <a:pt x="173" y="32"/>
                      </a:cubicBezTo>
                      <a:cubicBezTo>
                        <a:pt x="176" y="21"/>
                        <a:pt x="179" y="11"/>
                        <a:pt x="182" y="0"/>
                      </a:cubicBezTo>
                      <a:cubicBezTo>
                        <a:pt x="182" y="0"/>
                        <a:pt x="183" y="0"/>
                        <a:pt x="183" y="0"/>
                      </a:cubicBezTo>
                      <a:cubicBezTo>
                        <a:pt x="191" y="12"/>
                        <a:pt x="198" y="24"/>
                        <a:pt x="206" y="36"/>
                      </a:cubicBezTo>
                      <a:cubicBezTo>
                        <a:pt x="208" y="39"/>
                        <a:pt x="207" y="42"/>
                        <a:pt x="206" y="46"/>
                      </a:cubicBezTo>
                      <a:cubicBezTo>
                        <a:pt x="200" y="58"/>
                        <a:pt x="190" y="66"/>
                        <a:pt x="180" y="75"/>
                      </a:cubicBezTo>
                      <a:cubicBezTo>
                        <a:pt x="148" y="102"/>
                        <a:pt x="119" y="130"/>
                        <a:pt x="97" y="165"/>
                      </a:cubicBezTo>
                      <a:cubicBezTo>
                        <a:pt x="94" y="169"/>
                        <a:pt x="92" y="174"/>
                        <a:pt x="89" y="178"/>
                      </a:cubicBezTo>
                      <a:close/>
                      <a:moveTo>
                        <a:pt x="91" y="162"/>
                      </a:moveTo>
                      <a:cubicBezTo>
                        <a:pt x="93" y="158"/>
                        <a:pt x="96" y="153"/>
                        <a:pt x="99" y="148"/>
                      </a:cubicBezTo>
                      <a:cubicBezTo>
                        <a:pt x="115" y="121"/>
                        <a:pt x="131" y="94"/>
                        <a:pt x="150" y="70"/>
                      </a:cubicBezTo>
                      <a:cubicBezTo>
                        <a:pt x="151" y="68"/>
                        <a:pt x="152" y="66"/>
                        <a:pt x="153" y="65"/>
                      </a:cubicBezTo>
                      <a:cubicBezTo>
                        <a:pt x="156" y="59"/>
                        <a:pt x="154" y="56"/>
                        <a:pt x="148" y="56"/>
                      </a:cubicBezTo>
                      <a:cubicBezTo>
                        <a:pt x="131" y="55"/>
                        <a:pt x="114" y="54"/>
                        <a:pt x="98" y="52"/>
                      </a:cubicBezTo>
                      <a:cubicBezTo>
                        <a:pt x="91" y="51"/>
                        <a:pt x="88" y="53"/>
                        <a:pt x="86" y="58"/>
                      </a:cubicBezTo>
                      <a:cubicBezTo>
                        <a:pt x="85" y="60"/>
                        <a:pt x="84" y="61"/>
                        <a:pt x="83" y="62"/>
                      </a:cubicBezTo>
                      <a:cubicBezTo>
                        <a:pt x="70" y="89"/>
                        <a:pt x="59" y="117"/>
                        <a:pt x="41" y="142"/>
                      </a:cubicBezTo>
                      <a:cubicBezTo>
                        <a:pt x="38" y="146"/>
                        <a:pt x="40" y="148"/>
                        <a:pt x="45" y="149"/>
                      </a:cubicBezTo>
                      <a:cubicBezTo>
                        <a:pt x="49" y="150"/>
                        <a:pt x="53" y="150"/>
                        <a:pt x="57" y="152"/>
                      </a:cubicBezTo>
                      <a:cubicBezTo>
                        <a:pt x="68" y="155"/>
                        <a:pt x="79" y="158"/>
                        <a:pt x="91" y="162"/>
                      </a:cubicBezTo>
                      <a:close/>
                      <a:moveTo>
                        <a:pt x="122" y="120"/>
                      </a:moveTo>
                      <a:cubicBezTo>
                        <a:pt x="123" y="120"/>
                        <a:pt x="123" y="121"/>
                        <a:pt x="123" y="121"/>
                      </a:cubicBezTo>
                      <a:cubicBezTo>
                        <a:pt x="124" y="121"/>
                        <a:pt x="124" y="121"/>
                        <a:pt x="124" y="120"/>
                      </a:cubicBezTo>
                      <a:cubicBezTo>
                        <a:pt x="140" y="100"/>
                        <a:pt x="160" y="84"/>
                        <a:pt x="181" y="67"/>
                      </a:cubicBezTo>
                      <a:cubicBezTo>
                        <a:pt x="189" y="61"/>
                        <a:pt x="195" y="53"/>
                        <a:pt x="199" y="44"/>
                      </a:cubicBezTo>
                      <a:cubicBezTo>
                        <a:pt x="200" y="42"/>
                        <a:pt x="201" y="40"/>
                        <a:pt x="200" y="38"/>
                      </a:cubicBezTo>
                      <a:cubicBezTo>
                        <a:pt x="196" y="30"/>
                        <a:pt x="191" y="21"/>
                        <a:pt x="186" y="13"/>
                      </a:cubicBezTo>
                      <a:cubicBezTo>
                        <a:pt x="181" y="40"/>
                        <a:pt x="176" y="54"/>
                        <a:pt x="163" y="70"/>
                      </a:cubicBezTo>
                      <a:cubicBezTo>
                        <a:pt x="156" y="79"/>
                        <a:pt x="148" y="86"/>
                        <a:pt x="141" y="95"/>
                      </a:cubicBezTo>
                      <a:cubicBezTo>
                        <a:pt x="134" y="103"/>
                        <a:pt x="129" y="112"/>
                        <a:pt x="122" y="12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8" name="Freeform 11">
                  <a:extLst>
                    <a:ext uri="{FF2B5EF4-FFF2-40B4-BE49-F238E27FC236}">
                      <a16:creationId xmlns:a16="http://schemas.microsoft.com/office/drawing/2014/main" xmlns="" id="{02411028-3C7A-4E56-8C55-DDB5DAAE8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3" y="1492"/>
                  <a:ext cx="185" cy="216"/>
                </a:xfrm>
                <a:custGeom>
                  <a:avLst/>
                  <a:gdLst>
                    <a:gd name="T0" fmla="*/ 49 w 122"/>
                    <a:gd name="T1" fmla="*/ 84 h 142"/>
                    <a:gd name="T2" fmla="*/ 56 w 122"/>
                    <a:gd name="T3" fmla="*/ 98 h 142"/>
                    <a:gd name="T4" fmla="*/ 55 w 122"/>
                    <a:gd name="T5" fmla="*/ 102 h 142"/>
                    <a:gd name="T6" fmla="*/ 44 w 122"/>
                    <a:gd name="T7" fmla="*/ 110 h 142"/>
                    <a:gd name="T8" fmla="*/ 36 w 122"/>
                    <a:gd name="T9" fmla="*/ 99 h 142"/>
                    <a:gd name="T10" fmla="*/ 36 w 122"/>
                    <a:gd name="T11" fmla="*/ 100 h 142"/>
                    <a:gd name="T12" fmla="*/ 40 w 122"/>
                    <a:gd name="T13" fmla="*/ 113 h 142"/>
                    <a:gd name="T14" fmla="*/ 30 w 122"/>
                    <a:gd name="T15" fmla="*/ 122 h 142"/>
                    <a:gd name="T16" fmla="*/ 23 w 122"/>
                    <a:gd name="T17" fmla="*/ 113 h 142"/>
                    <a:gd name="T18" fmla="*/ 22 w 122"/>
                    <a:gd name="T19" fmla="*/ 113 h 142"/>
                    <a:gd name="T20" fmla="*/ 28 w 122"/>
                    <a:gd name="T21" fmla="*/ 124 h 142"/>
                    <a:gd name="T22" fmla="*/ 17 w 122"/>
                    <a:gd name="T23" fmla="*/ 134 h 142"/>
                    <a:gd name="T24" fmla="*/ 10 w 122"/>
                    <a:gd name="T25" fmla="*/ 128 h 142"/>
                    <a:gd name="T26" fmla="*/ 10 w 122"/>
                    <a:gd name="T27" fmla="*/ 142 h 142"/>
                    <a:gd name="T28" fmla="*/ 1 w 122"/>
                    <a:gd name="T29" fmla="*/ 130 h 142"/>
                    <a:gd name="T30" fmla="*/ 1 w 122"/>
                    <a:gd name="T31" fmla="*/ 125 h 142"/>
                    <a:gd name="T32" fmla="*/ 21 w 122"/>
                    <a:gd name="T33" fmla="*/ 97 h 142"/>
                    <a:gd name="T34" fmla="*/ 86 w 122"/>
                    <a:gd name="T35" fmla="*/ 33 h 142"/>
                    <a:gd name="T36" fmla="*/ 104 w 122"/>
                    <a:gd name="T37" fmla="*/ 17 h 142"/>
                    <a:gd name="T38" fmla="*/ 110 w 122"/>
                    <a:gd name="T39" fmla="*/ 0 h 142"/>
                    <a:gd name="T40" fmla="*/ 115 w 122"/>
                    <a:gd name="T41" fmla="*/ 46 h 142"/>
                    <a:gd name="T42" fmla="*/ 106 w 122"/>
                    <a:gd name="T43" fmla="*/ 36 h 142"/>
                    <a:gd name="T44" fmla="*/ 105 w 122"/>
                    <a:gd name="T45" fmla="*/ 36 h 142"/>
                    <a:gd name="T46" fmla="*/ 105 w 122"/>
                    <a:gd name="T47" fmla="*/ 61 h 142"/>
                    <a:gd name="T48" fmla="*/ 97 w 122"/>
                    <a:gd name="T49" fmla="*/ 50 h 142"/>
                    <a:gd name="T50" fmla="*/ 96 w 122"/>
                    <a:gd name="T51" fmla="*/ 51 h 142"/>
                    <a:gd name="T52" fmla="*/ 101 w 122"/>
                    <a:gd name="T53" fmla="*/ 62 h 142"/>
                    <a:gd name="T54" fmla="*/ 100 w 122"/>
                    <a:gd name="T55" fmla="*/ 67 h 142"/>
                    <a:gd name="T56" fmla="*/ 93 w 122"/>
                    <a:gd name="T57" fmla="*/ 76 h 142"/>
                    <a:gd name="T58" fmla="*/ 81 w 122"/>
                    <a:gd name="T59" fmla="*/ 60 h 142"/>
                    <a:gd name="T60" fmla="*/ 81 w 122"/>
                    <a:gd name="T61" fmla="*/ 60 h 142"/>
                    <a:gd name="T62" fmla="*/ 87 w 122"/>
                    <a:gd name="T63" fmla="*/ 73 h 142"/>
                    <a:gd name="T64" fmla="*/ 85 w 122"/>
                    <a:gd name="T65" fmla="*/ 81 h 142"/>
                    <a:gd name="T66" fmla="*/ 77 w 122"/>
                    <a:gd name="T67" fmla="*/ 87 h 142"/>
                    <a:gd name="T68" fmla="*/ 67 w 122"/>
                    <a:gd name="T69" fmla="*/ 73 h 142"/>
                    <a:gd name="T70" fmla="*/ 66 w 122"/>
                    <a:gd name="T71" fmla="*/ 74 h 142"/>
                    <a:gd name="T72" fmla="*/ 71 w 122"/>
                    <a:gd name="T73" fmla="*/ 83 h 142"/>
                    <a:gd name="T74" fmla="*/ 68 w 122"/>
                    <a:gd name="T75" fmla="*/ 93 h 142"/>
                    <a:gd name="T76" fmla="*/ 60 w 122"/>
                    <a:gd name="T77" fmla="*/ 98 h 142"/>
                    <a:gd name="T78" fmla="*/ 50 w 122"/>
                    <a:gd name="T79" fmla="*/ 84 h 142"/>
                    <a:gd name="T80" fmla="*/ 49 w 122"/>
                    <a:gd name="T81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2" h="142">
                      <a:moveTo>
                        <a:pt x="49" y="84"/>
                      </a:moveTo>
                      <a:cubicBezTo>
                        <a:pt x="51" y="89"/>
                        <a:pt x="54" y="93"/>
                        <a:pt x="56" y="98"/>
                      </a:cubicBezTo>
                      <a:cubicBezTo>
                        <a:pt x="56" y="99"/>
                        <a:pt x="56" y="101"/>
                        <a:pt x="55" y="102"/>
                      </a:cubicBezTo>
                      <a:cubicBezTo>
                        <a:pt x="51" y="105"/>
                        <a:pt x="48" y="107"/>
                        <a:pt x="44" y="110"/>
                      </a:cubicBezTo>
                      <a:cubicBezTo>
                        <a:pt x="42" y="106"/>
                        <a:pt x="39" y="103"/>
                        <a:pt x="36" y="99"/>
                      </a:cubicBezTo>
                      <a:cubicBezTo>
                        <a:pt x="36" y="100"/>
                        <a:pt x="36" y="100"/>
                        <a:pt x="36" y="100"/>
                      </a:cubicBezTo>
                      <a:cubicBezTo>
                        <a:pt x="37" y="104"/>
                        <a:pt x="43" y="108"/>
                        <a:pt x="40" y="113"/>
                      </a:cubicBezTo>
                      <a:cubicBezTo>
                        <a:pt x="38" y="116"/>
                        <a:pt x="34" y="119"/>
                        <a:pt x="30" y="122"/>
                      </a:cubicBezTo>
                      <a:cubicBezTo>
                        <a:pt x="28" y="119"/>
                        <a:pt x="25" y="116"/>
                        <a:pt x="23" y="113"/>
                      </a:cubicBezTo>
                      <a:cubicBezTo>
                        <a:pt x="23" y="113"/>
                        <a:pt x="22" y="113"/>
                        <a:pt x="22" y="113"/>
                      </a:cubicBezTo>
                      <a:cubicBezTo>
                        <a:pt x="24" y="117"/>
                        <a:pt x="26" y="120"/>
                        <a:pt x="28" y="124"/>
                      </a:cubicBezTo>
                      <a:cubicBezTo>
                        <a:pt x="24" y="127"/>
                        <a:pt x="21" y="131"/>
                        <a:pt x="17" y="134"/>
                      </a:cubicBezTo>
                      <a:cubicBezTo>
                        <a:pt x="15" y="132"/>
                        <a:pt x="13" y="130"/>
                        <a:pt x="10" y="128"/>
                      </a:cubicBezTo>
                      <a:cubicBezTo>
                        <a:pt x="15" y="137"/>
                        <a:pt x="15" y="137"/>
                        <a:pt x="10" y="142"/>
                      </a:cubicBezTo>
                      <a:cubicBezTo>
                        <a:pt x="7" y="138"/>
                        <a:pt x="3" y="134"/>
                        <a:pt x="1" y="130"/>
                      </a:cubicBezTo>
                      <a:cubicBezTo>
                        <a:pt x="0" y="129"/>
                        <a:pt x="0" y="126"/>
                        <a:pt x="1" y="125"/>
                      </a:cubicBezTo>
                      <a:cubicBezTo>
                        <a:pt x="8" y="115"/>
                        <a:pt x="14" y="106"/>
                        <a:pt x="21" y="97"/>
                      </a:cubicBezTo>
                      <a:cubicBezTo>
                        <a:pt x="41" y="74"/>
                        <a:pt x="62" y="52"/>
                        <a:pt x="86" y="33"/>
                      </a:cubicBezTo>
                      <a:cubicBezTo>
                        <a:pt x="92" y="28"/>
                        <a:pt x="98" y="23"/>
                        <a:pt x="104" y="17"/>
                      </a:cubicBezTo>
                      <a:cubicBezTo>
                        <a:pt x="108" y="13"/>
                        <a:pt x="111" y="7"/>
                        <a:pt x="110" y="0"/>
                      </a:cubicBezTo>
                      <a:cubicBezTo>
                        <a:pt x="120" y="15"/>
                        <a:pt x="122" y="31"/>
                        <a:pt x="115" y="46"/>
                      </a:cubicBezTo>
                      <a:cubicBezTo>
                        <a:pt x="112" y="43"/>
                        <a:pt x="109" y="39"/>
                        <a:pt x="106" y="36"/>
                      </a:cubicBezTo>
                      <a:cubicBezTo>
                        <a:pt x="106" y="36"/>
                        <a:pt x="105" y="36"/>
                        <a:pt x="105" y="36"/>
                      </a:cubicBezTo>
                      <a:cubicBezTo>
                        <a:pt x="112" y="45"/>
                        <a:pt x="116" y="54"/>
                        <a:pt x="105" y="61"/>
                      </a:cubicBezTo>
                      <a:cubicBezTo>
                        <a:pt x="102" y="58"/>
                        <a:pt x="100" y="54"/>
                        <a:pt x="97" y="50"/>
                      </a:cubicBezTo>
                      <a:cubicBezTo>
                        <a:pt x="97" y="50"/>
                        <a:pt x="96" y="50"/>
                        <a:pt x="96" y="51"/>
                      </a:cubicBezTo>
                      <a:cubicBezTo>
                        <a:pt x="98" y="54"/>
                        <a:pt x="100" y="58"/>
                        <a:pt x="101" y="62"/>
                      </a:cubicBezTo>
                      <a:cubicBezTo>
                        <a:pt x="103" y="64"/>
                        <a:pt x="102" y="66"/>
                        <a:pt x="100" y="67"/>
                      </a:cubicBezTo>
                      <a:cubicBezTo>
                        <a:pt x="98" y="70"/>
                        <a:pt x="95" y="73"/>
                        <a:pt x="93" y="76"/>
                      </a:cubicBezTo>
                      <a:cubicBezTo>
                        <a:pt x="88" y="70"/>
                        <a:pt x="85" y="65"/>
                        <a:pt x="81" y="60"/>
                      </a:cubicBezTo>
                      <a:cubicBezTo>
                        <a:pt x="81" y="60"/>
                        <a:pt x="81" y="60"/>
                        <a:pt x="81" y="60"/>
                      </a:cubicBezTo>
                      <a:cubicBezTo>
                        <a:pt x="83" y="65"/>
                        <a:pt x="85" y="69"/>
                        <a:pt x="87" y="73"/>
                      </a:cubicBezTo>
                      <a:cubicBezTo>
                        <a:pt x="89" y="76"/>
                        <a:pt x="89" y="79"/>
                        <a:pt x="85" y="81"/>
                      </a:cubicBezTo>
                      <a:cubicBezTo>
                        <a:pt x="82" y="83"/>
                        <a:pt x="79" y="85"/>
                        <a:pt x="77" y="87"/>
                      </a:cubicBezTo>
                      <a:cubicBezTo>
                        <a:pt x="73" y="82"/>
                        <a:pt x="70" y="78"/>
                        <a:pt x="67" y="73"/>
                      </a:cubicBezTo>
                      <a:cubicBezTo>
                        <a:pt x="67" y="73"/>
                        <a:pt x="67" y="73"/>
                        <a:pt x="66" y="74"/>
                      </a:cubicBezTo>
                      <a:cubicBezTo>
                        <a:pt x="68" y="77"/>
                        <a:pt x="69" y="80"/>
                        <a:pt x="71" y="83"/>
                      </a:cubicBezTo>
                      <a:cubicBezTo>
                        <a:pt x="73" y="87"/>
                        <a:pt x="73" y="91"/>
                        <a:pt x="68" y="93"/>
                      </a:cubicBezTo>
                      <a:cubicBezTo>
                        <a:pt x="65" y="94"/>
                        <a:pt x="63" y="96"/>
                        <a:pt x="60" y="98"/>
                      </a:cubicBezTo>
                      <a:cubicBezTo>
                        <a:pt x="57" y="93"/>
                        <a:pt x="53" y="88"/>
                        <a:pt x="50" y="84"/>
                      </a:cubicBezTo>
                      <a:cubicBezTo>
                        <a:pt x="49" y="84"/>
                        <a:pt x="49" y="84"/>
                        <a:pt x="49" y="84"/>
                      </a:cubicBezTo>
                      <a:close/>
                    </a:path>
                  </a:pathLst>
                </a:custGeom>
                <a:solidFill>
                  <a:srgbClr val="009FDA">
                    <a:lumMod val="7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9" name="Freeform 12">
                  <a:extLst>
                    <a:ext uri="{FF2B5EF4-FFF2-40B4-BE49-F238E27FC236}">
                      <a16:creationId xmlns:a16="http://schemas.microsoft.com/office/drawing/2014/main" xmlns="" id="{761EF0EC-3074-4CEF-8652-C0E41A64A5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6" y="1421"/>
                  <a:ext cx="138" cy="102"/>
                </a:xfrm>
                <a:custGeom>
                  <a:avLst/>
                  <a:gdLst>
                    <a:gd name="T0" fmla="*/ 91 w 91"/>
                    <a:gd name="T1" fmla="*/ 12 h 67"/>
                    <a:gd name="T2" fmla="*/ 69 w 91"/>
                    <a:gd name="T3" fmla="*/ 40 h 67"/>
                    <a:gd name="T4" fmla="*/ 67 w 91"/>
                    <a:gd name="T5" fmla="*/ 43 h 67"/>
                    <a:gd name="T6" fmla="*/ 49 w 91"/>
                    <a:gd name="T7" fmla="*/ 61 h 67"/>
                    <a:gd name="T8" fmla="*/ 0 w 91"/>
                    <a:gd name="T9" fmla="*/ 67 h 67"/>
                    <a:gd name="T10" fmla="*/ 6 w 91"/>
                    <a:gd name="T11" fmla="*/ 40 h 67"/>
                    <a:gd name="T12" fmla="*/ 10 w 91"/>
                    <a:gd name="T13" fmla="*/ 19 h 67"/>
                    <a:gd name="T14" fmla="*/ 18 w 91"/>
                    <a:gd name="T15" fmla="*/ 11 h 67"/>
                    <a:gd name="T16" fmla="*/ 45 w 91"/>
                    <a:gd name="T17" fmla="*/ 4 h 67"/>
                    <a:gd name="T18" fmla="*/ 91 w 91"/>
                    <a:gd name="T19" fmla="*/ 1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" h="67">
                      <a:moveTo>
                        <a:pt x="91" y="12"/>
                      </a:moveTo>
                      <a:cubicBezTo>
                        <a:pt x="77" y="17"/>
                        <a:pt x="71" y="27"/>
                        <a:pt x="69" y="40"/>
                      </a:cubicBezTo>
                      <a:cubicBezTo>
                        <a:pt x="69" y="41"/>
                        <a:pt x="68" y="42"/>
                        <a:pt x="67" y="43"/>
                      </a:cubicBezTo>
                      <a:cubicBezTo>
                        <a:pt x="58" y="45"/>
                        <a:pt x="52" y="52"/>
                        <a:pt x="49" y="61"/>
                      </a:cubicBezTo>
                      <a:cubicBezTo>
                        <a:pt x="32" y="59"/>
                        <a:pt x="16" y="60"/>
                        <a:pt x="0" y="67"/>
                      </a:cubicBezTo>
                      <a:cubicBezTo>
                        <a:pt x="2" y="58"/>
                        <a:pt x="4" y="49"/>
                        <a:pt x="6" y="40"/>
                      </a:cubicBezTo>
                      <a:cubicBezTo>
                        <a:pt x="8" y="33"/>
                        <a:pt x="9" y="26"/>
                        <a:pt x="10" y="19"/>
                      </a:cubicBezTo>
                      <a:cubicBezTo>
                        <a:pt x="11" y="14"/>
                        <a:pt x="14" y="12"/>
                        <a:pt x="18" y="11"/>
                      </a:cubicBezTo>
                      <a:cubicBezTo>
                        <a:pt x="27" y="8"/>
                        <a:pt x="36" y="6"/>
                        <a:pt x="45" y="4"/>
                      </a:cubicBezTo>
                      <a:cubicBezTo>
                        <a:pt x="61" y="0"/>
                        <a:pt x="76" y="5"/>
                        <a:pt x="91" y="12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0" name="Freeform 13">
                  <a:extLst>
                    <a:ext uri="{FF2B5EF4-FFF2-40B4-BE49-F238E27FC236}">
                      <a16:creationId xmlns:a16="http://schemas.microsoft.com/office/drawing/2014/main" xmlns="" id="{20CE4D0A-85C8-4A3A-A467-6C1669DED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" y="1535"/>
                  <a:ext cx="223" cy="217"/>
                </a:xfrm>
                <a:custGeom>
                  <a:avLst/>
                  <a:gdLst>
                    <a:gd name="T0" fmla="*/ 133 w 147"/>
                    <a:gd name="T1" fmla="*/ 0 h 143"/>
                    <a:gd name="T2" fmla="*/ 147 w 147"/>
                    <a:gd name="T3" fmla="*/ 28 h 143"/>
                    <a:gd name="T4" fmla="*/ 144 w 147"/>
                    <a:gd name="T5" fmla="*/ 38 h 143"/>
                    <a:gd name="T6" fmla="*/ 122 w 147"/>
                    <a:gd name="T7" fmla="*/ 63 h 143"/>
                    <a:gd name="T8" fmla="*/ 56 w 147"/>
                    <a:gd name="T9" fmla="*/ 109 h 143"/>
                    <a:gd name="T10" fmla="*/ 19 w 147"/>
                    <a:gd name="T11" fmla="*/ 143 h 143"/>
                    <a:gd name="T12" fmla="*/ 0 w 147"/>
                    <a:gd name="T13" fmla="*/ 119 h 143"/>
                    <a:gd name="T14" fmla="*/ 1 w 147"/>
                    <a:gd name="T15" fmla="*/ 116 h 143"/>
                    <a:gd name="T16" fmla="*/ 5 w 147"/>
                    <a:gd name="T17" fmla="*/ 106 h 143"/>
                    <a:gd name="T18" fmla="*/ 20 w 147"/>
                    <a:gd name="T19" fmla="*/ 123 h 143"/>
                    <a:gd name="T20" fmla="*/ 69 w 147"/>
                    <a:gd name="T21" fmla="*/ 79 h 143"/>
                    <a:gd name="T22" fmla="*/ 109 w 147"/>
                    <a:gd name="T23" fmla="*/ 48 h 143"/>
                    <a:gd name="T24" fmla="*/ 130 w 147"/>
                    <a:gd name="T25" fmla="*/ 21 h 143"/>
                    <a:gd name="T26" fmla="*/ 133 w 147"/>
                    <a:gd name="T27" fmla="*/ 0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" h="143">
                      <a:moveTo>
                        <a:pt x="133" y="0"/>
                      </a:moveTo>
                      <a:cubicBezTo>
                        <a:pt x="141" y="9"/>
                        <a:pt x="144" y="19"/>
                        <a:pt x="147" y="28"/>
                      </a:cubicBezTo>
                      <a:cubicBezTo>
                        <a:pt x="147" y="31"/>
                        <a:pt x="146" y="35"/>
                        <a:pt x="144" y="38"/>
                      </a:cubicBezTo>
                      <a:cubicBezTo>
                        <a:pt x="137" y="46"/>
                        <a:pt x="130" y="55"/>
                        <a:pt x="122" y="63"/>
                      </a:cubicBezTo>
                      <a:cubicBezTo>
                        <a:pt x="102" y="81"/>
                        <a:pt x="79" y="95"/>
                        <a:pt x="56" y="109"/>
                      </a:cubicBezTo>
                      <a:cubicBezTo>
                        <a:pt x="41" y="117"/>
                        <a:pt x="29" y="129"/>
                        <a:pt x="19" y="143"/>
                      </a:cubicBezTo>
                      <a:cubicBezTo>
                        <a:pt x="12" y="135"/>
                        <a:pt x="6" y="127"/>
                        <a:pt x="0" y="119"/>
                      </a:cubicBezTo>
                      <a:cubicBezTo>
                        <a:pt x="0" y="118"/>
                        <a:pt x="0" y="117"/>
                        <a:pt x="1" y="116"/>
                      </a:cubicBezTo>
                      <a:cubicBezTo>
                        <a:pt x="2" y="112"/>
                        <a:pt x="4" y="109"/>
                        <a:pt x="5" y="106"/>
                      </a:cubicBezTo>
                      <a:cubicBezTo>
                        <a:pt x="10" y="112"/>
                        <a:pt x="15" y="117"/>
                        <a:pt x="20" y="123"/>
                      </a:cubicBezTo>
                      <a:cubicBezTo>
                        <a:pt x="34" y="105"/>
                        <a:pt x="52" y="92"/>
                        <a:pt x="69" y="79"/>
                      </a:cubicBezTo>
                      <a:cubicBezTo>
                        <a:pt x="82" y="69"/>
                        <a:pt x="96" y="58"/>
                        <a:pt x="109" y="48"/>
                      </a:cubicBezTo>
                      <a:cubicBezTo>
                        <a:pt x="118" y="40"/>
                        <a:pt x="125" y="31"/>
                        <a:pt x="130" y="21"/>
                      </a:cubicBezTo>
                      <a:cubicBezTo>
                        <a:pt x="133" y="15"/>
                        <a:pt x="135" y="8"/>
                        <a:pt x="133" y="0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1" name="Freeform 15">
                  <a:extLst>
                    <a:ext uri="{FF2B5EF4-FFF2-40B4-BE49-F238E27FC236}">
                      <a16:creationId xmlns:a16="http://schemas.microsoft.com/office/drawing/2014/main" xmlns="" id="{795669AC-1BC3-4571-8BCD-AF0864AEA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6" y="1363"/>
                  <a:ext cx="101" cy="91"/>
                </a:xfrm>
                <a:custGeom>
                  <a:avLst/>
                  <a:gdLst>
                    <a:gd name="T0" fmla="*/ 41 w 67"/>
                    <a:gd name="T1" fmla="*/ 0 h 60"/>
                    <a:gd name="T2" fmla="*/ 57 w 67"/>
                    <a:gd name="T3" fmla="*/ 28 h 60"/>
                    <a:gd name="T4" fmla="*/ 64 w 67"/>
                    <a:gd name="T5" fmla="*/ 48 h 60"/>
                    <a:gd name="T6" fmla="*/ 48 w 67"/>
                    <a:gd name="T7" fmla="*/ 59 h 60"/>
                    <a:gd name="T8" fmla="*/ 11 w 67"/>
                    <a:gd name="T9" fmla="*/ 51 h 60"/>
                    <a:gd name="T10" fmla="*/ 0 w 67"/>
                    <a:gd name="T11" fmla="*/ 44 h 60"/>
                    <a:gd name="T12" fmla="*/ 41 w 67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7" h="60">
                      <a:moveTo>
                        <a:pt x="41" y="0"/>
                      </a:moveTo>
                      <a:cubicBezTo>
                        <a:pt x="44" y="11"/>
                        <a:pt x="49" y="20"/>
                        <a:pt x="57" y="28"/>
                      </a:cubicBezTo>
                      <a:cubicBezTo>
                        <a:pt x="63" y="33"/>
                        <a:pt x="67" y="40"/>
                        <a:pt x="64" y="48"/>
                      </a:cubicBezTo>
                      <a:cubicBezTo>
                        <a:pt x="61" y="56"/>
                        <a:pt x="56" y="60"/>
                        <a:pt x="48" y="59"/>
                      </a:cubicBezTo>
                      <a:cubicBezTo>
                        <a:pt x="35" y="57"/>
                        <a:pt x="23" y="54"/>
                        <a:pt x="11" y="51"/>
                      </a:cubicBezTo>
                      <a:cubicBezTo>
                        <a:pt x="7" y="50"/>
                        <a:pt x="3" y="46"/>
                        <a:pt x="0" y="44"/>
                      </a:cubicBezTo>
                      <a:cubicBezTo>
                        <a:pt x="3" y="22"/>
                        <a:pt x="20" y="4"/>
                        <a:pt x="41" y="0"/>
                      </a:cubicBezTo>
                      <a:close/>
                    </a:path>
                  </a:pathLst>
                </a:custGeom>
                <a:solidFill>
                  <a:srgbClr val="009FDA">
                    <a:lumMod val="60000"/>
                    <a:lumOff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2" name="Freeform 18">
                  <a:extLst>
                    <a:ext uri="{FF2B5EF4-FFF2-40B4-BE49-F238E27FC236}">
                      <a16:creationId xmlns:a16="http://schemas.microsoft.com/office/drawing/2014/main" xmlns="" id="{202E0D79-7124-43B4-B3C7-19B63D414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2" y="1796"/>
                  <a:ext cx="69" cy="52"/>
                </a:xfrm>
                <a:custGeom>
                  <a:avLst/>
                  <a:gdLst>
                    <a:gd name="T0" fmla="*/ 0 w 46"/>
                    <a:gd name="T1" fmla="*/ 9 h 34"/>
                    <a:gd name="T2" fmla="*/ 23 w 46"/>
                    <a:gd name="T3" fmla="*/ 1 h 34"/>
                    <a:gd name="T4" fmla="*/ 27 w 46"/>
                    <a:gd name="T5" fmla="*/ 2 h 34"/>
                    <a:gd name="T6" fmla="*/ 46 w 46"/>
                    <a:gd name="T7" fmla="*/ 23 h 34"/>
                    <a:gd name="T8" fmla="*/ 21 w 46"/>
                    <a:gd name="T9" fmla="*/ 34 h 34"/>
                    <a:gd name="T10" fmla="*/ 0 w 46"/>
                    <a:gd name="T11" fmla="*/ 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34">
                      <a:moveTo>
                        <a:pt x="0" y="9"/>
                      </a:moveTo>
                      <a:cubicBezTo>
                        <a:pt x="8" y="6"/>
                        <a:pt x="16" y="3"/>
                        <a:pt x="23" y="1"/>
                      </a:cubicBezTo>
                      <a:cubicBezTo>
                        <a:pt x="24" y="0"/>
                        <a:pt x="26" y="1"/>
                        <a:pt x="27" y="2"/>
                      </a:cubicBezTo>
                      <a:cubicBezTo>
                        <a:pt x="33" y="9"/>
                        <a:pt x="39" y="16"/>
                        <a:pt x="46" y="23"/>
                      </a:cubicBezTo>
                      <a:cubicBezTo>
                        <a:pt x="38" y="27"/>
                        <a:pt x="29" y="30"/>
                        <a:pt x="21" y="34"/>
                      </a:cubicBezTo>
                      <a:cubicBezTo>
                        <a:pt x="14" y="26"/>
                        <a:pt x="7" y="17"/>
                        <a:pt x="0" y="9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3" name="Freeform 19">
                  <a:extLst>
                    <a:ext uri="{FF2B5EF4-FFF2-40B4-BE49-F238E27FC236}">
                      <a16:creationId xmlns:a16="http://schemas.microsoft.com/office/drawing/2014/main" xmlns="" id="{D942AA32-8A91-48B8-ADEA-9AD4558B30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4" y="1527"/>
                  <a:ext cx="79" cy="43"/>
                </a:xfrm>
                <a:custGeom>
                  <a:avLst/>
                  <a:gdLst>
                    <a:gd name="T0" fmla="*/ 52 w 52"/>
                    <a:gd name="T1" fmla="*/ 1 h 28"/>
                    <a:gd name="T2" fmla="*/ 45 w 52"/>
                    <a:gd name="T3" fmla="*/ 16 h 28"/>
                    <a:gd name="T4" fmla="*/ 42 w 52"/>
                    <a:gd name="T5" fmla="*/ 17 h 28"/>
                    <a:gd name="T6" fmla="*/ 0 w 52"/>
                    <a:gd name="T7" fmla="*/ 28 h 28"/>
                    <a:gd name="T8" fmla="*/ 4 w 52"/>
                    <a:gd name="T9" fmla="*/ 13 h 28"/>
                    <a:gd name="T10" fmla="*/ 7 w 52"/>
                    <a:gd name="T11" fmla="*/ 10 h 28"/>
                    <a:gd name="T12" fmla="*/ 52 w 52"/>
                    <a:gd name="T13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28">
                      <a:moveTo>
                        <a:pt x="52" y="1"/>
                      </a:moveTo>
                      <a:cubicBezTo>
                        <a:pt x="49" y="6"/>
                        <a:pt x="47" y="11"/>
                        <a:pt x="45" y="16"/>
                      </a:cubicBezTo>
                      <a:cubicBezTo>
                        <a:pt x="44" y="16"/>
                        <a:pt x="43" y="17"/>
                        <a:pt x="42" y="17"/>
                      </a:cubicBezTo>
                      <a:cubicBezTo>
                        <a:pt x="27" y="17"/>
                        <a:pt x="14" y="21"/>
                        <a:pt x="0" y="28"/>
                      </a:cubicBezTo>
                      <a:cubicBezTo>
                        <a:pt x="1" y="22"/>
                        <a:pt x="2" y="18"/>
                        <a:pt x="4" y="13"/>
                      </a:cubicBezTo>
                      <a:cubicBezTo>
                        <a:pt x="4" y="12"/>
                        <a:pt x="5" y="11"/>
                        <a:pt x="7" y="10"/>
                      </a:cubicBezTo>
                      <a:cubicBezTo>
                        <a:pt x="20" y="2"/>
                        <a:pt x="35" y="0"/>
                        <a:pt x="52" y="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4" name="Freeform 20">
                  <a:extLst>
                    <a:ext uri="{FF2B5EF4-FFF2-40B4-BE49-F238E27FC236}">
                      <a16:creationId xmlns:a16="http://schemas.microsoft.com/office/drawing/2014/main" xmlns="" id="{1106B106-1D11-4856-86FE-1839A7C2B1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6" y="1768"/>
                  <a:ext cx="58" cy="54"/>
                </a:xfrm>
                <a:custGeom>
                  <a:avLst/>
                  <a:gdLst>
                    <a:gd name="T0" fmla="*/ 20 w 38"/>
                    <a:gd name="T1" fmla="*/ 36 h 36"/>
                    <a:gd name="T2" fmla="*/ 0 w 38"/>
                    <a:gd name="T3" fmla="*/ 13 h 36"/>
                    <a:gd name="T4" fmla="*/ 19 w 38"/>
                    <a:gd name="T5" fmla="*/ 0 h 36"/>
                    <a:gd name="T6" fmla="*/ 38 w 38"/>
                    <a:gd name="T7" fmla="*/ 22 h 36"/>
                    <a:gd name="T8" fmla="*/ 20 w 38"/>
                    <a:gd name="T9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36">
                      <a:moveTo>
                        <a:pt x="20" y="36"/>
                      </a:moveTo>
                      <a:cubicBezTo>
                        <a:pt x="13" y="28"/>
                        <a:pt x="7" y="21"/>
                        <a:pt x="0" y="13"/>
                      </a:cubicBezTo>
                      <a:cubicBezTo>
                        <a:pt x="6" y="9"/>
                        <a:pt x="12" y="4"/>
                        <a:pt x="19" y="0"/>
                      </a:cubicBezTo>
                      <a:cubicBezTo>
                        <a:pt x="25" y="7"/>
                        <a:pt x="31" y="14"/>
                        <a:pt x="38" y="22"/>
                      </a:cubicBezTo>
                      <a:cubicBezTo>
                        <a:pt x="32" y="26"/>
                        <a:pt x="26" y="31"/>
                        <a:pt x="20" y="36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5" name="Freeform 21">
                  <a:extLst>
                    <a:ext uri="{FF2B5EF4-FFF2-40B4-BE49-F238E27FC236}">
                      <a16:creationId xmlns:a16="http://schemas.microsoft.com/office/drawing/2014/main" xmlns="" id="{847A90B8-7FBF-44B2-91DA-9B9C9958A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" y="1570"/>
                  <a:ext cx="69" cy="41"/>
                </a:xfrm>
                <a:custGeom>
                  <a:avLst/>
                  <a:gdLst>
                    <a:gd name="T0" fmla="*/ 0 w 46"/>
                    <a:gd name="T1" fmla="*/ 27 h 27"/>
                    <a:gd name="T2" fmla="*/ 12 w 46"/>
                    <a:gd name="T3" fmla="*/ 9 h 27"/>
                    <a:gd name="T4" fmla="*/ 46 w 46"/>
                    <a:gd name="T5" fmla="*/ 0 h 27"/>
                    <a:gd name="T6" fmla="*/ 38 w 46"/>
                    <a:gd name="T7" fmla="*/ 16 h 27"/>
                    <a:gd name="T8" fmla="*/ 36 w 46"/>
                    <a:gd name="T9" fmla="*/ 17 h 27"/>
                    <a:gd name="T10" fmla="*/ 0 w 46"/>
                    <a:gd name="T11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27">
                      <a:moveTo>
                        <a:pt x="0" y="27"/>
                      </a:moveTo>
                      <a:cubicBezTo>
                        <a:pt x="1" y="18"/>
                        <a:pt x="4" y="13"/>
                        <a:pt x="12" y="9"/>
                      </a:cubicBezTo>
                      <a:cubicBezTo>
                        <a:pt x="23" y="4"/>
                        <a:pt x="34" y="0"/>
                        <a:pt x="46" y="0"/>
                      </a:cubicBezTo>
                      <a:cubicBezTo>
                        <a:pt x="44" y="6"/>
                        <a:pt x="41" y="11"/>
                        <a:pt x="38" y="16"/>
                      </a:cubicBezTo>
                      <a:cubicBezTo>
                        <a:pt x="38" y="17"/>
                        <a:pt x="37" y="17"/>
                        <a:pt x="36" y="17"/>
                      </a:cubicBezTo>
                      <a:cubicBezTo>
                        <a:pt x="23" y="18"/>
                        <a:pt x="11" y="21"/>
                        <a:pt x="0" y="27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6" name="Freeform 22">
                  <a:extLst>
                    <a:ext uri="{FF2B5EF4-FFF2-40B4-BE49-F238E27FC236}">
                      <a16:creationId xmlns:a16="http://schemas.microsoft.com/office/drawing/2014/main" xmlns="" id="{C692FC1A-82D7-429F-BBEE-57039385CF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5" y="1733"/>
                  <a:ext cx="43" cy="56"/>
                </a:xfrm>
                <a:custGeom>
                  <a:avLst/>
                  <a:gdLst>
                    <a:gd name="T0" fmla="*/ 0 w 28"/>
                    <a:gd name="T1" fmla="*/ 17 h 37"/>
                    <a:gd name="T2" fmla="*/ 10 w 28"/>
                    <a:gd name="T3" fmla="*/ 0 h 37"/>
                    <a:gd name="T4" fmla="*/ 27 w 28"/>
                    <a:gd name="T5" fmla="*/ 22 h 37"/>
                    <a:gd name="T6" fmla="*/ 27 w 28"/>
                    <a:gd name="T7" fmla="*/ 25 h 37"/>
                    <a:gd name="T8" fmla="*/ 18 w 28"/>
                    <a:gd name="T9" fmla="*/ 37 h 37"/>
                    <a:gd name="T10" fmla="*/ 0 w 28"/>
                    <a:gd name="T11" fmla="*/ 1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37">
                      <a:moveTo>
                        <a:pt x="0" y="17"/>
                      </a:moveTo>
                      <a:cubicBezTo>
                        <a:pt x="3" y="11"/>
                        <a:pt x="6" y="6"/>
                        <a:pt x="10" y="0"/>
                      </a:cubicBezTo>
                      <a:cubicBezTo>
                        <a:pt x="16" y="7"/>
                        <a:pt x="22" y="14"/>
                        <a:pt x="27" y="22"/>
                      </a:cubicBezTo>
                      <a:cubicBezTo>
                        <a:pt x="28" y="22"/>
                        <a:pt x="27" y="24"/>
                        <a:pt x="27" y="25"/>
                      </a:cubicBezTo>
                      <a:cubicBezTo>
                        <a:pt x="24" y="29"/>
                        <a:pt x="21" y="33"/>
                        <a:pt x="18" y="37"/>
                      </a:cubicBezTo>
                      <a:cubicBezTo>
                        <a:pt x="12" y="30"/>
                        <a:pt x="6" y="24"/>
                        <a:pt x="0" y="17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7" name="Freeform 23">
                  <a:extLst>
                    <a:ext uri="{FF2B5EF4-FFF2-40B4-BE49-F238E27FC236}">
                      <a16:creationId xmlns:a16="http://schemas.microsoft.com/office/drawing/2014/main" xmlns="" id="{58C21343-FC79-4038-8DD9-9A81E2B68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1" y="1515"/>
                  <a:ext cx="109" cy="31"/>
                </a:xfrm>
                <a:custGeom>
                  <a:avLst/>
                  <a:gdLst>
                    <a:gd name="T0" fmla="*/ 49 w 72"/>
                    <a:gd name="T1" fmla="*/ 0 h 20"/>
                    <a:gd name="T2" fmla="*/ 67 w 72"/>
                    <a:gd name="T3" fmla="*/ 2 h 20"/>
                    <a:gd name="T4" fmla="*/ 72 w 72"/>
                    <a:gd name="T5" fmla="*/ 6 h 20"/>
                    <a:gd name="T6" fmla="*/ 66 w 72"/>
                    <a:gd name="T7" fmla="*/ 8 h 20"/>
                    <a:gd name="T8" fmla="*/ 21 w 72"/>
                    <a:gd name="T9" fmla="*/ 10 h 20"/>
                    <a:gd name="T10" fmla="*/ 9 w 72"/>
                    <a:gd name="T11" fmla="*/ 16 h 20"/>
                    <a:gd name="T12" fmla="*/ 2 w 72"/>
                    <a:gd name="T13" fmla="*/ 17 h 20"/>
                    <a:gd name="T14" fmla="*/ 5 w 72"/>
                    <a:gd name="T15" fmla="*/ 10 h 20"/>
                    <a:gd name="T16" fmla="*/ 49 w 72"/>
                    <a:gd name="T1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2" h="20">
                      <a:moveTo>
                        <a:pt x="49" y="0"/>
                      </a:moveTo>
                      <a:cubicBezTo>
                        <a:pt x="53" y="0"/>
                        <a:pt x="60" y="1"/>
                        <a:pt x="67" y="2"/>
                      </a:cubicBezTo>
                      <a:cubicBezTo>
                        <a:pt x="69" y="2"/>
                        <a:pt x="72" y="2"/>
                        <a:pt x="72" y="6"/>
                      </a:cubicBezTo>
                      <a:cubicBezTo>
                        <a:pt x="71" y="10"/>
                        <a:pt x="68" y="9"/>
                        <a:pt x="66" y="8"/>
                      </a:cubicBezTo>
                      <a:cubicBezTo>
                        <a:pt x="51" y="6"/>
                        <a:pt x="36" y="5"/>
                        <a:pt x="21" y="10"/>
                      </a:cubicBezTo>
                      <a:cubicBezTo>
                        <a:pt x="17" y="12"/>
                        <a:pt x="13" y="14"/>
                        <a:pt x="9" y="16"/>
                      </a:cubicBezTo>
                      <a:cubicBezTo>
                        <a:pt x="6" y="17"/>
                        <a:pt x="4" y="20"/>
                        <a:pt x="2" y="17"/>
                      </a:cubicBezTo>
                      <a:cubicBezTo>
                        <a:pt x="0" y="13"/>
                        <a:pt x="3" y="12"/>
                        <a:pt x="5" y="10"/>
                      </a:cubicBezTo>
                      <a:cubicBezTo>
                        <a:pt x="18" y="2"/>
                        <a:pt x="32" y="0"/>
                        <a:pt x="49" y="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8" name="Freeform 24">
                  <a:extLst>
                    <a:ext uri="{FF2B5EF4-FFF2-40B4-BE49-F238E27FC236}">
                      <a16:creationId xmlns:a16="http://schemas.microsoft.com/office/drawing/2014/main" xmlns="" id="{01C2B7F8-0C78-4262-ACDC-7D1C2D08D2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0" y="1553"/>
                  <a:ext cx="103" cy="37"/>
                </a:xfrm>
                <a:custGeom>
                  <a:avLst/>
                  <a:gdLst>
                    <a:gd name="T0" fmla="*/ 65 w 68"/>
                    <a:gd name="T1" fmla="*/ 10 h 24"/>
                    <a:gd name="T2" fmla="*/ 26 w 68"/>
                    <a:gd name="T3" fmla="*/ 13 h 24"/>
                    <a:gd name="T4" fmla="*/ 8 w 68"/>
                    <a:gd name="T5" fmla="*/ 22 h 24"/>
                    <a:gd name="T6" fmla="*/ 2 w 68"/>
                    <a:gd name="T7" fmla="*/ 21 h 24"/>
                    <a:gd name="T8" fmla="*/ 4 w 68"/>
                    <a:gd name="T9" fmla="*/ 16 h 24"/>
                    <a:gd name="T10" fmla="*/ 65 w 68"/>
                    <a:gd name="T11" fmla="*/ 4 h 24"/>
                    <a:gd name="T12" fmla="*/ 68 w 68"/>
                    <a:gd name="T13" fmla="*/ 7 h 24"/>
                    <a:gd name="T14" fmla="*/ 65 w 68"/>
                    <a:gd name="T15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8" h="24">
                      <a:moveTo>
                        <a:pt x="65" y="10"/>
                      </a:moveTo>
                      <a:cubicBezTo>
                        <a:pt x="51" y="8"/>
                        <a:pt x="38" y="9"/>
                        <a:pt x="26" y="13"/>
                      </a:cubicBezTo>
                      <a:cubicBezTo>
                        <a:pt x="20" y="15"/>
                        <a:pt x="14" y="19"/>
                        <a:pt x="8" y="22"/>
                      </a:cubicBezTo>
                      <a:cubicBezTo>
                        <a:pt x="6" y="23"/>
                        <a:pt x="3" y="24"/>
                        <a:pt x="2" y="21"/>
                      </a:cubicBezTo>
                      <a:cubicBezTo>
                        <a:pt x="0" y="18"/>
                        <a:pt x="2" y="17"/>
                        <a:pt x="4" y="16"/>
                      </a:cubicBezTo>
                      <a:cubicBezTo>
                        <a:pt x="23" y="4"/>
                        <a:pt x="43" y="0"/>
                        <a:pt x="65" y="4"/>
                      </a:cubicBezTo>
                      <a:cubicBezTo>
                        <a:pt x="66" y="4"/>
                        <a:pt x="68" y="6"/>
                        <a:pt x="68" y="7"/>
                      </a:cubicBezTo>
                      <a:cubicBezTo>
                        <a:pt x="68" y="8"/>
                        <a:pt x="66" y="10"/>
                        <a:pt x="65" y="1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19" name="Freeform 25">
                  <a:extLst>
                    <a:ext uri="{FF2B5EF4-FFF2-40B4-BE49-F238E27FC236}">
                      <a16:creationId xmlns:a16="http://schemas.microsoft.com/office/drawing/2014/main" xmlns="" id="{5B08EBAF-21ED-412A-BC5F-7889F11CD9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8" y="1612"/>
                  <a:ext cx="61" cy="42"/>
                </a:xfrm>
                <a:custGeom>
                  <a:avLst/>
                  <a:gdLst>
                    <a:gd name="T0" fmla="*/ 40 w 40"/>
                    <a:gd name="T1" fmla="*/ 1 h 27"/>
                    <a:gd name="T2" fmla="*/ 40 w 40"/>
                    <a:gd name="T3" fmla="*/ 3 h 27"/>
                    <a:gd name="T4" fmla="*/ 19 w 40"/>
                    <a:gd name="T5" fmla="*/ 20 h 27"/>
                    <a:gd name="T6" fmla="*/ 10 w 40"/>
                    <a:gd name="T7" fmla="*/ 22 h 27"/>
                    <a:gd name="T8" fmla="*/ 0 w 40"/>
                    <a:gd name="T9" fmla="*/ 27 h 27"/>
                    <a:gd name="T10" fmla="*/ 12 w 40"/>
                    <a:gd name="T11" fmla="*/ 9 h 27"/>
                    <a:gd name="T12" fmla="*/ 39 w 40"/>
                    <a:gd name="T13" fmla="*/ 0 h 27"/>
                    <a:gd name="T14" fmla="*/ 40 w 40"/>
                    <a:gd name="T15" fmla="*/ 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27">
                      <a:moveTo>
                        <a:pt x="40" y="1"/>
                      </a:moveTo>
                      <a:cubicBezTo>
                        <a:pt x="40" y="2"/>
                        <a:pt x="40" y="2"/>
                        <a:pt x="40" y="3"/>
                      </a:cubicBezTo>
                      <a:cubicBezTo>
                        <a:pt x="36" y="12"/>
                        <a:pt x="31" y="20"/>
                        <a:pt x="19" y="20"/>
                      </a:cubicBezTo>
                      <a:cubicBezTo>
                        <a:pt x="16" y="20"/>
                        <a:pt x="13" y="21"/>
                        <a:pt x="10" y="22"/>
                      </a:cubicBezTo>
                      <a:cubicBezTo>
                        <a:pt x="6" y="24"/>
                        <a:pt x="3" y="25"/>
                        <a:pt x="0" y="27"/>
                      </a:cubicBezTo>
                      <a:cubicBezTo>
                        <a:pt x="2" y="19"/>
                        <a:pt x="4" y="11"/>
                        <a:pt x="12" y="9"/>
                      </a:cubicBezTo>
                      <a:cubicBezTo>
                        <a:pt x="22" y="6"/>
                        <a:pt x="31" y="3"/>
                        <a:pt x="39" y="0"/>
                      </a:cubicBezTo>
                      <a:cubicBezTo>
                        <a:pt x="40" y="0"/>
                        <a:pt x="40" y="1"/>
                        <a:pt x="40" y="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0" name="Freeform 26">
                  <a:extLst>
                    <a:ext uri="{FF2B5EF4-FFF2-40B4-BE49-F238E27FC236}">
                      <a16:creationId xmlns:a16="http://schemas.microsoft.com/office/drawing/2014/main" xmlns="" id="{CBA8968E-2782-44EC-9C29-A428A02AE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5" y="1597"/>
                  <a:ext cx="103" cy="37"/>
                </a:xfrm>
                <a:custGeom>
                  <a:avLst/>
                  <a:gdLst>
                    <a:gd name="T0" fmla="*/ 59 w 68"/>
                    <a:gd name="T1" fmla="*/ 1 h 24"/>
                    <a:gd name="T2" fmla="*/ 64 w 68"/>
                    <a:gd name="T3" fmla="*/ 1 h 24"/>
                    <a:gd name="T4" fmla="*/ 68 w 68"/>
                    <a:gd name="T5" fmla="*/ 4 h 24"/>
                    <a:gd name="T6" fmla="*/ 63 w 68"/>
                    <a:gd name="T7" fmla="*/ 7 h 24"/>
                    <a:gd name="T8" fmla="*/ 27 w 68"/>
                    <a:gd name="T9" fmla="*/ 12 h 24"/>
                    <a:gd name="T10" fmla="*/ 9 w 68"/>
                    <a:gd name="T11" fmla="*/ 20 h 24"/>
                    <a:gd name="T12" fmla="*/ 2 w 68"/>
                    <a:gd name="T13" fmla="*/ 20 h 24"/>
                    <a:gd name="T14" fmla="*/ 6 w 68"/>
                    <a:gd name="T15" fmla="*/ 14 h 24"/>
                    <a:gd name="T16" fmla="*/ 46 w 68"/>
                    <a:gd name="T17" fmla="*/ 1 h 24"/>
                    <a:gd name="T18" fmla="*/ 59 w 68"/>
                    <a:gd name="T19" fmla="*/ 0 h 24"/>
                    <a:gd name="T20" fmla="*/ 59 w 68"/>
                    <a:gd name="T21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8" h="24">
                      <a:moveTo>
                        <a:pt x="59" y="1"/>
                      </a:moveTo>
                      <a:cubicBezTo>
                        <a:pt x="61" y="1"/>
                        <a:pt x="62" y="0"/>
                        <a:pt x="64" y="1"/>
                      </a:cubicBezTo>
                      <a:cubicBezTo>
                        <a:pt x="65" y="1"/>
                        <a:pt x="67" y="3"/>
                        <a:pt x="68" y="4"/>
                      </a:cubicBezTo>
                      <a:cubicBezTo>
                        <a:pt x="67" y="5"/>
                        <a:pt x="65" y="7"/>
                        <a:pt x="63" y="7"/>
                      </a:cubicBezTo>
                      <a:cubicBezTo>
                        <a:pt x="51" y="9"/>
                        <a:pt x="39" y="10"/>
                        <a:pt x="27" y="12"/>
                      </a:cubicBezTo>
                      <a:cubicBezTo>
                        <a:pt x="21" y="14"/>
                        <a:pt x="15" y="17"/>
                        <a:pt x="9" y="20"/>
                      </a:cubicBezTo>
                      <a:cubicBezTo>
                        <a:pt x="6" y="21"/>
                        <a:pt x="4" y="24"/>
                        <a:pt x="2" y="20"/>
                      </a:cubicBezTo>
                      <a:cubicBezTo>
                        <a:pt x="0" y="17"/>
                        <a:pt x="3" y="16"/>
                        <a:pt x="6" y="14"/>
                      </a:cubicBezTo>
                      <a:cubicBezTo>
                        <a:pt x="18" y="6"/>
                        <a:pt x="32" y="3"/>
                        <a:pt x="46" y="1"/>
                      </a:cubicBezTo>
                      <a:cubicBezTo>
                        <a:pt x="50" y="1"/>
                        <a:pt x="55" y="1"/>
                        <a:pt x="59" y="0"/>
                      </a:cubicBezTo>
                      <a:cubicBezTo>
                        <a:pt x="59" y="0"/>
                        <a:pt x="59" y="0"/>
                        <a:pt x="59" y="1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1" name="Freeform 27">
                  <a:extLst>
                    <a:ext uri="{FF2B5EF4-FFF2-40B4-BE49-F238E27FC236}">
                      <a16:creationId xmlns:a16="http://schemas.microsoft.com/office/drawing/2014/main" xmlns="" id="{F6FF723A-BA10-492D-9950-559D8F4EC2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60" y="1640"/>
                  <a:ext cx="95" cy="33"/>
                </a:xfrm>
                <a:custGeom>
                  <a:avLst/>
                  <a:gdLst>
                    <a:gd name="T0" fmla="*/ 53 w 63"/>
                    <a:gd name="T1" fmla="*/ 0 h 22"/>
                    <a:gd name="T2" fmla="*/ 59 w 63"/>
                    <a:gd name="T3" fmla="*/ 0 h 22"/>
                    <a:gd name="T4" fmla="*/ 63 w 63"/>
                    <a:gd name="T5" fmla="*/ 3 h 22"/>
                    <a:gd name="T6" fmla="*/ 59 w 63"/>
                    <a:gd name="T7" fmla="*/ 7 h 22"/>
                    <a:gd name="T8" fmla="*/ 44 w 63"/>
                    <a:gd name="T9" fmla="*/ 8 h 22"/>
                    <a:gd name="T10" fmla="*/ 9 w 63"/>
                    <a:gd name="T11" fmla="*/ 21 h 22"/>
                    <a:gd name="T12" fmla="*/ 3 w 63"/>
                    <a:gd name="T13" fmla="*/ 21 h 22"/>
                    <a:gd name="T14" fmla="*/ 5 w 63"/>
                    <a:gd name="T15" fmla="*/ 15 h 22"/>
                    <a:gd name="T16" fmla="*/ 43 w 63"/>
                    <a:gd name="T17" fmla="*/ 1 h 22"/>
                    <a:gd name="T18" fmla="*/ 53 w 63"/>
                    <a:gd name="T1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3" h="22">
                      <a:moveTo>
                        <a:pt x="53" y="0"/>
                      </a:moveTo>
                      <a:cubicBezTo>
                        <a:pt x="56" y="0"/>
                        <a:pt x="57" y="0"/>
                        <a:pt x="59" y="0"/>
                      </a:cubicBezTo>
                      <a:cubicBezTo>
                        <a:pt x="60" y="1"/>
                        <a:pt x="62" y="2"/>
                        <a:pt x="63" y="3"/>
                      </a:cubicBezTo>
                      <a:cubicBezTo>
                        <a:pt x="62" y="4"/>
                        <a:pt x="60" y="6"/>
                        <a:pt x="59" y="7"/>
                      </a:cubicBezTo>
                      <a:cubicBezTo>
                        <a:pt x="54" y="7"/>
                        <a:pt x="49" y="7"/>
                        <a:pt x="44" y="8"/>
                      </a:cubicBezTo>
                      <a:cubicBezTo>
                        <a:pt x="31" y="10"/>
                        <a:pt x="19" y="13"/>
                        <a:pt x="9" y="21"/>
                      </a:cubicBezTo>
                      <a:cubicBezTo>
                        <a:pt x="7" y="22"/>
                        <a:pt x="3" y="22"/>
                        <a:pt x="3" y="21"/>
                      </a:cubicBezTo>
                      <a:cubicBezTo>
                        <a:pt x="0" y="18"/>
                        <a:pt x="3" y="17"/>
                        <a:pt x="5" y="15"/>
                      </a:cubicBezTo>
                      <a:cubicBezTo>
                        <a:pt x="16" y="7"/>
                        <a:pt x="29" y="3"/>
                        <a:pt x="43" y="1"/>
                      </a:cubicBezTo>
                      <a:cubicBezTo>
                        <a:pt x="46" y="1"/>
                        <a:pt x="50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2" name="Freeform 28">
                  <a:extLst>
                    <a:ext uri="{FF2B5EF4-FFF2-40B4-BE49-F238E27FC236}">
                      <a16:creationId xmlns:a16="http://schemas.microsoft.com/office/drawing/2014/main" xmlns="" id="{2C02FD7C-4F80-4214-AC6F-7FBB605D4F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66" y="1657"/>
                  <a:ext cx="56" cy="31"/>
                </a:xfrm>
                <a:custGeom>
                  <a:avLst/>
                  <a:gdLst>
                    <a:gd name="T0" fmla="*/ 0 w 37"/>
                    <a:gd name="T1" fmla="*/ 21 h 21"/>
                    <a:gd name="T2" fmla="*/ 9 w 37"/>
                    <a:gd name="T3" fmla="*/ 9 h 21"/>
                    <a:gd name="T4" fmla="*/ 31 w 37"/>
                    <a:gd name="T5" fmla="*/ 0 h 21"/>
                    <a:gd name="T6" fmla="*/ 37 w 37"/>
                    <a:gd name="T7" fmla="*/ 7 h 21"/>
                    <a:gd name="T8" fmla="*/ 0 w 37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21">
                      <a:moveTo>
                        <a:pt x="0" y="21"/>
                      </a:moveTo>
                      <a:cubicBezTo>
                        <a:pt x="0" y="16"/>
                        <a:pt x="3" y="12"/>
                        <a:pt x="9" y="9"/>
                      </a:cubicBezTo>
                      <a:cubicBezTo>
                        <a:pt x="16" y="6"/>
                        <a:pt x="23" y="3"/>
                        <a:pt x="31" y="0"/>
                      </a:cubicBezTo>
                      <a:cubicBezTo>
                        <a:pt x="33" y="3"/>
                        <a:pt x="36" y="6"/>
                        <a:pt x="37" y="7"/>
                      </a:cubicBezTo>
                      <a:cubicBezTo>
                        <a:pt x="25" y="12"/>
                        <a:pt x="12" y="16"/>
                        <a:pt x="0" y="2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3" name="Freeform 31">
                  <a:extLst>
                    <a:ext uri="{FF2B5EF4-FFF2-40B4-BE49-F238E27FC236}">
                      <a16:creationId xmlns:a16="http://schemas.microsoft.com/office/drawing/2014/main" xmlns="" id="{679937BD-310E-4199-BD91-9173B62276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79" y="1501"/>
                  <a:ext cx="179" cy="169"/>
                </a:xfrm>
                <a:custGeom>
                  <a:avLst/>
                  <a:gdLst>
                    <a:gd name="T0" fmla="*/ 53 w 118"/>
                    <a:gd name="T1" fmla="*/ 111 h 111"/>
                    <a:gd name="T2" fmla="*/ 19 w 118"/>
                    <a:gd name="T3" fmla="*/ 101 h 111"/>
                    <a:gd name="T4" fmla="*/ 7 w 118"/>
                    <a:gd name="T5" fmla="*/ 98 h 111"/>
                    <a:gd name="T6" fmla="*/ 3 w 118"/>
                    <a:gd name="T7" fmla="*/ 91 h 111"/>
                    <a:gd name="T8" fmla="*/ 45 w 118"/>
                    <a:gd name="T9" fmla="*/ 11 h 111"/>
                    <a:gd name="T10" fmla="*/ 48 w 118"/>
                    <a:gd name="T11" fmla="*/ 7 h 111"/>
                    <a:gd name="T12" fmla="*/ 60 w 118"/>
                    <a:gd name="T13" fmla="*/ 1 h 111"/>
                    <a:gd name="T14" fmla="*/ 110 w 118"/>
                    <a:gd name="T15" fmla="*/ 5 h 111"/>
                    <a:gd name="T16" fmla="*/ 115 w 118"/>
                    <a:gd name="T17" fmla="*/ 14 h 111"/>
                    <a:gd name="T18" fmla="*/ 112 w 118"/>
                    <a:gd name="T19" fmla="*/ 19 h 111"/>
                    <a:gd name="T20" fmla="*/ 61 w 118"/>
                    <a:gd name="T21" fmla="*/ 97 h 111"/>
                    <a:gd name="T22" fmla="*/ 53 w 118"/>
                    <a:gd name="T23" fmla="*/ 111 h 111"/>
                    <a:gd name="T24" fmla="*/ 59 w 118"/>
                    <a:gd name="T25" fmla="*/ 14 h 111"/>
                    <a:gd name="T26" fmla="*/ 63 w 118"/>
                    <a:gd name="T27" fmla="*/ 28 h 111"/>
                    <a:gd name="T28" fmla="*/ 54 w 118"/>
                    <a:gd name="T29" fmla="*/ 49 h 111"/>
                    <a:gd name="T30" fmla="*/ 49 w 118"/>
                    <a:gd name="T31" fmla="*/ 99 h 111"/>
                    <a:gd name="T32" fmla="*/ 49 w 118"/>
                    <a:gd name="T33" fmla="*/ 97 h 111"/>
                    <a:gd name="T34" fmla="*/ 59 w 118"/>
                    <a:gd name="T35" fmla="*/ 55 h 111"/>
                    <a:gd name="T36" fmla="*/ 66 w 118"/>
                    <a:gd name="T37" fmla="*/ 42 h 111"/>
                    <a:gd name="T38" fmla="*/ 59 w 118"/>
                    <a:gd name="T39" fmla="*/ 14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8" h="111">
                      <a:moveTo>
                        <a:pt x="53" y="111"/>
                      </a:moveTo>
                      <a:cubicBezTo>
                        <a:pt x="41" y="107"/>
                        <a:pt x="30" y="104"/>
                        <a:pt x="19" y="101"/>
                      </a:cubicBezTo>
                      <a:cubicBezTo>
                        <a:pt x="15" y="99"/>
                        <a:pt x="11" y="99"/>
                        <a:pt x="7" y="98"/>
                      </a:cubicBezTo>
                      <a:cubicBezTo>
                        <a:pt x="2" y="97"/>
                        <a:pt x="0" y="95"/>
                        <a:pt x="3" y="91"/>
                      </a:cubicBezTo>
                      <a:cubicBezTo>
                        <a:pt x="21" y="66"/>
                        <a:pt x="32" y="38"/>
                        <a:pt x="45" y="11"/>
                      </a:cubicBezTo>
                      <a:cubicBezTo>
                        <a:pt x="46" y="10"/>
                        <a:pt x="47" y="9"/>
                        <a:pt x="48" y="7"/>
                      </a:cubicBezTo>
                      <a:cubicBezTo>
                        <a:pt x="50" y="2"/>
                        <a:pt x="53" y="0"/>
                        <a:pt x="60" y="1"/>
                      </a:cubicBezTo>
                      <a:cubicBezTo>
                        <a:pt x="76" y="3"/>
                        <a:pt x="93" y="4"/>
                        <a:pt x="110" y="5"/>
                      </a:cubicBezTo>
                      <a:cubicBezTo>
                        <a:pt x="116" y="5"/>
                        <a:pt x="118" y="8"/>
                        <a:pt x="115" y="14"/>
                      </a:cubicBezTo>
                      <a:cubicBezTo>
                        <a:pt x="114" y="15"/>
                        <a:pt x="113" y="17"/>
                        <a:pt x="112" y="19"/>
                      </a:cubicBezTo>
                      <a:cubicBezTo>
                        <a:pt x="93" y="43"/>
                        <a:pt x="77" y="70"/>
                        <a:pt x="61" y="97"/>
                      </a:cubicBezTo>
                      <a:cubicBezTo>
                        <a:pt x="58" y="102"/>
                        <a:pt x="55" y="107"/>
                        <a:pt x="53" y="111"/>
                      </a:cubicBezTo>
                      <a:close/>
                      <a:moveTo>
                        <a:pt x="59" y="14"/>
                      </a:moveTo>
                      <a:cubicBezTo>
                        <a:pt x="60" y="18"/>
                        <a:pt x="62" y="23"/>
                        <a:pt x="63" y="28"/>
                      </a:cubicBezTo>
                      <a:cubicBezTo>
                        <a:pt x="64" y="36"/>
                        <a:pt x="59" y="43"/>
                        <a:pt x="54" y="49"/>
                      </a:cubicBezTo>
                      <a:cubicBezTo>
                        <a:pt x="43" y="63"/>
                        <a:pt x="43" y="85"/>
                        <a:pt x="49" y="99"/>
                      </a:cubicBezTo>
                      <a:cubicBezTo>
                        <a:pt x="49" y="98"/>
                        <a:pt x="49" y="98"/>
                        <a:pt x="49" y="97"/>
                      </a:cubicBezTo>
                      <a:cubicBezTo>
                        <a:pt x="46" y="82"/>
                        <a:pt x="51" y="68"/>
                        <a:pt x="59" y="55"/>
                      </a:cubicBezTo>
                      <a:cubicBezTo>
                        <a:pt x="61" y="51"/>
                        <a:pt x="64" y="46"/>
                        <a:pt x="66" y="42"/>
                      </a:cubicBezTo>
                      <a:cubicBezTo>
                        <a:pt x="71" y="31"/>
                        <a:pt x="68" y="20"/>
                        <a:pt x="59" y="1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4" name="Freeform 32">
                  <a:extLst>
                    <a:ext uri="{FF2B5EF4-FFF2-40B4-BE49-F238E27FC236}">
                      <a16:creationId xmlns:a16="http://schemas.microsoft.com/office/drawing/2014/main" xmlns="" id="{11E4C235-511D-478C-89FE-762753946A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7" y="1444"/>
                  <a:ext cx="119" cy="164"/>
                </a:xfrm>
                <a:custGeom>
                  <a:avLst/>
                  <a:gdLst>
                    <a:gd name="T0" fmla="*/ 0 w 79"/>
                    <a:gd name="T1" fmla="*/ 107 h 108"/>
                    <a:gd name="T2" fmla="*/ 19 w 79"/>
                    <a:gd name="T3" fmla="*/ 82 h 108"/>
                    <a:gd name="T4" fmla="*/ 41 w 79"/>
                    <a:gd name="T5" fmla="*/ 57 h 108"/>
                    <a:gd name="T6" fmla="*/ 64 w 79"/>
                    <a:gd name="T7" fmla="*/ 0 h 108"/>
                    <a:gd name="T8" fmla="*/ 78 w 79"/>
                    <a:gd name="T9" fmla="*/ 25 h 108"/>
                    <a:gd name="T10" fmla="*/ 77 w 79"/>
                    <a:gd name="T11" fmla="*/ 31 h 108"/>
                    <a:gd name="T12" fmla="*/ 59 w 79"/>
                    <a:gd name="T13" fmla="*/ 54 h 108"/>
                    <a:gd name="T14" fmla="*/ 2 w 79"/>
                    <a:gd name="T15" fmla="*/ 107 h 108"/>
                    <a:gd name="T16" fmla="*/ 1 w 79"/>
                    <a:gd name="T17" fmla="*/ 108 h 108"/>
                    <a:gd name="T18" fmla="*/ 0 w 79"/>
                    <a:gd name="T19" fmla="*/ 107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9" h="108">
                      <a:moveTo>
                        <a:pt x="0" y="107"/>
                      </a:moveTo>
                      <a:cubicBezTo>
                        <a:pt x="7" y="99"/>
                        <a:pt x="12" y="90"/>
                        <a:pt x="19" y="82"/>
                      </a:cubicBezTo>
                      <a:cubicBezTo>
                        <a:pt x="26" y="73"/>
                        <a:pt x="34" y="66"/>
                        <a:pt x="41" y="57"/>
                      </a:cubicBezTo>
                      <a:cubicBezTo>
                        <a:pt x="54" y="41"/>
                        <a:pt x="59" y="27"/>
                        <a:pt x="64" y="0"/>
                      </a:cubicBezTo>
                      <a:cubicBezTo>
                        <a:pt x="69" y="8"/>
                        <a:pt x="74" y="17"/>
                        <a:pt x="78" y="25"/>
                      </a:cubicBezTo>
                      <a:cubicBezTo>
                        <a:pt x="79" y="27"/>
                        <a:pt x="78" y="29"/>
                        <a:pt x="77" y="31"/>
                      </a:cubicBezTo>
                      <a:cubicBezTo>
                        <a:pt x="73" y="40"/>
                        <a:pt x="67" y="48"/>
                        <a:pt x="59" y="54"/>
                      </a:cubicBezTo>
                      <a:cubicBezTo>
                        <a:pt x="38" y="71"/>
                        <a:pt x="18" y="87"/>
                        <a:pt x="2" y="107"/>
                      </a:cubicBezTo>
                      <a:cubicBezTo>
                        <a:pt x="2" y="108"/>
                        <a:pt x="2" y="108"/>
                        <a:pt x="1" y="108"/>
                      </a:cubicBezTo>
                      <a:cubicBezTo>
                        <a:pt x="1" y="108"/>
                        <a:pt x="1" y="107"/>
                        <a:pt x="0" y="10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25" name="Freeform 33">
                  <a:extLst>
                    <a:ext uri="{FF2B5EF4-FFF2-40B4-BE49-F238E27FC236}">
                      <a16:creationId xmlns:a16="http://schemas.microsoft.com/office/drawing/2014/main" xmlns="" id="{12DE2989-665E-4A99-BE91-C40E11379E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5" y="1523"/>
                  <a:ext cx="42" cy="129"/>
                </a:xfrm>
                <a:custGeom>
                  <a:avLst/>
                  <a:gdLst>
                    <a:gd name="T0" fmla="*/ 16 w 28"/>
                    <a:gd name="T1" fmla="*/ 0 h 85"/>
                    <a:gd name="T2" fmla="*/ 23 w 28"/>
                    <a:gd name="T3" fmla="*/ 28 h 85"/>
                    <a:gd name="T4" fmla="*/ 16 w 28"/>
                    <a:gd name="T5" fmla="*/ 41 h 85"/>
                    <a:gd name="T6" fmla="*/ 6 w 28"/>
                    <a:gd name="T7" fmla="*/ 83 h 85"/>
                    <a:gd name="T8" fmla="*/ 6 w 28"/>
                    <a:gd name="T9" fmla="*/ 85 h 85"/>
                    <a:gd name="T10" fmla="*/ 11 w 28"/>
                    <a:gd name="T11" fmla="*/ 35 h 85"/>
                    <a:gd name="T12" fmla="*/ 20 w 28"/>
                    <a:gd name="T13" fmla="*/ 14 h 85"/>
                    <a:gd name="T14" fmla="*/ 16 w 28"/>
                    <a:gd name="T15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8" h="85">
                      <a:moveTo>
                        <a:pt x="16" y="0"/>
                      </a:moveTo>
                      <a:cubicBezTo>
                        <a:pt x="25" y="6"/>
                        <a:pt x="28" y="17"/>
                        <a:pt x="23" y="28"/>
                      </a:cubicBezTo>
                      <a:cubicBezTo>
                        <a:pt x="21" y="32"/>
                        <a:pt x="18" y="37"/>
                        <a:pt x="16" y="41"/>
                      </a:cubicBezTo>
                      <a:cubicBezTo>
                        <a:pt x="8" y="54"/>
                        <a:pt x="3" y="68"/>
                        <a:pt x="6" y="83"/>
                      </a:cubicBezTo>
                      <a:cubicBezTo>
                        <a:pt x="6" y="84"/>
                        <a:pt x="6" y="84"/>
                        <a:pt x="6" y="85"/>
                      </a:cubicBezTo>
                      <a:cubicBezTo>
                        <a:pt x="0" y="71"/>
                        <a:pt x="0" y="49"/>
                        <a:pt x="11" y="35"/>
                      </a:cubicBezTo>
                      <a:cubicBezTo>
                        <a:pt x="16" y="29"/>
                        <a:pt x="21" y="22"/>
                        <a:pt x="20" y="14"/>
                      </a:cubicBezTo>
                      <a:cubicBezTo>
                        <a:pt x="19" y="9"/>
                        <a:pt x="17" y="4"/>
                        <a:pt x="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xmlns="" id="{B64F5BAD-96A3-405E-91AD-0CDCBDE7FCC5}"/>
                </a:ext>
              </a:extLst>
            </p:cNvPr>
            <p:cNvGrpSpPr/>
            <p:nvPr/>
          </p:nvGrpSpPr>
          <p:grpSpPr>
            <a:xfrm>
              <a:off x="450521" y="2222220"/>
              <a:ext cx="473852" cy="398778"/>
              <a:chOff x="8062913" y="-1081653"/>
              <a:chExt cx="1400568" cy="1178673"/>
            </a:xfrm>
          </p:grpSpPr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xmlns="" id="{707CF527-B19F-403C-94A5-05B9E60DA6E1}"/>
                  </a:ext>
                </a:extLst>
              </p:cNvPr>
              <p:cNvSpPr/>
              <p:nvPr/>
            </p:nvSpPr>
            <p:spPr>
              <a:xfrm>
                <a:off x="8062913" y="-890588"/>
                <a:ext cx="1371600" cy="800100"/>
              </a:xfrm>
              <a:custGeom>
                <a:avLst/>
                <a:gdLst>
                  <a:gd name="connsiteX0" fmla="*/ 0 w 1371600"/>
                  <a:gd name="connsiteY0" fmla="*/ 581025 h 800100"/>
                  <a:gd name="connsiteX1" fmla="*/ 33337 w 1371600"/>
                  <a:gd name="connsiteY1" fmla="*/ 490538 h 800100"/>
                  <a:gd name="connsiteX2" fmla="*/ 100012 w 1371600"/>
                  <a:gd name="connsiteY2" fmla="*/ 447675 h 800100"/>
                  <a:gd name="connsiteX3" fmla="*/ 276225 w 1371600"/>
                  <a:gd name="connsiteY3" fmla="*/ 442913 h 800100"/>
                  <a:gd name="connsiteX4" fmla="*/ 366712 w 1371600"/>
                  <a:gd name="connsiteY4" fmla="*/ 423863 h 800100"/>
                  <a:gd name="connsiteX5" fmla="*/ 409575 w 1371600"/>
                  <a:gd name="connsiteY5" fmla="*/ 376238 h 800100"/>
                  <a:gd name="connsiteX6" fmla="*/ 519112 w 1371600"/>
                  <a:gd name="connsiteY6" fmla="*/ 300038 h 800100"/>
                  <a:gd name="connsiteX7" fmla="*/ 685800 w 1371600"/>
                  <a:gd name="connsiteY7" fmla="*/ 123825 h 800100"/>
                  <a:gd name="connsiteX8" fmla="*/ 762000 w 1371600"/>
                  <a:gd name="connsiteY8" fmla="*/ 57150 h 800100"/>
                  <a:gd name="connsiteX9" fmla="*/ 933450 w 1371600"/>
                  <a:gd name="connsiteY9" fmla="*/ 66675 h 800100"/>
                  <a:gd name="connsiteX10" fmla="*/ 1028700 w 1371600"/>
                  <a:gd name="connsiteY10" fmla="*/ 71438 h 800100"/>
                  <a:gd name="connsiteX11" fmla="*/ 1085850 w 1371600"/>
                  <a:gd name="connsiteY11" fmla="*/ 71438 h 800100"/>
                  <a:gd name="connsiteX12" fmla="*/ 1166812 w 1371600"/>
                  <a:gd name="connsiteY12" fmla="*/ 19050 h 800100"/>
                  <a:gd name="connsiteX13" fmla="*/ 1281112 w 1371600"/>
                  <a:gd name="connsiteY13" fmla="*/ 0 h 800100"/>
                  <a:gd name="connsiteX14" fmla="*/ 1352550 w 1371600"/>
                  <a:gd name="connsiteY14" fmla="*/ 76200 h 800100"/>
                  <a:gd name="connsiteX15" fmla="*/ 1366837 w 1371600"/>
                  <a:gd name="connsiteY15" fmla="*/ 152400 h 800100"/>
                  <a:gd name="connsiteX16" fmla="*/ 1371600 w 1371600"/>
                  <a:gd name="connsiteY16" fmla="*/ 242888 h 800100"/>
                  <a:gd name="connsiteX17" fmla="*/ 1371600 w 1371600"/>
                  <a:gd name="connsiteY17" fmla="*/ 357188 h 800100"/>
                  <a:gd name="connsiteX18" fmla="*/ 1371600 w 1371600"/>
                  <a:gd name="connsiteY18" fmla="*/ 514350 h 800100"/>
                  <a:gd name="connsiteX19" fmla="*/ 1343025 w 1371600"/>
                  <a:gd name="connsiteY19" fmla="*/ 609600 h 800100"/>
                  <a:gd name="connsiteX20" fmla="*/ 1228725 w 1371600"/>
                  <a:gd name="connsiteY20" fmla="*/ 661988 h 800100"/>
                  <a:gd name="connsiteX21" fmla="*/ 1000125 w 1371600"/>
                  <a:gd name="connsiteY21" fmla="*/ 676275 h 800100"/>
                  <a:gd name="connsiteX22" fmla="*/ 842962 w 1371600"/>
                  <a:gd name="connsiteY22" fmla="*/ 700088 h 800100"/>
                  <a:gd name="connsiteX23" fmla="*/ 781050 w 1371600"/>
                  <a:gd name="connsiteY23" fmla="*/ 738188 h 800100"/>
                  <a:gd name="connsiteX24" fmla="*/ 642937 w 1371600"/>
                  <a:gd name="connsiteY24" fmla="*/ 795338 h 800100"/>
                  <a:gd name="connsiteX25" fmla="*/ 485775 w 1371600"/>
                  <a:gd name="connsiteY25" fmla="*/ 800100 h 800100"/>
                  <a:gd name="connsiteX26" fmla="*/ 328612 w 1371600"/>
                  <a:gd name="connsiteY26" fmla="*/ 757238 h 800100"/>
                  <a:gd name="connsiteX27" fmla="*/ 157162 w 1371600"/>
                  <a:gd name="connsiteY27" fmla="*/ 695325 h 800100"/>
                  <a:gd name="connsiteX28" fmla="*/ 0 w 1371600"/>
                  <a:gd name="connsiteY28" fmla="*/ 581025 h 80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371600" h="800100">
                    <a:moveTo>
                      <a:pt x="0" y="581025"/>
                    </a:moveTo>
                    <a:lnTo>
                      <a:pt x="33337" y="490538"/>
                    </a:lnTo>
                    <a:lnTo>
                      <a:pt x="100012" y="447675"/>
                    </a:lnTo>
                    <a:lnTo>
                      <a:pt x="276225" y="442913"/>
                    </a:lnTo>
                    <a:lnTo>
                      <a:pt x="366712" y="423863"/>
                    </a:lnTo>
                    <a:lnTo>
                      <a:pt x="409575" y="376238"/>
                    </a:lnTo>
                    <a:lnTo>
                      <a:pt x="519112" y="300038"/>
                    </a:lnTo>
                    <a:lnTo>
                      <a:pt x="685800" y="123825"/>
                    </a:lnTo>
                    <a:lnTo>
                      <a:pt x="762000" y="57150"/>
                    </a:lnTo>
                    <a:lnTo>
                      <a:pt x="933450" y="66675"/>
                    </a:lnTo>
                    <a:lnTo>
                      <a:pt x="1028700" y="71438"/>
                    </a:lnTo>
                    <a:lnTo>
                      <a:pt x="1085850" y="71438"/>
                    </a:lnTo>
                    <a:lnTo>
                      <a:pt x="1166812" y="19050"/>
                    </a:lnTo>
                    <a:lnTo>
                      <a:pt x="1281112" y="0"/>
                    </a:lnTo>
                    <a:lnTo>
                      <a:pt x="1352550" y="76200"/>
                    </a:lnTo>
                    <a:lnTo>
                      <a:pt x="1366837" y="152400"/>
                    </a:lnTo>
                    <a:lnTo>
                      <a:pt x="1371600" y="242888"/>
                    </a:lnTo>
                    <a:lnTo>
                      <a:pt x="1371600" y="357188"/>
                    </a:lnTo>
                    <a:lnTo>
                      <a:pt x="1371600" y="514350"/>
                    </a:lnTo>
                    <a:lnTo>
                      <a:pt x="1343025" y="609600"/>
                    </a:lnTo>
                    <a:lnTo>
                      <a:pt x="1228725" y="661988"/>
                    </a:lnTo>
                    <a:lnTo>
                      <a:pt x="1000125" y="676275"/>
                    </a:lnTo>
                    <a:lnTo>
                      <a:pt x="842962" y="700088"/>
                    </a:lnTo>
                    <a:lnTo>
                      <a:pt x="781050" y="738188"/>
                    </a:lnTo>
                    <a:lnTo>
                      <a:pt x="642937" y="795338"/>
                    </a:lnTo>
                    <a:lnTo>
                      <a:pt x="485775" y="800100"/>
                    </a:lnTo>
                    <a:lnTo>
                      <a:pt x="328612" y="757238"/>
                    </a:lnTo>
                    <a:lnTo>
                      <a:pt x="157162" y="695325"/>
                    </a:lnTo>
                    <a:lnTo>
                      <a:pt x="0" y="5810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grpSp>
            <p:nvGrpSpPr>
              <p:cNvPr id="277" name="Group 4">
                <a:extLst>
                  <a:ext uri="{FF2B5EF4-FFF2-40B4-BE49-F238E27FC236}">
                    <a16:creationId xmlns:a16="http://schemas.microsoft.com/office/drawing/2014/main" xmlns="" id="{60746A0D-282A-426E-8CDA-649A62729FE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 rot="1832573">
                <a:off x="8239389" y="-1081653"/>
                <a:ext cx="1224092" cy="1178673"/>
                <a:chOff x="2442" y="1360"/>
                <a:chExt cx="539" cy="519"/>
              </a:xfrm>
              <a:solidFill>
                <a:srgbClr val="009FDA"/>
              </a:solidFill>
            </p:grpSpPr>
            <p:sp>
              <p:nvSpPr>
                <p:cNvPr id="278" name="Freeform 6">
                  <a:extLst>
                    <a:ext uri="{FF2B5EF4-FFF2-40B4-BE49-F238E27FC236}">
                      <a16:creationId xmlns:a16="http://schemas.microsoft.com/office/drawing/2014/main" xmlns="" id="{05FC4FEF-49C9-4B34-8D31-CA381EF644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6" y="1360"/>
                  <a:ext cx="168" cy="134"/>
                </a:xfrm>
                <a:custGeom>
                  <a:avLst/>
                  <a:gdLst>
                    <a:gd name="T0" fmla="*/ 70 w 111"/>
                    <a:gd name="T1" fmla="*/ 0 h 88"/>
                    <a:gd name="T2" fmla="*/ 84 w 111"/>
                    <a:gd name="T3" fmla="*/ 6 h 88"/>
                    <a:gd name="T4" fmla="*/ 88 w 111"/>
                    <a:gd name="T5" fmla="*/ 9 h 88"/>
                    <a:gd name="T6" fmla="*/ 91 w 111"/>
                    <a:gd name="T7" fmla="*/ 46 h 88"/>
                    <a:gd name="T8" fmla="*/ 76 w 111"/>
                    <a:gd name="T9" fmla="*/ 66 h 88"/>
                    <a:gd name="T10" fmla="*/ 77 w 111"/>
                    <a:gd name="T11" fmla="*/ 67 h 88"/>
                    <a:gd name="T12" fmla="*/ 85 w 111"/>
                    <a:gd name="T13" fmla="*/ 63 h 88"/>
                    <a:gd name="T14" fmla="*/ 95 w 111"/>
                    <a:gd name="T15" fmla="*/ 40 h 88"/>
                    <a:gd name="T16" fmla="*/ 93 w 111"/>
                    <a:gd name="T17" fmla="*/ 12 h 88"/>
                    <a:gd name="T18" fmla="*/ 103 w 111"/>
                    <a:gd name="T19" fmla="*/ 25 h 88"/>
                    <a:gd name="T20" fmla="*/ 107 w 111"/>
                    <a:gd name="T21" fmla="*/ 50 h 88"/>
                    <a:gd name="T22" fmla="*/ 103 w 111"/>
                    <a:gd name="T23" fmla="*/ 65 h 88"/>
                    <a:gd name="T24" fmla="*/ 73 w 111"/>
                    <a:gd name="T25" fmla="*/ 87 h 88"/>
                    <a:gd name="T26" fmla="*/ 19 w 111"/>
                    <a:gd name="T27" fmla="*/ 81 h 88"/>
                    <a:gd name="T28" fmla="*/ 0 w 111"/>
                    <a:gd name="T29" fmla="*/ 80 h 88"/>
                    <a:gd name="T30" fmla="*/ 2 w 111"/>
                    <a:gd name="T31" fmla="*/ 72 h 88"/>
                    <a:gd name="T32" fmla="*/ 30 w 111"/>
                    <a:gd name="T33" fmla="*/ 58 h 88"/>
                    <a:gd name="T34" fmla="*/ 59 w 111"/>
                    <a:gd name="T35" fmla="*/ 64 h 88"/>
                    <a:gd name="T36" fmla="*/ 78 w 111"/>
                    <a:gd name="T37" fmla="*/ 55 h 88"/>
                    <a:gd name="T38" fmla="*/ 75 w 111"/>
                    <a:gd name="T39" fmla="*/ 30 h 88"/>
                    <a:gd name="T40" fmla="*/ 66 w 111"/>
                    <a:gd name="T41" fmla="*/ 18 h 88"/>
                    <a:gd name="T42" fmla="*/ 57 w 111"/>
                    <a:gd name="T43" fmla="*/ 2 h 88"/>
                    <a:gd name="T44" fmla="*/ 62 w 111"/>
                    <a:gd name="T45" fmla="*/ 0 h 88"/>
                    <a:gd name="T46" fmla="*/ 70 w 111"/>
                    <a:gd name="T47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1" h="88">
                      <a:moveTo>
                        <a:pt x="70" y="0"/>
                      </a:moveTo>
                      <a:cubicBezTo>
                        <a:pt x="75" y="2"/>
                        <a:pt x="80" y="3"/>
                        <a:pt x="84" y="6"/>
                      </a:cubicBezTo>
                      <a:cubicBezTo>
                        <a:pt x="86" y="6"/>
                        <a:pt x="87" y="8"/>
                        <a:pt x="88" y="9"/>
                      </a:cubicBezTo>
                      <a:cubicBezTo>
                        <a:pt x="91" y="21"/>
                        <a:pt x="93" y="34"/>
                        <a:pt x="91" y="46"/>
                      </a:cubicBezTo>
                      <a:cubicBezTo>
                        <a:pt x="89" y="55"/>
                        <a:pt x="84" y="62"/>
                        <a:pt x="76" y="66"/>
                      </a:cubicBezTo>
                      <a:cubicBezTo>
                        <a:pt x="76" y="67"/>
                        <a:pt x="77" y="67"/>
                        <a:pt x="77" y="67"/>
                      </a:cubicBezTo>
                      <a:cubicBezTo>
                        <a:pt x="79" y="66"/>
                        <a:pt x="82" y="65"/>
                        <a:pt x="85" y="63"/>
                      </a:cubicBezTo>
                      <a:cubicBezTo>
                        <a:pt x="92" y="57"/>
                        <a:pt x="95" y="49"/>
                        <a:pt x="95" y="40"/>
                      </a:cubicBezTo>
                      <a:cubicBezTo>
                        <a:pt x="95" y="31"/>
                        <a:pt x="94" y="21"/>
                        <a:pt x="93" y="12"/>
                      </a:cubicBezTo>
                      <a:cubicBezTo>
                        <a:pt x="96" y="16"/>
                        <a:pt x="99" y="21"/>
                        <a:pt x="103" y="25"/>
                      </a:cubicBezTo>
                      <a:cubicBezTo>
                        <a:pt x="109" y="33"/>
                        <a:pt x="111" y="41"/>
                        <a:pt x="107" y="50"/>
                      </a:cubicBezTo>
                      <a:cubicBezTo>
                        <a:pt x="105" y="55"/>
                        <a:pt x="104" y="60"/>
                        <a:pt x="103" y="65"/>
                      </a:cubicBezTo>
                      <a:cubicBezTo>
                        <a:pt x="100" y="80"/>
                        <a:pt x="86" y="88"/>
                        <a:pt x="73" y="87"/>
                      </a:cubicBezTo>
                      <a:cubicBezTo>
                        <a:pt x="55" y="86"/>
                        <a:pt x="37" y="83"/>
                        <a:pt x="19" y="81"/>
                      </a:cubicBezTo>
                      <a:cubicBezTo>
                        <a:pt x="13" y="81"/>
                        <a:pt x="7" y="80"/>
                        <a:pt x="0" y="80"/>
                      </a:cubicBezTo>
                      <a:cubicBezTo>
                        <a:pt x="1" y="77"/>
                        <a:pt x="1" y="75"/>
                        <a:pt x="2" y="72"/>
                      </a:cubicBezTo>
                      <a:cubicBezTo>
                        <a:pt x="7" y="60"/>
                        <a:pt x="16" y="55"/>
                        <a:pt x="30" y="58"/>
                      </a:cubicBezTo>
                      <a:cubicBezTo>
                        <a:pt x="39" y="60"/>
                        <a:pt x="49" y="63"/>
                        <a:pt x="59" y="64"/>
                      </a:cubicBezTo>
                      <a:cubicBezTo>
                        <a:pt x="67" y="65"/>
                        <a:pt x="75" y="63"/>
                        <a:pt x="78" y="55"/>
                      </a:cubicBezTo>
                      <a:cubicBezTo>
                        <a:pt x="82" y="46"/>
                        <a:pt x="81" y="37"/>
                        <a:pt x="75" y="30"/>
                      </a:cubicBezTo>
                      <a:cubicBezTo>
                        <a:pt x="72" y="26"/>
                        <a:pt x="68" y="23"/>
                        <a:pt x="66" y="18"/>
                      </a:cubicBezTo>
                      <a:cubicBezTo>
                        <a:pt x="62" y="13"/>
                        <a:pt x="60" y="8"/>
                        <a:pt x="57" y="2"/>
                      </a:cubicBezTo>
                      <a:cubicBezTo>
                        <a:pt x="59" y="1"/>
                        <a:pt x="60" y="1"/>
                        <a:pt x="62" y="0"/>
                      </a:cubicBezTo>
                      <a:cubicBezTo>
                        <a:pt x="64" y="0"/>
                        <a:pt x="67" y="0"/>
                        <a:pt x="70" y="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79" name="Freeform 7">
                  <a:extLst>
                    <a:ext uri="{FF2B5EF4-FFF2-40B4-BE49-F238E27FC236}">
                      <a16:creationId xmlns:a16="http://schemas.microsoft.com/office/drawing/2014/main" xmlns="" id="{0FB626CF-02B0-413F-8371-AD7E1A1CB4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821"/>
                  <a:ext cx="203" cy="58"/>
                </a:xfrm>
                <a:custGeom>
                  <a:avLst/>
                  <a:gdLst>
                    <a:gd name="T0" fmla="*/ 0 w 134"/>
                    <a:gd name="T1" fmla="*/ 28 h 38"/>
                    <a:gd name="T2" fmla="*/ 1 w 134"/>
                    <a:gd name="T3" fmla="*/ 27 h 38"/>
                    <a:gd name="T4" fmla="*/ 30 w 134"/>
                    <a:gd name="T5" fmla="*/ 11 h 38"/>
                    <a:gd name="T6" fmla="*/ 37 w 134"/>
                    <a:gd name="T7" fmla="*/ 13 h 38"/>
                    <a:gd name="T8" fmla="*/ 75 w 134"/>
                    <a:gd name="T9" fmla="*/ 14 h 38"/>
                    <a:gd name="T10" fmla="*/ 117 w 134"/>
                    <a:gd name="T11" fmla="*/ 0 h 38"/>
                    <a:gd name="T12" fmla="*/ 134 w 134"/>
                    <a:gd name="T13" fmla="*/ 20 h 38"/>
                    <a:gd name="T14" fmla="*/ 126 w 134"/>
                    <a:gd name="T15" fmla="*/ 24 h 38"/>
                    <a:gd name="T16" fmla="*/ 72 w 134"/>
                    <a:gd name="T17" fmla="*/ 37 h 38"/>
                    <a:gd name="T18" fmla="*/ 67 w 134"/>
                    <a:gd name="T19" fmla="*/ 38 h 38"/>
                    <a:gd name="T20" fmla="*/ 58 w 134"/>
                    <a:gd name="T21" fmla="*/ 38 h 38"/>
                    <a:gd name="T22" fmla="*/ 54 w 134"/>
                    <a:gd name="T23" fmla="*/ 37 h 38"/>
                    <a:gd name="T24" fmla="*/ 26 w 134"/>
                    <a:gd name="T25" fmla="*/ 35 h 38"/>
                    <a:gd name="T26" fmla="*/ 0 w 134"/>
                    <a:gd name="T27" fmla="*/ 31 h 38"/>
                    <a:gd name="T28" fmla="*/ 0 w 134"/>
                    <a:gd name="T29" fmla="*/ 2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4" h="38">
                      <a:moveTo>
                        <a:pt x="0" y="28"/>
                      </a:moveTo>
                      <a:cubicBezTo>
                        <a:pt x="0" y="28"/>
                        <a:pt x="0" y="28"/>
                        <a:pt x="1" y="27"/>
                      </a:cubicBezTo>
                      <a:cubicBezTo>
                        <a:pt x="5" y="11"/>
                        <a:pt x="13" y="6"/>
                        <a:pt x="30" y="11"/>
                      </a:cubicBezTo>
                      <a:cubicBezTo>
                        <a:pt x="32" y="11"/>
                        <a:pt x="35" y="12"/>
                        <a:pt x="37" y="13"/>
                      </a:cubicBezTo>
                      <a:cubicBezTo>
                        <a:pt x="50" y="20"/>
                        <a:pt x="63" y="19"/>
                        <a:pt x="75" y="14"/>
                      </a:cubicBezTo>
                      <a:cubicBezTo>
                        <a:pt x="89" y="9"/>
                        <a:pt x="103" y="5"/>
                        <a:pt x="117" y="0"/>
                      </a:cubicBezTo>
                      <a:cubicBezTo>
                        <a:pt x="123" y="6"/>
                        <a:pt x="128" y="12"/>
                        <a:pt x="134" y="20"/>
                      </a:cubicBezTo>
                      <a:cubicBezTo>
                        <a:pt x="131" y="21"/>
                        <a:pt x="129" y="23"/>
                        <a:pt x="126" y="24"/>
                      </a:cubicBezTo>
                      <a:cubicBezTo>
                        <a:pt x="109" y="32"/>
                        <a:pt x="91" y="36"/>
                        <a:pt x="72" y="37"/>
                      </a:cubicBezTo>
                      <a:cubicBezTo>
                        <a:pt x="71" y="37"/>
                        <a:pt x="69" y="37"/>
                        <a:pt x="67" y="38"/>
                      </a:cubicBezTo>
                      <a:cubicBezTo>
                        <a:pt x="64" y="38"/>
                        <a:pt x="61" y="38"/>
                        <a:pt x="58" y="38"/>
                      </a:cubicBezTo>
                      <a:cubicBezTo>
                        <a:pt x="57" y="38"/>
                        <a:pt x="55" y="37"/>
                        <a:pt x="54" y="37"/>
                      </a:cubicBezTo>
                      <a:cubicBezTo>
                        <a:pt x="45" y="36"/>
                        <a:pt x="36" y="36"/>
                        <a:pt x="26" y="35"/>
                      </a:cubicBezTo>
                      <a:cubicBezTo>
                        <a:pt x="18" y="34"/>
                        <a:pt x="9" y="32"/>
                        <a:pt x="0" y="31"/>
                      </a:cubicBezTo>
                      <a:cubicBezTo>
                        <a:pt x="0" y="30"/>
                        <a:pt x="0" y="29"/>
                        <a:pt x="0" y="28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0" name="Freeform 8">
                  <a:extLst>
                    <a:ext uri="{FF2B5EF4-FFF2-40B4-BE49-F238E27FC236}">
                      <a16:creationId xmlns:a16="http://schemas.microsoft.com/office/drawing/2014/main" xmlns="" id="{01AF2024-5939-4233-BFBF-484AAA6815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868"/>
                  <a:ext cx="88" cy="11"/>
                </a:xfrm>
                <a:custGeom>
                  <a:avLst/>
                  <a:gdLst>
                    <a:gd name="T0" fmla="*/ 0 w 58"/>
                    <a:gd name="T1" fmla="*/ 0 h 7"/>
                    <a:gd name="T2" fmla="*/ 26 w 58"/>
                    <a:gd name="T3" fmla="*/ 4 h 7"/>
                    <a:gd name="T4" fmla="*/ 54 w 58"/>
                    <a:gd name="T5" fmla="*/ 6 h 7"/>
                    <a:gd name="T6" fmla="*/ 58 w 58"/>
                    <a:gd name="T7" fmla="*/ 7 h 7"/>
                    <a:gd name="T8" fmla="*/ 0 w 58"/>
                    <a:gd name="T9" fmla="*/ 7 h 7"/>
                    <a:gd name="T10" fmla="*/ 0 w 58"/>
                    <a:gd name="T11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8" h="7">
                      <a:moveTo>
                        <a:pt x="0" y="0"/>
                      </a:moveTo>
                      <a:cubicBezTo>
                        <a:pt x="9" y="1"/>
                        <a:pt x="18" y="3"/>
                        <a:pt x="26" y="4"/>
                      </a:cubicBezTo>
                      <a:cubicBezTo>
                        <a:pt x="36" y="5"/>
                        <a:pt x="45" y="5"/>
                        <a:pt x="54" y="6"/>
                      </a:cubicBezTo>
                      <a:cubicBezTo>
                        <a:pt x="55" y="6"/>
                        <a:pt x="57" y="7"/>
                        <a:pt x="58" y="7"/>
                      </a:cubicBezTo>
                      <a:cubicBezTo>
                        <a:pt x="38" y="7"/>
                        <a:pt x="19" y="7"/>
                        <a:pt x="0" y="7"/>
                      </a:cubicBezTo>
                      <a:cubicBezTo>
                        <a:pt x="0" y="4"/>
                        <a:pt x="0" y="2"/>
                        <a:pt x="0" y="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1" name="Freeform 9">
                  <a:extLst>
                    <a:ext uri="{FF2B5EF4-FFF2-40B4-BE49-F238E27FC236}">
                      <a16:creationId xmlns:a16="http://schemas.microsoft.com/office/drawing/2014/main" xmlns="" id="{8AABE528-FB7B-46A6-9765-57F60D9D24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" y="1667"/>
                  <a:ext cx="313" cy="171"/>
                </a:xfrm>
                <a:custGeom>
                  <a:avLst/>
                  <a:gdLst>
                    <a:gd name="T0" fmla="*/ 170 w 207"/>
                    <a:gd name="T1" fmla="*/ 8 h 112"/>
                    <a:gd name="T2" fmla="*/ 112 w 207"/>
                    <a:gd name="T3" fmla="*/ 67 h 112"/>
                    <a:gd name="T4" fmla="*/ 114 w 207"/>
                    <a:gd name="T5" fmla="*/ 66 h 112"/>
                    <a:gd name="T6" fmla="*/ 175 w 207"/>
                    <a:gd name="T7" fmla="*/ 12 h 112"/>
                    <a:gd name="T8" fmla="*/ 179 w 207"/>
                    <a:gd name="T9" fmla="*/ 11 h 112"/>
                    <a:gd name="T10" fmla="*/ 204 w 207"/>
                    <a:gd name="T11" fmla="*/ 23 h 112"/>
                    <a:gd name="T12" fmla="*/ 206 w 207"/>
                    <a:gd name="T13" fmla="*/ 28 h 112"/>
                    <a:gd name="T14" fmla="*/ 188 w 207"/>
                    <a:gd name="T15" fmla="*/ 54 h 112"/>
                    <a:gd name="T16" fmla="*/ 128 w 207"/>
                    <a:gd name="T17" fmla="*/ 91 h 112"/>
                    <a:gd name="T18" fmla="*/ 70 w 207"/>
                    <a:gd name="T19" fmla="*/ 110 h 112"/>
                    <a:gd name="T20" fmla="*/ 45 w 207"/>
                    <a:gd name="T21" fmla="*/ 111 h 112"/>
                    <a:gd name="T22" fmla="*/ 38 w 207"/>
                    <a:gd name="T23" fmla="*/ 108 h 112"/>
                    <a:gd name="T24" fmla="*/ 14 w 207"/>
                    <a:gd name="T25" fmla="*/ 105 h 112"/>
                    <a:gd name="T26" fmla="*/ 2 w 207"/>
                    <a:gd name="T27" fmla="*/ 112 h 112"/>
                    <a:gd name="T28" fmla="*/ 3 w 207"/>
                    <a:gd name="T29" fmla="*/ 97 h 112"/>
                    <a:gd name="T30" fmla="*/ 21 w 207"/>
                    <a:gd name="T31" fmla="*/ 74 h 112"/>
                    <a:gd name="T32" fmla="*/ 55 w 207"/>
                    <a:gd name="T33" fmla="*/ 56 h 112"/>
                    <a:gd name="T34" fmla="*/ 62 w 207"/>
                    <a:gd name="T35" fmla="*/ 51 h 112"/>
                    <a:gd name="T36" fmla="*/ 78 w 207"/>
                    <a:gd name="T37" fmla="*/ 24 h 112"/>
                    <a:gd name="T38" fmla="*/ 81 w 207"/>
                    <a:gd name="T39" fmla="*/ 21 h 112"/>
                    <a:gd name="T40" fmla="*/ 170 w 207"/>
                    <a:gd name="T41" fmla="*/ 8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07" h="112">
                      <a:moveTo>
                        <a:pt x="170" y="8"/>
                      </a:moveTo>
                      <a:cubicBezTo>
                        <a:pt x="155" y="32"/>
                        <a:pt x="134" y="50"/>
                        <a:pt x="112" y="67"/>
                      </a:cubicBezTo>
                      <a:cubicBezTo>
                        <a:pt x="112" y="66"/>
                        <a:pt x="113" y="66"/>
                        <a:pt x="114" y="66"/>
                      </a:cubicBezTo>
                      <a:cubicBezTo>
                        <a:pt x="138" y="53"/>
                        <a:pt x="159" y="36"/>
                        <a:pt x="175" y="12"/>
                      </a:cubicBezTo>
                      <a:cubicBezTo>
                        <a:pt x="176" y="11"/>
                        <a:pt x="178" y="10"/>
                        <a:pt x="179" y="11"/>
                      </a:cubicBezTo>
                      <a:cubicBezTo>
                        <a:pt x="188" y="15"/>
                        <a:pt x="196" y="19"/>
                        <a:pt x="204" y="23"/>
                      </a:cubicBezTo>
                      <a:cubicBezTo>
                        <a:pt x="207" y="24"/>
                        <a:pt x="207" y="26"/>
                        <a:pt x="206" y="28"/>
                      </a:cubicBezTo>
                      <a:cubicBezTo>
                        <a:pt x="202" y="39"/>
                        <a:pt x="196" y="47"/>
                        <a:pt x="188" y="54"/>
                      </a:cubicBezTo>
                      <a:cubicBezTo>
                        <a:pt x="171" y="71"/>
                        <a:pt x="150" y="82"/>
                        <a:pt x="128" y="91"/>
                      </a:cubicBezTo>
                      <a:cubicBezTo>
                        <a:pt x="109" y="98"/>
                        <a:pt x="89" y="105"/>
                        <a:pt x="70" y="110"/>
                      </a:cubicBezTo>
                      <a:cubicBezTo>
                        <a:pt x="62" y="112"/>
                        <a:pt x="53" y="111"/>
                        <a:pt x="45" y="111"/>
                      </a:cubicBezTo>
                      <a:cubicBezTo>
                        <a:pt x="42" y="111"/>
                        <a:pt x="40" y="109"/>
                        <a:pt x="38" y="108"/>
                      </a:cubicBezTo>
                      <a:cubicBezTo>
                        <a:pt x="30" y="101"/>
                        <a:pt x="22" y="101"/>
                        <a:pt x="14" y="105"/>
                      </a:cubicBezTo>
                      <a:cubicBezTo>
                        <a:pt x="10" y="107"/>
                        <a:pt x="6" y="109"/>
                        <a:pt x="2" y="112"/>
                      </a:cubicBezTo>
                      <a:cubicBezTo>
                        <a:pt x="0" y="107"/>
                        <a:pt x="1" y="102"/>
                        <a:pt x="3" y="97"/>
                      </a:cubicBezTo>
                      <a:cubicBezTo>
                        <a:pt x="6" y="87"/>
                        <a:pt x="12" y="79"/>
                        <a:pt x="21" y="74"/>
                      </a:cubicBezTo>
                      <a:cubicBezTo>
                        <a:pt x="32" y="67"/>
                        <a:pt x="44" y="62"/>
                        <a:pt x="55" y="56"/>
                      </a:cubicBezTo>
                      <a:cubicBezTo>
                        <a:pt x="58" y="55"/>
                        <a:pt x="60" y="53"/>
                        <a:pt x="62" y="51"/>
                      </a:cubicBezTo>
                      <a:cubicBezTo>
                        <a:pt x="69" y="43"/>
                        <a:pt x="75" y="34"/>
                        <a:pt x="78" y="24"/>
                      </a:cubicBezTo>
                      <a:cubicBezTo>
                        <a:pt x="78" y="23"/>
                        <a:pt x="80" y="22"/>
                        <a:pt x="81" y="21"/>
                      </a:cubicBezTo>
                      <a:cubicBezTo>
                        <a:pt x="109" y="6"/>
                        <a:pt x="138" y="0"/>
                        <a:pt x="170" y="8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2" name="Freeform 10">
                  <a:extLst>
                    <a:ext uri="{FF2B5EF4-FFF2-40B4-BE49-F238E27FC236}">
                      <a16:creationId xmlns:a16="http://schemas.microsoft.com/office/drawing/2014/main" xmlns="" id="{A450EB6B-2B11-4071-9321-FC74CB4B43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22" y="1424"/>
                  <a:ext cx="315" cy="271"/>
                </a:xfrm>
                <a:custGeom>
                  <a:avLst/>
                  <a:gdLst>
                    <a:gd name="T0" fmla="*/ 89 w 208"/>
                    <a:gd name="T1" fmla="*/ 178 h 178"/>
                    <a:gd name="T2" fmla="*/ 21 w 208"/>
                    <a:gd name="T3" fmla="*/ 160 h 178"/>
                    <a:gd name="T4" fmla="*/ 5 w 208"/>
                    <a:gd name="T5" fmla="*/ 158 h 178"/>
                    <a:gd name="T6" fmla="*/ 0 w 208"/>
                    <a:gd name="T7" fmla="*/ 154 h 178"/>
                    <a:gd name="T8" fmla="*/ 0 w 208"/>
                    <a:gd name="T9" fmla="*/ 153 h 178"/>
                    <a:gd name="T10" fmla="*/ 14 w 208"/>
                    <a:gd name="T11" fmla="*/ 151 h 178"/>
                    <a:gd name="T12" fmla="*/ 21 w 208"/>
                    <a:gd name="T13" fmla="*/ 150 h 178"/>
                    <a:gd name="T14" fmla="*/ 24 w 208"/>
                    <a:gd name="T15" fmla="*/ 145 h 178"/>
                    <a:gd name="T16" fmla="*/ 20 w 208"/>
                    <a:gd name="T17" fmla="*/ 141 h 178"/>
                    <a:gd name="T18" fmla="*/ 8 w 208"/>
                    <a:gd name="T19" fmla="*/ 140 h 178"/>
                    <a:gd name="T20" fmla="*/ 17 w 208"/>
                    <a:gd name="T21" fmla="*/ 125 h 178"/>
                    <a:gd name="T22" fmla="*/ 20 w 208"/>
                    <a:gd name="T23" fmla="*/ 124 h 178"/>
                    <a:gd name="T24" fmla="*/ 33 w 208"/>
                    <a:gd name="T25" fmla="*/ 123 h 178"/>
                    <a:gd name="T26" fmla="*/ 39 w 208"/>
                    <a:gd name="T27" fmla="*/ 118 h 178"/>
                    <a:gd name="T28" fmla="*/ 34 w 208"/>
                    <a:gd name="T29" fmla="*/ 113 h 178"/>
                    <a:gd name="T30" fmla="*/ 23 w 208"/>
                    <a:gd name="T31" fmla="*/ 113 h 178"/>
                    <a:gd name="T32" fmla="*/ 31 w 208"/>
                    <a:gd name="T33" fmla="*/ 97 h 178"/>
                    <a:gd name="T34" fmla="*/ 34 w 208"/>
                    <a:gd name="T35" fmla="*/ 96 h 178"/>
                    <a:gd name="T36" fmla="*/ 42 w 208"/>
                    <a:gd name="T37" fmla="*/ 97 h 178"/>
                    <a:gd name="T38" fmla="*/ 49 w 208"/>
                    <a:gd name="T39" fmla="*/ 93 h 178"/>
                    <a:gd name="T40" fmla="*/ 44 w 208"/>
                    <a:gd name="T41" fmla="*/ 87 h 178"/>
                    <a:gd name="T42" fmla="*/ 37 w 208"/>
                    <a:gd name="T43" fmla="*/ 85 h 178"/>
                    <a:gd name="T44" fmla="*/ 44 w 208"/>
                    <a:gd name="T45" fmla="*/ 71 h 178"/>
                    <a:gd name="T46" fmla="*/ 47 w 208"/>
                    <a:gd name="T47" fmla="*/ 70 h 178"/>
                    <a:gd name="T48" fmla="*/ 54 w 208"/>
                    <a:gd name="T49" fmla="*/ 70 h 178"/>
                    <a:gd name="T50" fmla="*/ 59 w 208"/>
                    <a:gd name="T51" fmla="*/ 66 h 178"/>
                    <a:gd name="T52" fmla="*/ 56 w 208"/>
                    <a:gd name="T53" fmla="*/ 61 h 178"/>
                    <a:gd name="T54" fmla="*/ 50 w 208"/>
                    <a:gd name="T55" fmla="*/ 59 h 178"/>
                    <a:gd name="T56" fmla="*/ 74 w 208"/>
                    <a:gd name="T57" fmla="*/ 43 h 178"/>
                    <a:gd name="T58" fmla="*/ 95 w 208"/>
                    <a:gd name="T59" fmla="*/ 46 h 178"/>
                    <a:gd name="T60" fmla="*/ 152 w 208"/>
                    <a:gd name="T61" fmla="*/ 48 h 178"/>
                    <a:gd name="T62" fmla="*/ 173 w 208"/>
                    <a:gd name="T63" fmla="*/ 32 h 178"/>
                    <a:gd name="T64" fmla="*/ 182 w 208"/>
                    <a:gd name="T65" fmla="*/ 0 h 178"/>
                    <a:gd name="T66" fmla="*/ 183 w 208"/>
                    <a:gd name="T67" fmla="*/ 0 h 178"/>
                    <a:gd name="T68" fmla="*/ 206 w 208"/>
                    <a:gd name="T69" fmla="*/ 36 h 178"/>
                    <a:gd name="T70" fmla="*/ 206 w 208"/>
                    <a:gd name="T71" fmla="*/ 46 h 178"/>
                    <a:gd name="T72" fmla="*/ 180 w 208"/>
                    <a:gd name="T73" fmla="*/ 75 h 178"/>
                    <a:gd name="T74" fmla="*/ 97 w 208"/>
                    <a:gd name="T75" fmla="*/ 165 h 178"/>
                    <a:gd name="T76" fmla="*/ 89 w 208"/>
                    <a:gd name="T77" fmla="*/ 178 h 178"/>
                    <a:gd name="T78" fmla="*/ 91 w 208"/>
                    <a:gd name="T79" fmla="*/ 162 h 178"/>
                    <a:gd name="T80" fmla="*/ 99 w 208"/>
                    <a:gd name="T81" fmla="*/ 148 h 178"/>
                    <a:gd name="T82" fmla="*/ 150 w 208"/>
                    <a:gd name="T83" fmla="*/ 70 h 178"/>
                    <a:gd name="T84" fmla="*/ 153 w 208"/>
                    <a:gd name="T85" fmla="*/ 65 h 178"/>
                    <a:gd name="T86" fmla="*/ 148 w 208"/>
                    <a:gd name="T87" fmla="*/ 56 h 178"/>
                    <a:gd name="T88" fmla="*/ 98 w 208"/>
                    <a:gd name="T89" fmla="*/ 52 h 178"/>
                    <a:gd name="T90" fmla="*/ 86 w 208"/>
                    <a:gd name="T91" fmla="*/ 58 h 178"/>
                    <a:gd name="T92" fmla="*/ 83 w 208"/>
                    <a:gd name="T93" fmla="*/ 62 h 178"/>
                    <a:gd name="T94" fmla="*/ 41 w 208"/>
                    <a:gd name="T95" fmla="*/ 142 h 178"/>
                    <a:gd name="T96" fmla="*/ 45 w 208"/>
                    <a:gd name="T97" fmla="*/ 149 h 178"/>
                    <a:gd name="T98" fmla="*/ 57 w 208"/>
                    <a:gd name="T99" fmla="*/ 152 h 178"/>
                    <a:gd name="T100" fmla="*/ 91 w 208"/>
                    <a:gd name="T101" fmla="*/ 162 h 178"/>
                    <a:gd name="T102" fmla="*/ 122 w 208"/>
                    <a:gd name="T103" fmla="*/ 120 h 178"/>
                    <a:gd name="T104" fmla="*/ 123 w 208"/>
                    <a:gd name="T105" fmla="*/ 121 h 178"/>
                    <a:gd name="T106" fmla="*/ 124 w 208"/>
                    <a:gd name="T107" fmla="*/ 120 h 178"/>
                    <a:gd name="T108" fmla="*/ 181 w 208"/>
                    <a:gd name="T109" fmla="*/ 67 h 178"/>
                    <a:gd name="T110" fmla="*/ 199 w 208"/>
                    <a:gd name="T111" fmla="*/ 44 h 178"/>
                    <a:gd name="T112" fmla="*/ 200 w 208"/>
                    <a:gd name="T113" fmla="*/ 38 h 178"/>
                    <a:gd name="T114" fmla="*/ 186 w 208"/>
                    <a:gd name="T115" fmla="*/ 13 h 178"/>
                    <a:gd name="T116" fmla="*/ 163 w 208"/>
                    <a:gd name="T117" fmla="*/ 70 h 178"/>
                    <a:gd name="T118" fmla="*/ 141 w 208"/>
                    <a:gd name="T119" fmla="*/ 95 h 178"/>
                    <a:gd name="T120" fmla="*/ 122 w 208"/>
                    <a:gd name="T121" fmla="*/ 12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08" h="178">
                      <a:moveTo>
                        <a:pt x="89" y="178"/>
                      </a:moveTo>
                      <a:cubicBezTo>
                        <a:pt x="68" y="165"/>
                        <a:pt x="45" y="159"/>
                        <a:pt x="21" y="160"/>
                      </a:cubicBezTo>
                      <a:cubicBezTo>
                        <a:pt x="15" y="160"/>
                        <a:pt x="10" y="162"/>
                        <a:pt x="5" y="158"/>
                      </a:cubicBezTo>
                      <a:cubicBezTo>
                        <a:pt x="3" y="157"/>
                        <a:pt x="2" y="156"/>
                        <a:pt x="0" y="154"/>
                      </a:cubicBezTo>
                      <a:cubicBezTo>
                        <a:pt x="0" y="154"/>
                        <a:pt x="0" y="153"/>
                        <a:pt x="0" y="153"/>
                      </a:cubicBezTo>
                      <a:cubicBezTo>
                        <a:pt x="5" y="152"/>
                        <a:pt x="9" y="152"/>
                        <a:pt x="14" y="151"/>
                      </a:cubicBezTo>
                      <a:cubicBezTo>
                        <a:pt x="16" y="151"/>
                        <a:pt x="19" y="151"/>
                        <a:pt x="21" y="150"/>
                      </a:cubicBezTo>
                      <a:cubicBezTo>
                        <a:pt x="22" y="149"/>
                        <a:pt x="24" y="146"/>
                        <a:pt x="24" y="145"/>
                      </a:cubicBezTo>
                      <a:cubicBezTo>
                        <a:pt x="24" y="143"/>
                        <a:pt x="21" y="141"/>
                        <a:pt x="20" y="141"/>
                      </a:cubicBezTo>
                      <a:cubicBezTo>
                        <a:pt x="16" y="140"/>
                        <a:pt x="13" y="140"/>
                        <a:pt x="8" y="140"/>
                      </a:cubicBezTo>
                      <a:cubicBezTo>
                        <a:pt x="11" y="135"/>
                        <a:pt x="14" y="130"/>
                        <a:pt x="17" y="125"/>
                      </a:cubicBezTo>
                      <a:cubicBezTo>
                        <a:pt x="17" y="124"/>
                        <a:pt x="19" y="124"/>
                        <a:pt x="20" y="124"/>
                      </a:cubicBezTo>
                      <a:cubicBezTo>
                        <a:pt x="24" y="123"/>
                        <a:pt x="29" y="123"/>
                        <a:pt x="33" y="123"/>
                      </a:cubicBezTo>
                      <a:cubicBezTo>
                        <a:pt x="37" y="123"/>
                        <a:pt x="39" y="122"/>
                        <a:pt x="39" y="118"/>
                      </a:cubicBezTo>
                      <a:cubicBezTo>
                        <a:pt x="39" y="115"/>
                        <a:pt x="37" y="113"/>
                        <a:pt x="34" y="113"/>
                      </a:cubicBezTo>
                      <a:cubicBezTo>
                        <a:pt x="31" y="113"/>
                        <a:pt x="27" y="113"/>
                        <a:pt x="23" y="113"/>
                      </a:cubicBezTo>
                      <a:cubicBezTo>
                        <a:pt x="26" y="107"/>
                        <a:pt x="28" y="102"/>
                        <a:pt x="31" y="97"/>
                      </a:cubicBezTo>
                      <a:cubicBezTo>
                        <a:pt x="31" y="97"/>
                        <a:pt x="33" y="96"/>
                        <a:pt x="34" y="96"/>
                      </a:cubicBezTo>
                      <a:cubicBezTo>
                        <a:pt x="37" y="96"/>
                        <a:pt x="40" y="97"/>
                        <a:pt x="42" y="97"/>
                      </a:cubicBezTo>
                      <a:cubicBezTo>
                        <a:pt x="46" y="98"/>
                        <a:pt x="48" y="96"/>
                        <a:pt x="49" y="93"/>
                      </a:cubicBezTo>
                      <a:cubicBezTo>
                        <a:pt x="49" y="90"/>
                        <a:pt x="48" y="87"/>
                        <a:pt x="44" y="87"/>
                      </a:cubicBezTo>
                      <a:cubicBezTo>
                        <a:pt x="42" y="86"/>
                        <a:pt x="39" y="86"/>
                        <a:pt x="37" y="85"/>
                      </a:cubicBezTo>
                      <a:cubicBezTo>
                        <a:pt x="39" y="80"/>
                        <a:pt x="41" y="76"/>
                        <a:pt x="44" y="71"/>
                      </a:cubicBezTo>
                      <a:cubicBezTo>
                        <a:pt x="44" y="70"/>
                        <a:pt x="46" y="70"/>
                        <a:pt x="47" y="70"/>
                      </a:cubicBezTo>
                      <a:cubicBezTo>
                        <a:pt x="50" y="70"/>
                        <a:pt x="52" y="71"/>
                        <a:pt x="54" y="70"/>
                      </a:cubicBezTo>
                      <a:cubicBezTo>
                        <a:pt x="56" y="70"/>
                        <a:pt x="59" y="68"/>
                        <a:pt x="59" y="66"/>
                      </a:cubicBezTo>
                      <a:cubicBezTo>
                        <a:pt x="60" y="65"/>
                        <a:pt x="57" y="62"/>
                        <a:pt x="56" y="61"/>
                      </a:cubicBezTo>
                      <a:cubicBezTo>
                        <a:pt x="54" y="60"/>
                        <a:pt x="52" y="60"/>
                        <a:pt x="50" y="59"/>
                      </a:cubicBezTo>
                      <a:cubicBezTo>
                        <a:pt x="52" y="50"/>
                        <a:pt x="62" y="42"/>
                        <a:pt x="74" y="43"/>
                      </a:cubicBezTo>
                      <a:cubicBezTo>
                        <a:pt x="81" y="43"/>
                        <a:pt x="88" y="44"/>
                        <a:pt x="95" y="46"/>
                      </a:cubicBezTo>
                      <a:cubicBezTo>
                        <a:pt x="114" y="49"/>
                        <a:pt x="133" y="50"/>
                        <a:pt x="152" y="48"/>
                      </a:cubicBezTo>
                      <a:cubicBezTo>
                        <a:pt x="162" y="47"/>
                        <a:pt x="170" y="42"/>
                        <a:pt x="173" y="32"/>
                      </a:cubicBezTo>
                      <a:cubicBezTo>
                        <a:pt x="176" y="21"/>
                        <a:pt x="179" y="11"/>
                        <a:pt x="182" y="0"/>
                      </a:cubicBezTo>
                      <a:cubicBezTo>
                        <a:pt x="182" y="0"/>
                        <a:pt x="183" y="0"/>
                        <a:pt x="183" y="0"/>
                      </a:cubicBezTo>
                      <a:cubicBezTo>
                        <a:pt x="191" y="12"/>
                        <a:pt x="198" y="24"/>
                        <a:pt x="206" y="36"/>
                      </a:cubicBezTo>
                      <a:cubicBezTo>
                        <a:pt x="208" y="39"/>
                        <a:pt x="207" y="42"/>
                        <a:pt x="206" y="46"/>
                      </a:cubicBezTo>
                      <a:cubicBezTo>
                        <a:pt x="200" y="58"/>
                        <a:pt x="190" y="66"/>
                        <a:pt x="180" y="75"/>
                      </a:cubicBezTo>
                      <a:cubicBezTo>
                        <a:pt x="148" y="102"/>
                        <a:pt x="119" y="130"/>
                        <a:pt x="97" y="165"/>
                      </a:cubicBezTo>
                      <a:cubicBezTo>
                        <a:pt x="94" y="169"/>
                        <a:pt x="92" y="174"/>
                        <a:pt x="89" y="178"/>
                      </a:cubicBezTo>
                      <a:close/>
                      <a:moveTo>
                        <a:pt x="91" y="162"/>
                      </a:moveTo>
                      <a:cubicBezTo>
                        <a:pt x="93" y="158"/>
                        <a:pt x="96" y="153"/>
                        <a:pt x="99" y="148"/>
                      </a:cubicBezTo>
                      <a:cubicBezTo>
                        <a:pt x="115" y="121"/>
                        <a:pt x="131" y="94"/>
                        <a:pt x="150" y="70"/>
                      </a:cubicBezTo>
                      <a:cubicBezTo>
                        <a:pt x="151" y="68"/>
                        <a:pt x="152" y="66"/>
                        <a:pt x="153" y="65"/>
                      </a:cubicBezTo>
                      <a:cubicBezTo>
                        <a:pt x="156" y="59"/>
                        <a:pt x="154" y="56"/>
                        <a:pt x="148" y="56"/>
                      </a:cubicBezTo>
                      <a:cubicBezTo>
                        <a:pt x="131" y="55"/>
                        <a:pt x="114" y="54"/>
                        <a:pt x="98" y="52"/>
                      </a:cubicBezTo>
                      <a:cubicBezTo>
                        <a:pt x="91" y="51"/>
                        <a:pt x="88" y="53"/>
                        <a:pt x="86" y="58"/>
                      </a:cubicBezTo>
                      <a:cubicBezTo>
                        <a:pt x="85" y="60"/>
                        <a:pt x="84" y="61"/>
                        <a:pt x="83" y="62"/>
                      </a:cubicBezTo>
                      <a:cubicBezTo>
                        <a:pt x="70" y="89"/>
                        <a:pt x="59" y="117"/>
                        <a:pt x="41" y="142"/>
                      </a:cubicBezTo>
                      <a:cubicBezTo>
                        <a:pt x="38" y="146"/>
                        <a:pt x="40" y="148"/>
                        <a:pt x="45" y="149"/>
                      </a:cubicBezTo>
                      <a:cubicBezTo>
                        <a:pt x="49" y="150"/>
                        <a:pt x="53" y="150"/>
                        <a:pt x="57" y="152"/>
                      </a:cubicBezTo>
                      <a:cubicBezTo>
                        <a:pt x="68" y="155"/>
                        <a:pt x="79" y="158"/>
                        <a:pt x="91" y="162"/>
                      </a:cubicBezTo>
                      <a:close/>
                      <a:moveTo>
                        <a:pt x="122" y="120"/>
                      </a:moveTo>
                      <a:cubicBezTo>
                        <a:pt x="123" y="120"/>
                        <a:pt x="123" y="121"/>
                        <a:pt x="123" y="121"/>
                      </a:cubicBezTo>
                      <a:cubicBezTo>
                        <a:pt x="124" y="121"/>
                        <a:pt x="124" y="121"/>
                        <a:pt x="124" y="120"/>
                      </a:cubicBezTo>
                      <a:cubicBezTo>
                        <a:pt x="140" y="100"/>
                        <a:pt x="160" y="84"/>
                        <a:pt x="181" y="67"/>
                      </a:cubicBezTo>
                      <a:cubicBezTo>
                        <a:pt x="189" y="61"/>
                        <a:pt x="195" y="53"/>
                        <a:pt x="199" y="44"/>
                      </a:cubicBezTo>
                      <a:cubicBezTo>
                        <a:pt x="200" y="42"/>
                        <a:pt x="201" y="40"/>
                        <a:pt x="200" y="38"/>
                      </a:cubicBezTo>
                      <a:cubicBezTo>
                        <a:pt x="196" y="30"/>
                        <a:pt x="191" y="21"/>
                        <a:pt x="186" y="13"/>
                      </a:cubicBezTo>
                      <a:cubicBezTo>
                        <a:pt x="181" y="40"/>
                        <a:pt x="176" y="54"/>
                        <a:pt x="163" y="70"/>
                      </a:cubicBezTo>
                      <a:cubicBezTo>
                        <a:pt x="156" y="79"/>
                        <a:pt x="148" y="86"/>
                        <a:pt x="141" y="95"/>
                      </a:cubicBezTo>
                      <a:cubicBezTo>
                        <a:pt x="134" y="103"/>
                        <a:pt x="129" y="112"/>
                        <a:pt x="122" y="120"/>
                      </a:cubicBezTo>
                      <a:close/>
                    </a:path>
                  </a:pathLst>
                </a:custGeom>
                <a:solidFill>
                  <a:srgbClr val="00196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3" name="Freeform 11">
                  <a:extLst>
                    <a:ext uri="{FF2B5EF4-FFF2-40B4-BE49-F238E27FC236}">
                      <a16:creationId xmlns:a16="http://schemas.microsoft.com/office/drawing/2014/main" xmlns="" id="{85CE9BDC-E6CF-4508-AEB1-6173F4F68D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3" y="1492"/>
                  <a:ext cx="185" cy="216"/>
                </a:xfrm>
                <a:custGeom>
                  <a:avLst/>
                  <a:gdLst>
                    <a:gd name="T0" fmla="*/ 49 w 122"/>
                    <a:gd name="T1" fmla="*/ 84 h 142"/>
                    <a:gd name="T2" fmla="*/ 56 w 122"/>
                    <a:gd name="T3" fmla="*/ 98 h 142"/>
                    <a:gd name="T4" fmla="*/ 55 w 122"/>
                    <a:gd name="T5" fmla="*/ 102 h 142"/>
                    <a:gd name="T6" fmla="*/ 44 w 122"/>
                    <a:gd name="T7" fmla="*/ 110 h 142"/>
                    <a:gd name="T8" fmla="*/ 36 w 122"/>
                    <a:gd name="T9" fmla="*/ 99 h 142"/>
                    <a:gd name="T10" fmla="*/ 36 w 122"/>
                    <a:gd name="T11" fmla="*/ 100 h 142"/>
                    <a:gd name="T12" fmla="*/ 40 w 122"/>
                    <a:gd name="T13" fmla="*/ 113 h 142"/>
                    <a:gd name="T14" fmla="*/ 30 w 122"/>
                    <a:gd name="T15" fmla="*/ 122 h 142"/>
                    <a:gd name="T16" fmla="*/ 23 w 122"/>
                    <a:gd name="T17" fmla="*/ 113 h 142"/>
                    <a:gd name="T18" fmla="*/ 22 w 122"/>
                    <a:gd name="T19" fmla="*/ 113 h 142"/>
                    <a:gd name="T20" fmla="*/ 28 w 122"/>
                    <a:gd name="T21" fmla="*/ 124 h 142"/>
                    <a:gd name="T22" fmla="*/ 17 w 122"/>
                    <a:gd name="T23" fmla="*/ 134 h 142"/>
                    <a:gd name="T24" fmla="*/ 10 w 122"/>
                    <a:gd name="T25" fmla="*/ 128 h 142"/>
                    <a:gd name="T26" fmla="*/ 10 w 122"/>
                    <a:gd name="T27" fmla="*/ 142 h 142"/>
                    <a:gd name="T28" fmla="*/ 1 w 122"/>
                    <a:gd name="T29" fmla="*/ 130 h 142"/>
                    <a:gd name="T30" fmla="*/ 1 w 122"/>
                    <a:gd name="T31" fmla="*/ 125 h 142"/>
                    <a:gd name="T32" fmla="*/ 21 w 122"/>
                    <a:gd name="T33" fmla="*/ 97 h 142"/>
                    <a:gd name="T34" fmla="*/ 86 w 122"/>
                    <a:gd name="T35" fmla="*/ 33 h 142"/>
                    <a:gd name="T36" fmla="*/ 104 w 122"/>
                    <a:gd name="T37" fmla="*/ 17 h 142"/>
                    <a:gd name="T38" fmla="*/ 110 w 122"/>
                    <a:gd name="T39" fmla="*/ 0 h 142"/>
                    <a:gd name="T40" fmla="*/ 115 w 122"/>
                    <a:gd name="T41" fmla="*/ 46 h 142"/>
                    <a:gd name="T42" fmla="*/ 106 w 122"/>
                    <a:gd name="T43" fmla="*/ 36 h 142"/>
                    <a:gd name="T44" fmla="*/ 105 w 122"/>
                    <a:gd name="T45" fmla="*/ 36 h 142"/>
                    <a:gd name="T46" fmla="*/ 105 w 122"/>
                    <a:gd name="T47" fmla="*/ 61 h 142"/>
                    <a:gd name="T48" fmla="*/ 97 w 122"/>
                    <a:gd name="T49" fmla="*/ 50 h 142"/>
                    <a:gd name="T50" fmla="*/ 96 w 122"/>
                    <a:gd name="T51" fmla="*/ 51 h 142"/>
                    <a:gd name="T52" fmla="*/ 101 w 122"/>
                    <a:gd name="T53" fmla="*/ 62 h 142"/>
                    <a:gd name="T54" fmla="*/ 100 w 122"/>
                    <a:gd name="T55" fmla="*/ 67 h 142"/>
                    <a:gd name="T56" fmla="*/ 93 w 122"/>
                    <a:gd name="T57" fmla="*/ 76 h 142"/>
                    <a:gd name="T58" fmla="*/ 81 w 122"/>
                    <a:gd name="T59" fmla="*/ 60 h 142"/>
                    <a:gd name="T60" fmla="*/ 81 w 122"/>
                    <a:gd name="T61" fmla="*/ 60 h 142"/>
                    <a:gd name="T62" fmla="*/ 87 w 122"/>
                    <a:gd name="T63" fmla="*/ 73 h 142"/>
                    <a:gd name="T64" fmla="*/ 85 w 122"/>
                    <a:gd name="T65" fmla="*/ 81 h 142"/>
                    <a:gd name="T66" fmla="*/ 77 w 122"/>
                    <a:gd name="T67" fmla="*/ 87 h 142"/>
                    <a:gd name="T68" fmla="*/ 67 w 122"/>
                    <a:gd name="T69" fmla="*/ 73 h 142"/>
                    <a:gd name="T70" fmla="*/ 66 w 122"/>
                    <a:gd name="T71" fmla="*/ 74 h 142"/>
                    <a:gd name="T72" fmla="*/ 71 w 122"/>
                    <a:gd name="T73" fmla="*/ 83 h 142"/>
                    <a:gd name="T74" fmla="*/ 68 w 122"/>
                    <a:gd name="T75" fmla="*/ 93 h 142"/>
                    <a:gd name="T76" fmla="*/ 60 w 122"/>
                    <a:gd name="T77" fmla="*/ 98 h 142"/>
                    <a:gd name="T78" fmla="*/ 50 w 122"/>
                    <a:gd name="T79" fmla="*/ 84 h 142"/>
                    <a:gd name="T80" fmla="*/ 49 w 122"/>
                    <a:gd name="T81" fmla="*/ 84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2" h="142">
                      <a:moveTo>
                        <a:pt x="49" y="84"/>
                      </a:moveTo>
                      <a:cubicBezTo>
                        <a:pt x="51" y="89"/>
                        <a:pt x="54" y="93"/>
                        <a:pt x="56" y="98"/>
                      </a:cubicBezTo>
                      <a:cubicBezTo>
                        <a:pt x="56" y="99"/>
                        <a:pt x="56" y="101"/>
                        <a:pt x="55" y="102"/>
                      </a:cubicBezTo>
                      <a:cubicBezTo>
                        <a:pt x="51" y="105"/>
                        <a:pt x="48" y="107"/>
                        <a:pt x="44" y="110"/>
                      </a:cubicBezTo>
                      <a:cubicBezTo>
                        <a:pt x="42" y="106"/>
                        <a:pt x="39" y="103"/>
                        <a:pt x="36" y="99"/>
                      </a:cubicBezTo>
                      <a:cubicBezTo>
                        <a:pt x="36" y="100"/>
                        <a:pt x="36" y="100"/>
                        <a:pt x="36" y="100"/>
                      </a:cubicBezTo>
                      <a:cubicBezTo>
                        <a:pt x="37" y="104"/>
                        <a:pt x="43" y="108"/>
                        <a:pt x="40" y="113"/>
                      </a:cubicBezTo>
                      <a:cubicBezTo>
                        <a:pt x="38" y="116"/>
                        <a:pt x="34" y="119"/>
                        <a:pt x="30" y="122"/>
                      </a:cubicBezTo>
                      <a:cubicBezTo>
                        <a:pt x="28" y="119"/>
                        <a:pt x="25" y="116"/>
                        <a:pt x="23" y="113"/>
                      </a:cubicBezTo>
                      <a:cubicBezTo>
                        <a:pt x="23" y="113"/>
                        <a:pt x="22" y="113"/>
                        <a:pt x="22" y="113"/>
                      </a:cubicBezTo>
                      <a:cubicBezTo>
                        <a:pt x="24" y="117"/>
                        <a:pt x="26" y="120"/>
                        <a:pt x="28" y="124"/>
                      </a:cubicBezTo>
                      <a:cubicBezTo>
                        <a:pt x="24" y="127"/>
                        <a:pt x="21" y="131"/>
                        <a:pt x="17" y="134"/>
                      </a:cubicBezTo>
                      <a:cubicBezTo>
                        <a:pt x="15" y="132"/>
                        <a:pt x="13" y="130"/>
                        <a:pt x="10" y="128"/>
                      </a:cubicBezTo>
                      <a:cubicBezTo>
                        <a:pt x="15" y="137"/>
                        <a:pt x="15" y="137"/>
                        <a:pt x="10" y="142"/>
                      </a:cubicBezTo>
                      <a:cubicBezTo>
                        <a:pt x="7" y="138"/>
                        <a:pt x="3" y="134"/>
                        <a:pt x="1" y="130"/>
                      </a:cubicBezTo>
                      <a:cubicBezTo>
                        <a:pt x="0" y="129"/>
                        <a:pt x="0" y="126"/>
                        <a:pt x="1" y="125"/>
                      </a:cubicBezTo>
                      <a:cubicBezTo>
                        <a:pt x="8" y="115"/>
                        <a:pt x="14" y="106"/>
                        <a:pt x="21" y="97"/>
                      </a:cubicBezTo>
                      <a:cubicBezTo>
                        <a:pt x="41" y="74"/>
                        <a:pt x="62" y="52"/>
                        <a:pt x="86" y="33"/>
                      </a:cubicBezTo>
                      <a:cubicBezTo>
                        <a:pt x="92" y="28"/>
                        <a:pt x="98" y="23"/>
                        <a:pt x="104" y="17"/>
                      </a:cubicBezTo>
                      <a:cubicBezTo>
                        <a:pt x="108" y="13"/>
                        <a:pt x="111" y="7"/>
                        <a:pt x="110" y="0"/>
                      </a:cubicBezTo>
                      <a:cubicBezTo>
                        <a:pt x="120" y="15"/>
                        <a:pt x="122" y="31"/>
                        <a:pt x="115" y="46"/>
                      </a:cubicBezTo>
                      <a:cubicBezTo>
                        <a:pt x="112" y="43"/>
                        <a:pt x="109" y="39"/>
                        <a:pt x="106" y="36"/>
                      </a:cubicBezTo>
                      <a:cubicBezTo>
                        <a:pt x="106" y="36"/>
                        <a:pt x="105" y="36"/>
                        <a:pt x="105" y="36"/>
                      </a:cubicBezTo>
                      <a:cubicBezTo>
                        <a:pt x="112" y="45"/>
                        <a:pt x="116" y="54"/>
                        <a:pt x="105" y="61"/>
                      </a:cubicBezTo>
                      <a:cubicBezTo>
                        <a:pt x="102" y="58"/>
                        <a:pt x="100" y="54"/>
                        <a:pt x="97" y="50"/>
                      </a:cubicBezTo>
                      <a:cubicBezTo>
                        <a:pt x="97" y="50"/>
                        <a:pt x="96" y="50"/>
                        <a:pt x="96" y="51"/>
                      </a:cubicBezTo>
                      <a:cubicBezTo>
                        <a:pt x="98" y="54"/>
                        <a:pt x="100" y="58"/>
                        <a:pt x="101" y="62"/>
                      </a:cubicBezTo>
                      <a:cubicBezTo>
                        <a:pt x="103" y="64"/>
                        <a:pt x="102" y="66"/>
                        <a:pt x="100" y="67"/>
                      </a:cubicBezTo>
                      <a:cubicBezTo>
                        <a:pt x="98" y="70"/>
                        <a:pt x="95" y="73"/>
                        <a:pt x="93" y="76"/>
                      </a:cubicBezTo>
                      <a:cubicBezTo>
                        <a:pt x="88" y="70"/>
                        <a:pt x="85" y="65"/>
                        <a:pt x="81" y="60"/>
                      </a:cubicBezTo>
                      <a:cubicBezTo>
                        <a:pt x="81" y="60"/>
                        <a:pt x="81" y="60"/>
                        <a:pt x="81" y="60"/>
                      </a:cubicBezTo>
                      <a:cubicBezTo>
                        <a:pt x="83" y="65"/>
                        <a:pt x="85" y="69"/>
                        <a:pt x="87" y="73"/>
                      </a:cubicBezTo>
                      <a:cubicBezTo>
                        <a:pt x="89" y="76"/>
                        <a:pt x="89" y="79"/>
                        <a:pt x="85" y="81"/>
                      </a:cubicBezTo>
                      <a:cubicBezTo>
                        <a:pt x="82" y="83"/>
                        <a:pt x="79" y="85"/>
                        <a:pt x="77" y="87"/>
                      </a:cubicBezTo>
                      <a:cubicBezTo>
                        <a:pt x="73" y="82"/>
                        <a:pt x="70" y="78"/>
                        <a:pt x="67" y="73"/>
                      </a:cubicBezTo>
                      <a:cubicBezTo>
                        <a:pt x="67" y="73"/>
                        <a:pt x="67" y="73"/>
                        <a:pt x="66" y="74"/>
                      </a:cubicBezTo>
                      <a:cubicBezTo>
                        <a:pt x="68" y="77"/>
                        <a:pt x="69" y="80"/>
                        <a:pt x="71" y="83"/>
                      </a:cubicBezTo>
                      <a:cubicBezTo>
                        <a:pt x="73" y="87"/>
                        <a:pt x="73" y="91"/>
                        <a:pt x="68" y="93"/>
                      </a:cubicBezTo>
                      <a:cubicBezTo>
                        <a:pt x="65" y="94"/>
                        <a:pt x="63" y="96"/>
                        <a:pt x="60" y="98"/>
                      </a:cubicBezTo>
                      <a:cubicBezTo>
                        <a:pt x="57" y="93"/>
                        <a:pt x="53" y="88"/>
                        <a:pt x="50" y="84"/>
                      </a:cubicBezTo>
                      <a:cubicBezTo>
                        <a:pt x="49" y="84"/>
                        <a:pt x="49" y="84"/>
                        <a:pt x="49" y="84"/>
                      </a:cubicBezTo>
                      <a:close/>
                    </a:path>
                  </a:pathLst>
                </a:custGeom>
                <a:solidFill>
                  <a:srgbClr val="009FDA">
                    <a:lumMod val="7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4" name="Freeform 12">
                  <a:extLst>
                    <a:ext uri="{FF2B5EF4-FFF2-40B4-BE49-F238E27FC236}">
                      <a16:creationId xmlns:a16="http://schemas.microsoft.com/office/drawing/2014/main" xmlns="" id="{ABEBA5DC-1347-48DC-B75B-5D84F52DFA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16" y="1421"/>
                  <a:ext cx="138" cy="102"/>
                </a:xfrm>
                <a:custGeom>
                  <a:avLst/>
                  <a:gdLst>
                    <a:gd name="T0" fmla="*/ 91 w 91"/>
                    <a:gd name="T1" fmla="*/ 12 h 67"/>
                    <a:gd name="T2" fmla="*/ 69 w 91"/>
                    <a:gd name="T3" fmla="*/ 40 h 67"/>
                    <a:gd name="T4" fmla="*/ 67 w 91"/>
                    <a:gd name="T5" fmla="*/ 43 h 67"/>
                    <a:gd name="T6" fmla="*/ 49 w 91"/>
                    <a:gd name="T7" fmla="*/ 61 h 67"/>
                    <a:gd name="T8" fmla="*/ 0 w 91"/>
                    <a:gd name="T9" fmla="*/ 67 h 67"/>
                    <a:gd name="T10" fmla="*/ 6 w 91"/>
                    <a:gd name="T11" fmla="*/ 40 h 67"/>
                    <a:gd name="T12" fmla="*/ 10 w 91"/>
                    <a:gd name="T13" fmla="*/ 19 h 67"/>
                    <a:gd name="T14" fmla="*/ 18 w 91"/>
                    <a:gd name="T15" fmla="*/ 11 h 67"/>
                    <a:gd name="T16" fmla="*/ 45 w 91"/>
                    <a:gd name="T17" fmla="*/ 4 h 67"/>
                    <a:gd name="T18" fmla="*/ 91 w 91"/>
                    <a:gd name="T19" fmla="*/ 1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" h="67">
                      <a:moveTo>
                        <a:pt x="91" y="12"/>
                      </a:moveTo>
                      <a:cubicBezTo>
                        <a:pt x="77" y="17"/>
                        <a:pt x="71" y="27"/>
                        <a:pt x="69" y="40"/>
                      </a:cubicBezTo>
                      <a:cubicBezTo>
                        <a:pt x="69" y="41"/>
                        <a:pt x="68" y="42"/>
                        <a:pt x="67" y="43"/>
                      </a:cubicBezTo>
                      <a:cubicBezTo>
                        <a:pt x="58" y="45"/>
                        <a:pt x="52" y="52"/>
                        <a:pt x="49" y="61"/>
                      </a:cubicBezTo>
                      <a:cubicBezTo>
                        <a:pt x="32" y="59"/>
                        <a:pt x="16" y="60"/>
                        <a:pt x="0" y="67"/>
                      </a:cubicBezTo>
                      <a:cubicBezTo>
                        <a:pt x="2" y="58"/>
                        <a:pt x="4" y="49"/>
                        <a:pt x="6" y="40"/>
                      </a:cubicBezTo>
                      <a:cubicBezTo>
                        <a:pt x="8" y="33"/>
                        <a:pt x="9" y="26"/>
                        <a:pt x="10" y="19"/>
                      </a:cubicBezTo>
                      <a:cubicBezTo>
                        <a:pt x="11" y="14"/>
                        <a:pt x="14" y="12"/>
                        <a:pt x="18" y="11"/>
                      </a:cubicBezTo>
                      <a:cubicBezTo>
                        <a:pt x="27" y="8"/>
                        <a:pt x="36" y="6"/>
                        <a:pt x="45" y="4"/>
                      </a:cubicBezTo>
                      <a:cubicBezTo>
                        <a:pt x="61" y="0"/>
                        <a:pt x="76" y="5"/>
                        <a:pt x="91" y="12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5" name="Freeform 13">
                  <a:extLst>
                    <a:ext uri="{FF2B5EF4-FFF2-40B4-BE49-F238E27FC236}">
                      <a16:creationId xmlns:a16="http://schemas.microsoft.com/office/drawing/2014/main" xmlns="" id="{F8B76303-D565-466D-B01B-83925B64B5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" y="1535"/>
                  <a:ext cx="223" cy="217"/>
                </a:xfrm>
                <a:custGeom>
                  <a:avLst/>
                  <a:gdLst>
                    <a:gd name="T0" fmla="*/ 133 w 147"/>
                    <a:gd name="T1" fmla="*/ 0 h 143"/>
                    <a:gd name="T2" fmla="*/ 147 w 147"/>
                    <a:gd name="T3" fmla="*/ 28 h 143"/>
                    <a:gd name="T4" fmla="*/ 144 w 147"/>
                    <a:gd name="T5" fmla="*/ 38 h 143"/>
                    <a:gd name="T6" fmla="*/ 122 w 147"/>
                    <a:gd name="T7" fmla="*/ 63 h 143"/>
                    <a:gd name="T8" fmla="*/ 56 w 147"/>
                    <a:gd name="T9" fmla="*/ 109 h 143"/>
                    <a:gd name="T10" fmla="*/ 19 w 147"/>
                    <a:gd name="T11" fmla="*/ 143 h 143"/>
                    <a:gd name="T12" fmla="*/ 0 w 147"/>
                    <a:gd name="T13" fmla="*/ 119 h 143"/>
                    <a:gd name="T14" fmla="*/ 1 w 147"/>
                    <a:gd name="T15" fmla="*/ 116 h 143"/>
                    <a:gd name="T16" fmla="*/ 5 w 147"/>
                    <a:gd name="T17" fmla="*/ 106 h 143"/>
                    <a:gd name="T18" fmla="*/ 20 w 147"/>
                    <a:gd name="T19" fmla="*/ 123 h 143"/>
                    <a:gd name="T20" fmla="*/ 69 w 147"/>
                    <a:gd name="T21" fmla="*/ 79 h 143"/>
                    <a:gd name="T22" fmla="*/ 109 w 147"/>
                    <a:gd name="T23" fmla="*/ 48 h 143"/>
                    <a:gd name="T24" fmla="*/ 130 w 147"/>
                    <a:gd name="T25" fmla="*/ 21 h 143"/>
                    <a:gd name="T26" fmla="*/ 133 w 147"/>
                    <a:gd name="T27" fmla="*/ 0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" h="143">
                      <a:moveTo>
                        <a:pt x="133" y="0"/>
                      </a:moveTo>
                      <a:cubicBezTo>
                        <a:pt x="141" y="9"/>
                        <a:pt x="144" y="19"/>
                        <a:pt x="147" y="28"/>
                      </a:cubicBezTo>
                      <a:cubicBezTo>
                        <a:pt x="147" y="31"/>
                        <a:pt x="146" y="35"/>
                        <a:pt x="144" y="38"/>
                      </a:cubicBezTo>
                      <a:cubicBezTo>
                        <a:pt x="137" y="46"/>
                        <a:pt x="130" y="55"/>
                        <a:pt x="122" y="63"/>
                      </a:cubicBezTo>
                      <a:cubicBezTo>
                        <a:pt x="102" y="81"/>
                        <a:pt x="79" y="95"/>
                        <a:pt x="56" y="109"/>
                      </a:cubicBezTo>
                      <a:cubicBezTo>
                        <a:pt x="41" y="117"/>
                        <a:pt x="29" y="129"/>
                        <a:pt x="19" y="143"/>
                      </a:cubicBezTo>
                      <a:cubicBezTo>
                        <a:pt x="12" y="135"/>
                        <a:pt x="6" y="127"/>
                        <a:pt x="0" y="119"/>
                      </a:cubicBezTo>
                      <a:cubicBezTo>
                        <a:pt x="0" y="118"/>
                        <a:pt x="0" y="117"/>
                        <a:pt x="1" y="116"/>
                      </a:cubicBezTo>
                      <a:cubicBezTo>
                        <a:pt x="2" y="112"/>
                        <a:pt x="4" y="109"/>
                        <a:pt x="5" y="106"/>
                      </a:cubicBezTo>
                      <a:cubicBezTo>
                        <a:pt x="10" y="112"/>
                        <a:pt x="15" y="117"/>
                        <a:pt x="20" y="123"/>
                      </a:cubicBezTo>
                      <a:cubicBezTo>
                        <a:pt x="34" y="105"/>
                        <a:pt x="52" y="92"/>
                        <a:pt x="69" y="79"/>
                      </a:cubicBezTo>
                      <a:cubicBezTo>
                        <a:pt x="82" y="69"/>
                        <a:pt x="96" y="58"/>
                        <a:pt x="109" y="48"/>
                      </a:cubicBezTo>
                      <a:cubicBezTo>
                        <a:pt x="118" y="40"/>
                        <a:pt x="125" y="31"/>
                        <a:pt x="130" y="21"/>
                      </a:cubicBezTo>
                      <a:cubicBezTo>
                        <a:pt x="133" y="15"/>
                        <a:pt x="135" y="8"/>
                        <a:pt x="133" y="0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6" name="Freeform 15">
                  <a:extLst>
                    <a:ext uri="{FF2B5EF4-FFF2-40B4-BE49-F238E27FC236}">
                      <a16:creationId xmlns:a16="http://schemas.microsoft.com/office/drawing/2014/main" xmlns="" id="{8FF0BCB8-D467-49E0-A257-758E66F193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6" y="1363"/>
                  <a:ext cx="101" cy="91"/>
                </a:xfrm>
                <a:custGeom>
                  <a:avLst/>
                  <a:gdLst>
                    <a:gd name="T0" fmla="*/ 41 w 67"/>
                    <a:gd name="T1" fmla="*/ 0 h 60"/>
                    <a:gd name="T2" fmla="*/ 57 w 67"/>
                    <a:gd name="T3" fmla="*/ 28 h 60"/>
                    <a:gd name="T4" fmla="*/ 64 w 67"/>
                    <a:gd name="T5" fmla="*/ 48 h 60"/>
                    <a:gd name="T6" fmla="*/ 48 w 67"/>
                    <a:gd name="T7" fmla="*/ 59 h 60"/>
                    <a:gd name="T8" fmla="*/ 11 w 67"/>
                    <a:gd name="T9" fmla="*/ 51 h 60"/>
                    <a:gd name="T10" fmla="*/ 0 w 67"/>
                    <a:gd name="T11" fmla="*/ 44 h 60"/>
                    <a:gd name="T12" fmla="*/ 41 w 67"/>
                    <a:gd name="T13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7" h="60">
                      <a:moveTo>
                        <a:pt x="41" y="0"/>
                      </a:moveTo>
                      <a:cubicBezTo>
                        <a:pt x="44" y="11"/>
                        <a:pt x="49" y="20"/>
                        <a:pt x="57" y="28"/>
                      </a:cubicBezTo>
                      <a:cubicBezTo>
                        <a:pt x="63" y="33"/>
                        <a:pt x="67" y="40"/>
                        <a:pt x="64" y="48"/>
                      </a:cubicBezTo>
                      <a:cubicBezTo>
                        <a:pt x="61" y="56"/>
                        <a:pt x="56" y="60"/>
                        <a:pt x="48" y="59"/>
                      </a:cubicBezTo>
                      <a:cubicBezTo>
                        <a:pt x="35" y="57"/>
                        <a:pt x="23" y="54"/>
                        <a:pt x="11" y="51"/>
                      </a:cubicBezTo>
                      <a:cubicBezTo>
                        <a:pt x="7" y="50"/>
                        <a:pt x="3" y="46"/>
                        <a:pt x="0" y="44"/>
                      </a:cubicBezTo>
                      <a:cubicBezTo>
                        <a:pt x="3" y="22"/>
                        <a:pt x="20" y="4"/>
                        <a:pt x="41" y="0"/>
                      </a:cubicBezTo>
                      <a:close/>
                    </a:path>
                  </a:pathLst>
                </a:custGeom>
                <a:solidFill>
                  <a:srgbClr val="009FDA">
                    <a:lumMod val="60000"/>
                    <a:lumOff val="4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7" name="Freeform 18">
                  <a:extLst>
                    <a:ext uri="{FF2B5EF4-FFF2-40B4-BE49-F238E27FC236}">
                      <a16:creationId xmlns:a16="http://schemas.microsoft.com/office/drawing/2014/main" xmlns="" id="{6A3B3D70-5864-40FC-A836-9B213D9675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2" y="1796"/>
                  <a:ext cx="69" cy="52"/>
                </a:xfrm>
                <a:custGeom>
                  <a:avLst/>
                  <a:gdLst>
                    <a:gd name="T0" fmla="*/ 0 w 46"/>
                    <a:gd name="T1" fmla="*/ 9 h 34"/>
                    <a:gd name="T2" fmla="*/ 23 w 46"/>
                    <a:gd name="T3" fmla="*/ 1 h 34"/>
                    <a:gd name="T4" fmla="*/ 27 w 46"/>
                    <a:gd name="T5" fmla="*/ 2 h 34"/>
                    <a:gd name="T6" fmla="*/ 46 w 46"/>
                    <a:gd name="T7" fmla="*/ 23 h 34"/>
                    <a:gd name="T8" fmla="*/ 21 w 46"/>
                    <a:gd name="T9" fmla="*/ 34 h 34"/>
                    <a:gd name="T10" fmla="*/ 0 w 46"/>
                    <a:gd name="T11" fmla="*/ 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34">
                      <a:moveTo>
                        <a:pt x="0" y="9"/>
                      </a:moveTo>
                      <a:cubicBezTo>
                        <a:pt x="8" y="6"/>
                        <a:pt x="16" y="3"/>
                        <a:pt x="23" y="1"/>
                      </a:cubicBezTo>
                      <a:cubicBezTo>
                        <a:pt x="24" y="0"/>
                        <a:pt x="26" y="1"/>
                        <a:pt x="27" y="2"/>
                      </a:cubicBezTo>
                      <a:cubicBezTo>
                        <a:pt x="33" y="9"/>
                        <a:pt x="39" y="16"/>
                        <a:pt x="46" y="23"/>
                      </a:cubicBezTo>
                      <a:cubicBezTo>
                        <a:pt x="38" y="27"/>
                        <a:pt x="29" y="30"/>
                        <a:pt x="21" y="34"/>
                      </a:cubicBezTo>
                      <a:cubicBezTo>
                        <a:pt x="14" y="26"/>
                        <a:pt x="7" y="17"/>
                        <a:pt x="0" y="9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8" name="Freeform 19">
                  <a:extLst>
                    <a:ext uri="{FF2B5EF4-FFF2-40B4-BE49-F238E27FC236}">
                      <a16:creationId xmlns:a16="http://schemas.microsoft.com/office/drawing/2014/main" xmlns="" id="{20D79DCC-EA85-4603-9F7F-84E320C65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4" y="1527"/>
                  <a:ext cx="79" cy="43"/>
                </a:xfrm>
                <a:custGeom>
                  <a:avLst/>
                  <a:gdLst>
                    <a:gd name="T0" fmla="*/ 52 w 52"/>
                    <a:gd name="T1" fmla="*/ 1 h 28"/>
                    <a:gd name="T2" fmla="*/ 45 w 52"/>
                    <a:gd name="T3" fmla="*/ 16 h 28"/>
                    <a:gd name="T4" fmla="*/ 42 w 52"/>
                    <a:gd name="T5" fmla="*/ 17 h 28"/>
                    <a:gd name="T6" fmla="*/ 0 w 52"/>
                    <a:gd name="T7" fmla="*/ 28 h 28"/>
                    <a:gd name="T8" fmla="*/ 4 w 52"/>
                    <a:gd name="T9" fmla="*/ 13 h 28"/>
                    <a:gd name="T10" fmla="*/ 7 w 52"/>
                    <a:gd name="T11" fmla="*/ 10 h 28"/>
                    <a:gd name="T12" fmla="*/ 52 w 52"/>
                    <a:gd name="T13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28">
                      <a:moveTo>
                        <a:pt x="52" y="1"/>
                      </a:moveTo>
                      <a:cubicBezTo>
                        <a:pt x="49" y="6"/>
                        <a:pt x="47" y="11"/>
                        <a:pt x="45" y="16"/>
                      </a:cubicBezTo>
                      <a:cubicBezTo>
                        <a:pt x="44" y="16"/>
                        <a:pt x="43" y="17"/>
                        <a:pt x="42" y="17"/>
                      </a:cubicBezTo>
                      <a:cubicBezTo>
                        <a:pt x="27" y="17"/>
                        <a:pt x="14" y="21"/>
                        <a:pt x="0" y="28"/>
                      </a:cubicBezTo>
                      <a:cubicBezTo>
                        <a:pt x="1" y="22"/>
                        <a:pt x="2" y="18"/>
                        <a:pt x="4" y="13"/>
                      </a:cubicBezTo>
                      <a:cubicBezTo>
                        <a:pt x="4" y="12"/>
                        <a:pt x="5" y="11"/>
                        <a:pt x="7" y="10"/>
                      </a:cubicBezTo>
                      <a:cubicBezTo>
                        <a:pt x="20" y="2"/>
                        <a:pt x="35" y="0"/>
                        <a:pt x="52" y="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89" name="Freeform 20">
                  <a:extLst>
                    <a:ext uri="{FF2B5EF4-FFF2-40B4-BE49-F238E27FC236}">
                      <a16:creationId xmlns:a16="http://schemas.microsoft.com/office/drawing/2014/main" xmlns="" id="{13C3AAB8-E5B7-475F-B74A-B4A989BB41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6" y="1768"/>
                  <a:ext cx="58" cy="54"/>
                </a:xfrm>
                <a:custGeom>
                  <a:avLst/>
                  <a:gdLst>
                    <a:gd name="T0" fmla="*/ 20 w 38"/>
                    <a:gd name="T1" fmla="*/ 36 h 36"/>
                    <a:gd name="T2" fmla="*/ 0 w 38"/>
                    <a:gd name="T3" fmla="*/ 13 h 36"/>
                    <a:gd name="T4" fmla="*/ 19 w 38"/>
                    <a:gd name="T5" fmla="*/ 0 h 36"/>
                    <a:gd name="T6" fmla="*/ 38 w 38"/>
                    <a:gd name="T7" fmla="*/ 22 h 36"/>
                    <a:gd name="T8" fmla="*/ 20 w 38"/>
                    <a:gd name="T9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36">
                      <a:moveTo>
                        <a:pt x="20" y="36"/>
                      </a:moveTo>
                      <a:cubicBezTo>
                        <a:pt x="13" y="28"/>
                        <a:pt x="7" y="21"/>
                        <a:pt x="0" y="13"/>
                      </a:cubicBezTo>
                      <a:cubicBezTo>
                        <a:pt x="6" y="9"/>
                        <a:pt x="12" y="4"/>
                        <a:pt x="19" y="0"/>
                      </a:cubicBezTo>
                      <a:cubicBezTo>
                        <a:pt x="25" y="7"/>
                        <a:pt x="31" y="14"/>
                        <a:pt x="38" y="22"/>
                      </a:cubicBezTo>
                      <a:cubicBezTo>
                        <a:pt x="32" y="26"/>
                        <a:pt x="26" y="31"/>
                        <a:pt x="20" y="36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0" name="Freeform 21">
                  <a:extLst>
                    <a:ext uri="{FF2B5EF4-FFF2-40B4-BE49-F238E27FC236}">
                      <a16:creationId xmlns:a16="http://schemas.microsoft.com/office/drawing/2014/main" xmlns="" id="{FE51E6F4-5B13-4644-B98D-70E4228DF1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" y="1570"/>
                  <a:ext cx="69" cy="41"/>
                </a:xfrm>
                <a:custGeom>
                  <a:avLst/>
                  <a:gdLst>
                    <a:gd name="T0" fmla="*/ 0 w 46"/>
                    <a:gd name="T1" fmla="*/ 27 h 27"/>
                    <a:gd name="T2" fmla="*/ 12 w 46"/>
                    <a:gd name="T3" fmla="*/ 9 h 27"/>
                    <a:gd name="T4" fmla="*/ 46 w 46"/>
                    <a:gd name="T5" fmla="*/ 0 h 27"/>
                    <a:gd name="T6" fmla="*/ 38 w 46"/>
                    <a:gd name="T7" fmla="*/ 16 h 27"/>
                    <a:gd name="T8" fmla="*/ 36 w 46"/>
                    <a:gd name="T9" fmla="*/ 17 h 27"/>
                    <a:gd name="T10" fmla="*/ 0 w 46"/>
                    <a:gd name="T11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27">
                      <a:moveTo>
                        <a:pt x="0" y="27"/>
                      </a:moveTo>
                      <a:cubicBezTo>
                        <a:pt x="1" y="18"/>
                        <a:pt x="4" y="13"/>
                        <a:pt x="12" y="9"/>
                      </a:cubicBezTo>
                      <a:cubicBezTo>
                        <a:pt x="23" y="4"/>
                        <a:pt x="34" y="0"/>
                        <a:pt x="46" y="0"/>
                      </a:cubicBezTo>
                      <a:cubicBezTo>
                        <a:pt x="44" y="6"/>
                        <a:pt x="41" y="11"/>
                        <a:pt x="38" y="16"/>
                      </a:cubicBezTo>
                      <a:cubicBezTo>
                        <a:pt x="38" y="17"/>
                        <a:pt x="37" y="17"/>
                        <a:pt x="36" y="17"/>
                      </a:cubicBezTo>
                      <a:cubicBezTo>
                        <a:pt x="23" y="18"/>
                        <a:pt x="11" y="21"/>
                        <a:pt x="0" y="27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1" name="Freeform 22">
                  <a:extLst>
                    <a:ext uri="{FF2B5EF4-FFF2-40B4-BE49-F238E27FC236}">
                      <a16:creationId xmlns:a16="http://schemas.microsoft.com/office/drawing/2014/main" xmlns="" id="{0A54BE86-CCA3-471C-9C2C-ECD6E32E10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5" y="1733"/>
                  <a:ext cx="43" cy="56"/>
                </a:xfrm>
                <a:custGeom>
                  <a:avLst/>
                  <a:gdLst>
                    <a:gd name="T0" fmla="*/ 0 w 28"/>
                    <a:gd name="T1" fmla="*/ 17 h 37"/>
                    <a:gd name="T2" fmla="*/ 10 w 28"/>
                    <a:gd name="T3" fmla="*/ 0 h 37"/>
                    <a:gd name="T4" fmla="*/ 27 w 28"/>
                    <a:gd name="T5" fmla="*/ 22 h 37"/>
                    <a:gd name="T6" fmla="*/ 27 w 28"/>
                    <a:gd name="T7" fmla="*/ 25 h 37"/>
                    <a:gd name="T8" fmla="*/ 18 w 28"/>
                    <a:gd name="T9" fmla="*/ 37 h 37"/>
                    <a:gd name="T10" fmla="*/ 0 w 28"/>
                    <a:gd name="T11" fmla="*/ 1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37">
                      <a:moveTo>
                        <a:pt x="0" y="17"/>
                      </a:moveTo>
                      <a:cubicBezTo>
                        <a:pt x="3" y="11"/>
                        <a:pt x="6" y="6"/>
                        <a:pt x="10" y="0"/>
                      </a:cubicBezTo>
                      <a:cubicBezTo>
                        <a:pt x="16" y="7"/>
                        <a:pt x="22" y="14"/>
                        <a:pt x="27" y="22"/>
                      </a:cubicBezTo>
                      <a:cubicBezTo>
                        <a:pt x="28" y="22"/>
                        <a:pt x="27" y="24"/>
                        <a:pt x="27" y="25"/>
                      </a:cubicBezTo>
                      <a:cubicBezTo>
                        <a:pt x="24" y="29"/>
                        <a:pt x="21" y="33"/>
                        <a:pt x="18" y="37"/>
                      </a:cubicBezTo>
                      <a:cubicBezTo>
                        <a:pt x="12" y="30"/>
                        <a:pt x="6" y="24"/>
                        <a:pt x="0" y="17"/>
                      </a:cubicBezTo>
                      <a:close/>
                    </a:path>
                  </a:pathLst>
                </a:custGeom>
                <a:solidFill>
                  <a:srgbClr val="009FDA">
                    <a:lumMod val="5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2" name="Freeform 23">
                  <a:extLst>
                    <a:ext uri="{FF2B5EF4-FFF2-40B4-BE49-F238E27FC236}">
                      <a16:creationId xmlns:a16="http://schemas.microsoft.com/office/drawing/2014/main" xmlns="" id="{0650A8A9-D196-4519-85F5-49FB6BEAB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1" y="1515"/>
                  <a:ext cx="109" cy="31"/>
                </a:xfrm>
                <a:custGeom>
                  <a:avLst/>
                  <a:gdLst>
                    <a:gd name="T0" fmla="*/ 49 w 72"/>
                    <a:gd name="T1" fmla="*/ 0 h 20"/>
                    <a:gd name="T2" fmla="*/ 67 w 72"/>
                    <a:gd name="T3" fmla="*/ 2 h 20"/>
                    <a:gd name="T4" fmla="*/ 72 w 72"/>
                    <a:gd name="T5" fmla="*/ 6 h 20"/>
                    <a:gd name="T6" fmla="*/ 66 w 72"/>
                    <a:gd name="T7" fmla="*/ 8 h 20"/>
                    <a:gd name="T8" fmla="*/ 21 w 72"/>
                    <a:gd name="T9" fmla="*/ 10 h 20"/>
                    <a:gd name="T10" fmla="*/ 9 w 72"/>
                    <a:gd name="T11" fmla="*/ 16 h 20"/>
                    <a:gd name="T12" fmla="*/ 2 w 72"/>
                    <a:gd name="T13" fmla="*/ 17 h 20"/>
                    <a:gd name="T14" fmla="*/ 5 w 72"/>
                    <a:gd name="T15" fmla="*/ 10 h 20"/>
                    <a:gd name="T16" fmla="*/ 49 w 72"/>
                    <a:gd name="T1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2" h="20">
                      <a:moveTo>
                        <a:pt x="49" y="0"/>
                      </a:moveTo>
                      <a:cubicBezTo>
                        <a:pt x="53" y="0"/>
                        <a:pt x="60" y="1"/>
                        <a:pt x="67" y="2"/>
                      </a:cubicBezTo>
                      <a:cubicBezTo>
                        <a:pt x="69" y="2"/>
                        <a:pt x="72" y="2"/>
                        <a:pt x="72" y="6"/>
                      </a:cubicBezTo>
                      <a:cubicBezTo>
                        <a:pt x="71" y="10"/>
                        <a:pt x="68" y="9"/>
                        <a:pt x="66" y="8"/>
                      </a:cubicBezTo>
                      <a:cubicBezTo>
                        <a:pt x="51" y="6"/>
                        <a:pt x="36" y="5"/>
                        <a:pt x="21" y="10"/>
                      </a:cubicBezTo>
                      <a:cubicBezTo>
                        <a:pt x="17" y="12"/>
                        <a:pt x="13" y="14"/>
                        <a:pt x="9" y="16"/>
                      </a:cubicBezTo>
                      <a:cubicBezTo>
                        <a:pt x="6" y="17"/>
                        <a:pt x="4" y="20"/>
                        <a:pt x="2" y="17"/>
                      </a:cubicBezTo>
                      <a:cubicBezTo>
                        <a:pt x="0" y="13"/>
                        <a:pt x="3" y="12"/>
                        <a:pt x="5" y="10"/>
                      </a:cubicBezTo>
                      <a:cubicBezTo>
                        <a:pt x="18" y="2"/>
                        <a:pt x="32" y="0"/>
                        <a:pt x="49" y="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3" name="Freeform 24">
                  <a:extLst>
                    <a:ext uri="{FF2B5EF4-FFF2-40B4-BE49-F238E27FC236}">
                      <a16:creationId xmlns:a16="http://schemas.microsoft.com/office/drawing/2014/main" xmlns="" id="{0D3A5683-4FBB-4471-866B-44439C8EAE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0" y="1553"/>
                  <a:ext cx="103" cy="37"/>
                </a:xfrm>
                <a:custGeom>
                  <a:avLst/>
                  <a:gdLst>
                    <a:gd name="T0" fmla="*/ 65 w 68"/>
                    <a:gd name="T1" fmla="*/ 10 h 24"/>
                    <a:gd name="T2" fmla="*/ 26 w 68"/>
                    <a:gd name="T3" fmla="*/ 13 h 24"/>
                    <a:gd name="T4" fmla="*/ 8 w 68"/>
                    <a:gd name="T5" fmla="*/ 22 h 24"/>
                    <a:gd name="T6" fmla="*/ 2 w 68"/>
                    <a:gd name="T7" fmla="*/ 21 h 24"/>
                    <a:gd name="T8" fmla="*/ 4 w 68"/>
                    <a:gd name="T9" fmla="*/ 16 h 24"/>
                    <a:gd name="T10" fmla="*/ 65 w 68"/>
                    <a:gd name="T11" fmla="*/ 4 h 24"/>
                    <a:gd name="T12" fmla="*/ 68 w 68"/>
                    <a:gd name="T13" fmla="*/ 7 h 24"/>
                    <a:gd name="T14" fmla="*/ 65 w 68"/>
                    <a:gd name="T15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8" h="24">
                      <a:moveTo>
                        <a:pt x="65" y="10"/>
                      </a:moveTo>
                      <a:cubicBezTo>
                        <a:pt x="51" y="8"/>
                        <a:pt x="38" y="9"/>
                        <a:pt x="26" y="13"/>
                      </a:cubicBezTo>
                      <a:cubicBezTo>
                        <a:pt x="20" y="15"/>
                        <a:pt x="14" y="19"/>
                        <a:pt x="8" y="22"/>
                      </a:cubicBezTo>
                      <a:cubicBezTo>
                        <a:pt x="6" y="23"/>
                        <a:pt x="3" y="24"/>
                        <a:pt x="2" y="21"/>
                      </a:cubicBezTo>
                      <a:cubicBezTo>
                        <a:pt x="0" y="18"/>
                        <a:pt x="2" y="17"/>
                        <a:pt x="4" y="16"/>
                      </a:cubicBezTo>
                      <a:cubicBezTo>
                        <a:pt x="23" y="4"/>
                        <a:pt x="43" y="0"/>
                        <a:pt x="65" y="4"/>
                      </a:cubicBezTo>
                      <a:cubicBezTo>
                        <a:pt x="66" y="4"/>
                        <a:pt x="68" y="6"/>
                        <a:pt x="68" y="7"/>
                      </a:cubicBezTo>
                      <a:cubicBezTo>
                        <a:pt x="68" y="8"/>
                        <a:pt x="66" y="10"/>
                        <a:pt x="65" y="1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4" name="Freeform 25">
                  <a:extLst>
                    <a:ext uri="{FF2B5EF4-FFF2-40B4-BE49-F238E27FC236}">
                      <a16:creationId xmlns:a16="http://schemas.microsoft.com/office/drawing/2014/main" xmlns="" id="{32DDED3E-E127-46F3-A3CF-938FE9E637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8" y="1612"/>
                  <a:ext cx="61" cy="42"/>
                </a:xfrm>
                <a:custGeom>
                  <a:avLst/>
                  <a:gdLst>
                    <a:gd name="T0" fmla="*/ 40 w 40"/>
                    <a:gd name="T1" fmla="*/ 1 h 27"/>
                    <a:gd name="T2" fmla="*/ 40 w 40"/>
                    <a:gd name="T3" fmla="*/ 3 h 27"/>
                    <a:gd name="T4" fmla="*/ 19 w 40"/>
                    <a:gd name="T5" fmla="*/ 20 h 27"/>
                    <a:gd name="T6" fmla="*/ 10 w 40"/>
                    <a:gd name="T7" fmla="*/ 22 h 27"/>
                    <a:gd name="T8" fmla="*/ 0 w 40"/>
                    <a:gd name="T9" fmla="*/ 27 h 27"/>
                    <a:gd name="T10" fmla="*/ 12 w 40"/>
                    <a:gd name="T11" fmla="*/ 9 h 27"/>
                    <a:gd name="T12" fmla="*/ 39 w 40"/>
                    <a:gd name="T13" fmla="*/ 0 h 27"/>
                    <a:gd name="T14" fmla="*/ 40 w 40"/>
                    <a:gd name="T15" fmla="*/ 1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27">
                      <a:moveTo>
                        <a:pt x="40" y="1"/>
                      </a:moveTo>
                      <a:cubicBezTo>
                        <a:pt x="40" y="2"/>
                        <a:pt x="40" y="2"/>
                        <a:pt x="40" y="3"/>
                      </a:cubicBezTo>
                      <a:cubicBezTo>
                        <a:pt x="36" y="12"/>
                        <a:pt x="31" y="20"/>
                        <a:pt x="19" y="20"/>
                      </a:cubicBezTo>
                      <a:cubicBezTo>
                        <a:pt x="16" y="20"/>
                        <a:pt x="13" y="21"/>
                        <a:pt x="10" y="22"/>
                      </a:cubicBezTo>
                      <a:cubicBezTo>
                        <a:pt x="6" y="24"/>
                        <a:pt x="3" y="25"/>
                        <a:pt x="0" y="27"/>
                      </a:cubicBezTo>
                      <a:cubicBezTo>
                        <a:pt x="2" y="19"/>
                        <a:pt x="4" y="11"/>
                        <a:pt x="12" y="9"/>
                      </a:cubicBezTo>
                      <a:cubicBezTo>
                        <a:pt x="22" y="6"/>
                        <a:pt x="31" y="3"/>
                        <a:pt x="39" y="0"/>
                      </a:cubicBezTo>
                      <a:cubicBezTo>
                        <a:pt x="40" y="0"/>
                        <a:pt x="40" y="1"/>
                        <a:pt x="40" y="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5" name="Freeform 26">
                  <a:extLst>
                    <a:ext uri="{FF2B5EF4-FFF2-40B4-BE49-F238E27FC236}">
                      <a16:creationId xmlns:a16="http://schemas.microsoft.com/office/drawing/2014/main" xmlns="" id="{29CAC16C-F6CE-4DE9-8E7A-64156E4FF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75" y="1597"/>
                  <a:ext cx="103" cy="37"/>
                </a:xfrm>
                <a:custGeom>
                  <a:avLst/>
                  <a:gdLst>
                    <a:gd name="T0" fmla="*/ 59 w 68"/>
                    <a:gd name="T1" fmla="*/ 1 h 24"/>
                    <a:gd name="T2" fmla="*/ 64 w 68"/>
                    <a:gd name="T3" fmla="*/ 1 h 24"/>
                    <a:gd name="T4" fmla="*/ 68 w 68"/>
                    <a:gd name="T5" fmla="*/ 4 h 24"/>
                    <a:gd name="T6" fmla="*/ 63 w 68"/>
                    <a:gd name="T7" fmla="*/ 7 h 24"/>
                    <a:gd name="T8" fmla="*/ 27 w 68"/>
                    <a:gd name="T9" fmla="*/ 12 h 24"/>
                    <a:gd name="T10" fmla="*/ 9 w 68"/>
                    <a:gd name="T11" fmla="*/ 20 h 24"/>
                    <a:gd name="T12" fmla="*/ 2 w 68"/>
                    <a:gd name="T13" fmla="*/ 20 h 24"/>
                    <a:gd name="T14" fmla="*/ 6 w 68"/>
                    <a:gd name="T15" fmla="*/ 14 h 24"/>
                    <a:gd name="T16" fmla="*/ 46 w 68"/>
                    <a:gd name="T17" fmla="*/ 1 h 24"/>
                    <a:gd name="T18" fmla="*/ 59 w 68"/>
                    <a:gd name="T19" fmla="*/ 0 h 24"/>
                    <a:gd name="T20" fmla="*/ 59 w 68"/>
                    <a:gd name="T21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8" h="24">
                      <a:moveTo>
                        <a:pt x="59" y="1"/>
                      </a:moveTo>
                      <a:cubicBezTo>
                        <a:pt x="61" y="1"/>
                        <a:pt x="62" y="0"/>
                        <a:pt x="64" y="1"/>
                      </a:cubicBezTo>
                      <a:cubicBezTo>
                        <a:pt x="65" y="1"/>
                        <a:pt x="67" y="3"/>
                        <a:pt x="68" y="4"/>
                      </a:cubicBezTo>
                      <a:cubicBezTo>
                        <a:pt x="67" y="5"/>
                        <a:pt x="65" y="7"/>
                        <a:pt x="63" y="7"/>
                      </a:cubicBezTo>
                      <a:cubicBezTo>
                        <a:pt x="51" y="9"/>
                        <a:pt x="39" y="10"/>
                        <a:pt x="27" y="12"/>
                      </a:cubicBezTo>
                      <a:cubicBezTo>
                        <a:pt x="21" y="14"/>
                        <a:pt x="15" y="17"/>
                        <a:pt x="9" y="20"/>
                      </a:cubicBezTo>
                      <a:cubicBezTo>
                        <a:pt x="6" y="21"/>
                        <a:pt x="4" y="24"/>
                        <a:pt x="2" y="20"/>
                      </a:cubicBezTo>
                      <a:cubicBezTo>
                        <a:pt x="0" y="17"/>
                        <a:pt x="3" y="16"/>
                        <a:pt x="6" y="14"/>
                      </a:cubicBezTo>
                      <a:cubicBezTo>
                        <a:pt x="18" y="6"/>
                        <a:pt x="32" y="3"/>
                        <a:pt x="46" y="1"/>
                      </a:cubicBezTo>
                      <a:cubicBezTo>
                        <a:pt x="50" y="1"/>
                        <a:pt x="55" y="1"/>
                        <a:pt x="59" y="0"/>
                      </a:cubicBezTo>
                      <a:cubicBezTo>
                        <a:pt x="59" y="0"/>
                        <a:pt x="59" y="0"/>
                        <a:pt x="59" y="1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6" name="Freeform 27">
                  <a:extLst>
                    <a:ext uri="{FF2B5EF4-FFF2-40B4-BE49-F238E27FC236}">
                      <a16:creationId xmlns:a16="http://schemas.microsoft.com/office/drawing/2014/main" xmlns="" id="{FB36308F-4002-4DC2-A886-60AC96B536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60" y="1640"/>
                  <a:ext cx="95" cy="33"/>
                </a:xfrm>
                <a:custGeom>
                  <a:avLst/>
                  <a:gdLst>
                    <a:gd name="T0" fmla="*/ 53 w 63"/>
                    <a:gd name="T1" fmla="*/ 0 h 22"/>
                    <a:gd name="T2" fmla="*/ 59 w 63"/>
                    <a:gd name="T3" fmla="*/ 0 h 22"/>
                    <a:gd name="T4" fmla="*/ 63 w 63"/>
                    <a:gd name="T5" fmla="*/ 3 h 22"/>
                    <a:gd name="T6" fmla="*/ 59 w 63"/>
                    <a:gd name="T7" fmla="*/ 7 h 22"/>
                    <a:gd name="T8" fmla="*/ 44 w 63"/>
                    <a:gd name="T9" fmla="*/ 8 h 22"/>
                    <a:gd name="T10" fmla="*/ 9 w 63"/>
                    <a:gd name="T11" fmla="*/ 21 h 22"/>
                    <a:gd name="T12" fmla="*/ 3 w 63"/>
                    <a:gd name="T13" fmla="*/ 21 h 22"/>
                    <a:gd name="T14" fmla="*/ 5 w 63"/>
                    <a:gd name="T15" fmla="*/ 15 h 22"/>
                    <a:gd name="T16" fmla="*/ 43 w 63"/>
                    <a:gd name="T17" fmla="*/ 1 h 22"/>
                    <a:gd name="T18" fmla="*/ 53 w 63"/>
                    <a:gd name="T19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3" h="22">
                      <a:moveTo>
                        <a:pt x="53" y="0"/>
                      </a:moveTo>
                      <a:cubicBezTo>
                        <a:pt x="56" y="0"/>
                        <a:pt x="57" y="0"/>
                        <a:pt x="59" y="0"/>
                      </a:cubicBezTo>
                      <a:cubicBezTo>
                        <a:pt x="60" y="1"/>
                        <a:pt x="62" y="2"/>
                        <a:pt x="63" y="3"/>
                      </a:cubicBezTo>
                      <a:cubicBezTo>
                        <a:pt x="62" y="4"/>
                        <a:pt x="60" y="6"/>
                        <a:pt x="59" y="7"/>
                      </a:cubicBezTo>
                      <a:cubicBezTo>
                        <a:pt x="54" y="7"/>
                        <a:pt x="49" y="7"/>
                        <a:pt x="44" y="8"/>
                      </a:cubicBezTo>
                      <a:cubicBezTo>
                        <a:pt x="31" y="10"/>
                        <a:pt x="19" y="13"/>
                        <a:pt x="9" y="21"/>
                      </a:cubicBezTo>
                      <a:cubicBezTo>
                        <a:pt x="7" y="22"/>
                        <a:pt x="3" y="22"/>
                        <a:pt x="3" y="21"/>
                      </a:cubicBezTo>
                      <a:cubicBezTo>
                        <a:pt x="0" y="18"/>
                        <a:pt x="3" y="17"/>
                        <a:pt x="5" y="15"/>
                      </a:cubicBezTo>
                      <a:cubicBezTo>
                        <a:pt x="16" y="7"/>
                        <a:pt x="29" y="3"/>
                        <a:pt x="43" y="1"/>
                      </a:cubicBezTo>
                      <a:cubicBezTo>
                        <a:pt x="46" y="1"/>
                        <a:pt x="50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EAAB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7" name="Freeform 28">
                  <a:extLst>
                    <a:ext uri="{FF2B5EF4-FFF2-40B4-BE49-F238E27FC236}">
                      <a16:creationId xmlns:a16="http://schemas.microsoft.com/office/drawing/2014/main" xmlns="" id="{74248277-F074-4FC2-958D-DF44A0734E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66" y="1657"/>
                  <a:ext cx="56" cy="31"/>
                </a:xfrm>
                <a:custGeom>
                  <a:avLst/>
                  <a:gdLst>
                    <a:gd name="T0" fmla="*/ 0 w 37"/>
                    <a:gd name="T1" fmla="*/ 21 h 21"/>
                    <a:gd name="T2" fmla="*/ 9 w 37"/>
                    <a:gd name="T3" fmla="*/ 9 h 21"/>
                    <a:gd name="T4" fmla="*/ 31 w 37"/>
                    <a:gd name="T5" fmla="*/ 0 h 21"/>
                    <a:gd name="T6" fmla="*/ 37 w 37"/>
                    <a:gd name="T7" fmla="*/ 7 h 21"/>
                    <a:gd name="T8" fmla="*/ 0 w 37"/>
                    <a:gd name="T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21">
                      <a:moveTo>
                        <a:pt x="0" y="21"/>
                      </a:moveTo>
                      <a:cubicBezTo>
                        <a:pt x="0" y="16"/>
                        <a:pt x="3" y="12"/>
                        <a:pt x="9" y="9"/>
                      </a:cubicBezTo>
                      <a:cubicBezTo>
                        <a:pt x="16" y="6"/>
                        <a:pt x="23" y="3"/>
                        <a:pt x="31" y="0"/>
                      </a:cubicBezTo>
                      <a:cubicBezTo>
                        <a:pt x="33" y="3"/>
                        <a:pt x="36" y="6"/>
                        <a:pt x="37" y="7"/>
                      </a:cubicBezTo>
                      <a:cubicBezTo>
                        <a:pt x="25" y="12"/>
                        <a:pt x="12" y="16"/>
                        <a:pt x="0" y="21"/>
                      </a:cubicBezTo>
                      <a:close/>
                    </a:path>
                  </a:pathLst>
                </a:custGeom>
                <a:solidFill>
                  <a:srgbClr val="009FDA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8" name="Freeform 31">
                  <a:extLst>
                    <a:ext uri="{FF2B5EF4-FFF2-40B4-BE49-F238E27FC236}">
                      <a16:creationId xmlns:a16="http://schemas.microsoft.com/office/drawing/2014/main" xmlns="" id="{2583FE6F-BF73-4366-9106-FB1392B7D3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79" y="1501"/>
                  <a:ext cx="179" cy="169"/>
                </a:xfrm>
                <a:custGeom>
                  <a:avLst/>
                  <a:gdLst>
                    <a:gd name="T0" fmla="*/ 53 w 118"/>
                    <a:gd name="T1" fmla="*/ 111 h 111"/>
                    <a:gd name="T2" fmla="*/ 19 w 118"/>
                    <a:gd name="T3" fmla="*/ 101 h 111"/>
                    <a:gd name="T4" fmla="*/ 7 w 118"/>
                    <a:gd name="T5" fmla="*/ 98 h 111"/>
                    <a:gd name="T6" fmla="*/ 3 w 118"/>
                    <a:gd name="T7" fmla="*/ 91 h 111"/>
                    <a:gd name="T8" fmla="*/ 45 w 118"/>
                    <a:gd name="T9" fmla="*/ 11 h 111"/>
                    <a:gd name="T10" fmla="*/ 48 w 118"/>
                    <a:gd name="T11" fmla="*/ 7 h 111"/>
                    <a:gd name="T12" fmla="*/ 60 w 118"/>
                    <a:gd name="T13" fmla="*/ 1 h 111"/>
                    <a:gd name="T14" fmla="*/ 110 w 118"/>
                    <a:gd name="T15" fmla="*/ 5 h 111"/>
                    <a:gd name="T16" fmla="*/ 115 w 118"/>
                    <a:gd name="T17" fmla="*/ 14 h 111"/>
                    <a:gd name="T18" fmla="*/ 112 w 118"/>
                    <a:gd name="T19" fmla="*/ 19 h 111"/>
                    <a:gd name="T20" fmla="*/ 61 w 118"/>
                    <a:gd name="T21" fmla="*/ 97 h 111"/>
                    <a:gd name="T22" fmla="*/ 53 w 118"/>
                    <a:gd name="T23" fmla="*/ 111 h 111"/>
                    <a:gd name="T24" fmla="*/ 59 w 118"/>
                    <a:gd name="T25" fmla="*/ 14 h 111"/>
                    <a:gd name="T26" fmla="*/ 63 w 118"/>
                    <a:gd name="T27" fmla="*/ 28 h 111"/>
                    <a:gd name="T28" fmla="*/ 54 w 118"/>
                    <a:gd name="T29" fmla="*/ 49 h 111"/>
                    <a:gd name="T30" fmla="*/ 49 w 118"/>
                    <a:gd name="T31" fmla="*/ 99 h 111"/>
                    <a:gd name="T32" fmla="*/ 49 w 118"/>
                    <a:gd name="T33" fmla="*/ 97 h 111"/>
                    <a:gd name="T34" fmla="*/ 59 w 118"/>
                    <a:gd name="T35" fmla="*/ 55 h 111"/>
                    <a:gd name="T36" fmla="*/ 66 w 118"/>
                    <a:gd name="T37" fmla="*/ 42 h 111"/>
                    <a:gd name="T38" fmla="*/ 59 w 118"/>
                    <a:gd name="T39" fmla="*/ 14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8" h="111">
                      <a:moveTo>
                        <a:pt x="53" y="111"/>
                      </a:moveTo>
                      <a:cubicBezTo>
                        <a:pt x="41" y="107"/>
                        <a:pt x="30" y="104"/>
                        <a:pt x="19" y="101"/>
                      </a:cubicBezTo>
                      <a:cubicBezTo>
                        <a:pt x="15" y="99"/>
                        <a:pt x="11" y="99"/>
                        <a:pt x="7" y="98"/>
                      </a:cubicBezTo>
                      <a:cubicBezTo>
                        <a:pt x="2" y="97"/>
                        <a:pt x="0" y="95"/>
                        <a:pt x="3" y="91"/>
                      </a:cubicBezTo>
                      <a:cubicBezTo>
                        <a:pt x="21" y="66"/>
                        <a:pt x="32" y="38"/>
                        <a:pt x="45" y="11"/>
                      </a:cubicBezTo>
                      <a:cubicBezTo>
                        <a:pt x="46" y="10"/>
                        <a:pt x="47" y="9"/>
                        <a:pt x="48" y="7"/>
                      </a:cubicBezTo>
                      <a:cubicBezTo>
                        <a:pt x="50" y="2"/>
                        <a:pt x="53" y="0"/>
                        <a:pt x="60" y="1"/>
                      </a:cubicBezTo>
                      <a:cubicBezTo>
                        <a:pt x="76" y="3"/>
                        <a:pt x="93" y="4"/>
                        <a:pt x="110" y="5"/>
                      </a:cubicBezTo>
                      <a:cubicBezTo>
                        <a:pt x="116" y="5"/>
                        <a:pt x="118" y="8"/>
                        <a:pt x="115" y="14"/>
                      </a:cubicBezTo>
                      <a:cubicBezTo>
                        <a:pt x="114" y="15"/>
                        <a:pt x="113" y="17"/>
                        <a:pt x="112" y="19"/>
                      </a:cubicBezTo>
                      <a:cubicBezTo>
                        <a:pt x="93" y="43"/>
                        <a:pt x="77" y="70"/>
                        <a:pt x="61" y="97"/>
                      </a:cubicBezTo>
                      <a:cubicBezTo>
                        <a:pt x="58" y="102"/>
                        <a:pt x="55" y="107"/>
                        <a:pt x="53" y="111"/>
                      </a:cubicBezTo>
                      <a:close/>
                      <a:moveTo>
                        <a:pt x="59" y="14"/>
                      </a:moveTo>
                      <a:cubicBezTo>
                        <a:pt x="60" y="18"/>
                        <a:pt x="62" y="23"/>
                        <a:pt x="63" y="28"/>
                      </a:cubicBezTo>
                      <a:cubicBezTo>
                        <a:pt x="64" y="36"/>
                        <a:pt x="59" y="43"/>
                        <a:pt x="54" y="49"/>
                      </a:cubicBezTo>
                      <a:cubicBezTo>
                        <a:pt x="43" y="63"/>
                        <a:pt x="43" y="85"/>
                        <a:pt x="49" y="99"/>
                      </a:cubicBezTo>
                      <a:cubicBezTo>
                        <a:pt x="49" y="98"/>
                        <a:pt x="49" y="98"/>
                        <a:pt x="49" y="97"/>
                      </a:cubicBezTo>
                      <a:cubicBezTo>
                        <a:pt x="46" y="82"/>
                        <a:pt x="51" y="68"/>
                        <a:pt x="59" y="55"/>
                      </a:cubicBezTo>
                      <a:cubicBezTo>
                        <a:pt x="61" y="51"/>
                        <a:pt x="64" y="46"/>
                        <a:pt x="66" y="42"/>
                      </a:cubicBezTo>
                      <a:cubicBezTo>
                        <a:pt x="71" y="31"/>
                        <a:pt x="68" y="20"/>
                        <a:pt x="59" y="1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299" name="Freeform 32">
                  <a:extLst>
                    <a:ext uri="{FF2B5EF4-FFF2-40B4-BE49-F238E27FC236}">
                      <a16:creationId xmlns:a16="http://schemas.microsoft.com/office/drawing/2014/main" xmlns="" id="{0646C6C8-4FCB-4EEB-A40E-0A10DE76A1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7" y="1444"/>
                  <a:ext cx="119" cy="164"/>
                </a:xfrm>
                <a:custGeom>
                  <a:avLst/>
                  <a:gdLst>
                    <a:gd name="T0" fmla="*/ 0 w 79"/>
                    <a:gd name="T1" fmla="*/ 107 h 108"/>
                    <a:gd name="T2" fmla="*/ 19 w 79"/>
                    <a:gd name="T3" fmla="*/ 82 h 108"/>
                    <a:gd name="T4" fmla="*/ 41 w 79"/>
                    <a:gd name="T5" fmla="*/ 57 h 108"/>
                    <a:gd name="T6" fmla="*/ 64 w 79"/>
                    <a:gd name="T7" fmla="*/ 0 h 108"/>
                    <a:gd name="T8" fmla="*/ 78 w 79"/>
                    <a:gd name="T9" fmla="*/ 25 h 108"/>
                    <a:gd name="T10" fmla="*/ 77 w 79"/>
                    <a:gd name="T11" fmla="*/ 31 h 108"/>
                    <a:gd name="T12" fmla="*/ 59 w 79"/>
                    <a:gd name="T13" fmla="*/ 54 h 108"/>
                    <a:gd name="T14" fmla="*/ 2 w 79"/>
                    <a:gd name="T15" fmla="*/ 107 h 108"/>
                    <a:gd name="T16" fmla="*/ 1 w 79"/>
                    <a:gd name="T17" fmla="*/ 108 h 108"/>
                    <a:gd name="T18" fmla="*/ 0 w 79"/>
                    <a:gd name="T19" fmla="*/ 107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9" h="108">
                      <a:moveTo>
                        <a:pt x="0" y="107"/>
                      </a:moveTo>
                      <a:cubicBezTo>
                        <a:pt x="7" y="99"/>
                        <a:pt x="12" y="90"/>
                        <a:pt x="19" y="82"/>
                      </a:cubicBezTo>
                      <a:cubicBezTo>
                        <a:pt x="26" y="73"/>
                        <a:pt x="34" y="66"/>
                        <a:pt x="41" y="57"/>
                      </a:cubicBezTo>
                      <a:cubicBezTo>
                        <a:pt x="54" y="41"/>
                        <a:pt x="59" y="27"/>
                        <a:pt x="64" y="0"/>
                      </a:cubicBezTo>
                      <a:cubicBezTo>
                        <a:pt x="69" y="8"/>
                        <a:pt x="74" y="17"/>
                        <a:pt x="78" y="25"/>
                      </a:cubicBezTo>
                      <a:cubicBezTo>
                        <a:pt x="79" y="27"/>
                        <a:pt x="78" y="29"/>
                        <a:pt x="77" y="31"/>
                      </a:cubicBezTo>
                      <a:cubicBezTo>
                        <a:pt x="73" y="40"/>
                        <a:pt x="67" y="48"/>
                        <a:pt x="59" y="54"/>
                      </a:cubicBezTo>
                      <a:cubicBezTo>
                        <a:pt x="38" y="71"/>
                        <a:pt x="18" y="87"/>
                        <a:pt x="2" y="107"/>
                      </a:cubicBezTo>
                      <a:cubicBezTo>
                        <a:pt x="2" y="108"/>
                        <a:pt x="2" y="108"/>
                        <a:pt x="1" y="108"/>
                      </a:cubicBezTo>
                      <a:cubicBezTo>
                        <a:pt x="1" y="108"/>
                        <a:pt x="1" y="107"/>
                        <a:pt x="0" y="10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  <p:sp>
              <p:nvSpPr>
                <p:cNvPr id="300" name="Freeform 33">
                  <a:extLst>
                    <a:ext uri="{FF2B5EF4-FFF2-40B4-BE49-F238E27FC236}">
                      <a16:creationId xmlns:a16="http://schemas.microsoft.com/office/drawing/2014/main" xmlns="" id="{19801B3A-D88B-4C9B-A9FD-C7B9CE145C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5" y="1523"/>
                  <a:ext cx="42" cy="129"/>
                </a:xfrm>
                <a:custGeom>
                  <a:avLst/>
                  <a:gdLst>
                    <a:gd name="T0" fmla="*/ 16 w 28"/>
                    <a:gd name="T1" fmla="*/ 0 h 85"/>
                    <a:gd name="T2" fmla="*/ 23 w 28"/>
                    <a:gd name="T3" fmla="*/ 28 h 85"/>
                    <a:gd name="T4" fmla="*/ 16 w 28"/>
                    <a:gd name="T5" fmla="*/ 41 h 85"/>
                    <a:gd name="T6" fmla="*/ 6 w 28"/>
                    <a:gd name="T7" fmla="*/ 83 h 85"/>
                    <a:gd name="T8" fmla="*/ 6 w 28"/>
                    <a:gd name="T9" fmla="*/ 85 h 85"/>
                    <a:gd name="T10" fmla="*/ 11 w 28"/>
                    <a:gd name="T11" fmla="*/ 35 h 85"/>
                    <a:gd name="T12" fmla="*/ 20 w 28"/>
                    <a:gd name="T13" fmla="*/ 14 h 85"/>
                    <a:gd name="T14" fmla="*/ 16 w 28"/>
                    <a:gd name="T15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8" h="85">
                      <a:moveTo>
                        <a:pt x="16" y="0"/>
                      </a:moveTo>
                      <a:cubicBezTo>
                        <a:pt x="25" y="6"/>
                        <a:pt x="28" y="17"/>
                        <a:pt x="23" y="28"/>
                      </a:cubicBezTo>
                      <a:cubicBezTo>
                        <a:pt x="21" y="32"/>
                        <a:pt x="18" y="37"/>
                        <a:pt x="16" y="41"/>
                      </a:cubicBezTo>
                      <a:cubicBezTo>
                        <a:pt x="8" y="54"/>
                        <a:pt x="3" y="68"/>
                        <a:pt x="6" y="83"/>
                      </a:cubicBezTo>
                      <a:cubicBezTo>
                        <a:pt x="6" y="84"/>
                        <a:pt x="6" y="84"/>
                        <a:pt x="6" y="85"/>
                      </a:cubicBezTo>
                      <a:cubicBezTo>
                        <a:pt x="0" y="71"/>
                        <a:pt x="0" y="49"/>
                        <a:pt x="11" y="35"/>
                      </a:cubicBezTo>
                      <a:cubicBezTo>
                        <a:pt x="16" y="29"/>
                        <a:pt x="21" y="22"/>
                        <a:pt x="20" y="14"/>
                      </a:cubicBezTo>
                      <a:cubicBezTo>
                        <a:pt x="19" y="9"/>
                        <a:pt x="17" y="4"/>
                        <a:pt x="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70">
                    <a:defRPr/>
                  </a:pPr>
                  <a:endParaRPr lang="en-US" sz="2400" kern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xmlns="" id="{EF1B2707-C61C-4244-9278-1815A1DB3434}"/>
                </a:ext>
              </a:extLst>
            </p:cNvPr>
            <p:cNvGrpSpPr/>
            <p:nvPr/>
          </p:nvGrpSpPr>
          <p:grpSpPr>
            <a:xfrm>
              <a:off x="630845" y="2130462"/>
              <a:ext cx="539726" cy="571337"/>
              <a:chOff x="9529601" y="402010"/>
              <a:chExt cx="2000250" cy="2117401"/>
            </a:xfrm>
          </p:grpSpPr>
          <p:pic>
            <p:nvPicPr>
              <p:cNvPr id="274" name="Picture 273">
                <a:extLst>
                  <a:ext uri="{FF2B5EF4-FFF2-40B4-BE49-F238E27FC236}">
                    <a16:creationId xmlns:a16="http://schemas.microsoft.com/office/drawing/2014/main" xmlns="" id="{27002D70-9C08-4609-A0FB-F510AEF2E9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81165" b="57219"/>
              <a:stretch/>
            </p:blipFill>
            <p:spPr>
              <a:xfrm>
                <a:off x="10272390" y="402010"/>
                <a:ext cx="890749" cy="1593243"/>
              </a:xfrm>
              <a:prstGeom prst="rect">
                <a:avLst/>
              </a:prstGeom>
            </p:spPr>
          </p:pic>
          <p:pic>
            <p:nvPicPr>
              <p:cNvPr id="275" name="Picture 274">
                <a:extLst>
                  <a:ext uri="{FF2B5EF4-FFF2-40B4-BE49-F238E27FC236}">
                    <a16:creationId xmlns:a16="http://schemas.microsoft.com/office/drawing/2014/main" xmlns="" id="{F7BAAE48-7310-4C7E-8B5E-689AAFE98C3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3960" t="69976" r="33745" b="1875"/>
              <a:stretch/>
            </p:blipFill>
            <p:spPr>
              <a:xfrm>
                <a:off x="9529601" y="1471096"/>
                <a:ext cx="2000250" cy="1048315"/>
              </a:xfrm>
              <a:prstGeom prst="rect">
                <a:avLst/>
              </a:prstGeom>
            </p:spPr>
          </p:pic>
        </p:grpSp>
      </p:grpSp>
      <p:grpSp>
        <p:nvGrpSpPr>
          <p:cNvPr id="326" name="Group 63">
            <a:extLst>
              <a:ext uri="{FF2B5EF4-FFF2-40B4-BE49-F238E27FC236}">
                <a16:creationId xmlns:a16="http://schemas.microsoft.com/office/drawing/2014/main" xmlns="" id="{451A182A-78F9-446D-A3FE-526AA8CBB4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26791" y="4535950"/>
            <a:ext cx="521364" cy="553997"/>
            <a:chOff x="1496" y="154"/>
            <a:chExt cx="2748" cy="2920"/>
          </a:xfrm>
        </p:grpSpPr>
        <p:sp>
          <p:nvSpPr>
            <p:cNvPr id="327" name="Freeform 64">
              <a:extLst>
                <a:ext uri="{FF2B5EF4-FFF2-40B4-BE49-F238E27FC236}">
                  <a16:creationId xmlns:a16="http://schemas.microsoft.com/office/drawing/2014/main" xmlns="" id="{8CE23C2E-B290-4FBB-A348-816EE091C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6" y="772"/>
              <a:ext cx="1816" cy="2302"/>
            </a:xfrm>
            <a:custGeom>
              <a:avLst/>
              <a:gdLst>
                <a:gd name="T0" fmla="*/ 980 w 1209"/>
                <a:gd name="T1" fmla="*/ 1534 h 1534"/>
                <a:gd name="T2" fmla="*/ 468 w 1209"/>
                <a:gd name="T3" fmla="*/ 1534 h 1534"/>
                <a:gd name="T4" fmla="*/ 468 w 1209"/>
                <a:gd name="T5" fmla="*/ 1512 h 1534"/>
                <a:gd name="T6" fmla="*/ 464 w 1209"/>
                <a:gd name="T7" fmla="*/ 1285 h 1534"/>
                <a:gd name="T8" fmla="*/ 377 w 1209"/>
                <a:gd name="T9" fmla="*/ 1199 h 1534"/>
                <a:gd name="T10" fmla="*/ 237 w 1209"/>
                <a:gd name="T11" fmla="*/ 1201 h 1534"/>
                <a:gd name="T12" fmla="*/ 166 w 1209"/>
                <a:gd name="T13" fmla="*/ 1194 h 1534"/>
                <a:gd name="T14" fmla="*/ 119 w 1209"/>
                <a:gd name="T15" fmla="*/ 1114 h 1534"/>
                <a:gd name="T16" fmla="*/ 118 w 1209"/>
                <a:gd name="T17" fmla="*/ 1059 h 1534"/>
                <a:gd name="T18" fmla="*/ 135 w 1209"/>
                <a:gd name="T19" fmla="*/ 1007 h 1534"/>
                <a:gd name="T20" fmla="*/ 125 w 1209"/>
                <a:gd name="T21" fmla="*/ 1001 h 1534"/>
                <a:gd name="T22" fmla="*/ 105 w 1209"/>
                <a:gd name="T23" fmla="*/ 959 h 1534"/>
                <a:gd name="T24" fmla="*/ 63 w 1209"/>
                <a:gd name="T25" fmla="*/ 871 h 1534"/>
                <a:gd name="T26" fmla="*/ 32 w 1209"/>
                <a:gd name="T27" fmla="*/ 774 h 1534"/>
                <a:gd name="T28" fmla="*/ 74 w 1209"/>
                <a:gd name="T29" fmla="*/ 709 h 1534"/>
                <a:gd name="T30" fmla="*/ 119 w 1209"/>
                <a:gd name="T31" fmla="*/ 567 h 1534"/>
                <a:gd name="T32" fmla="*/ 116 w 1209"/>
                <a:gd name="T33" fmla="*/ 461 h 1534"/>
                <a:gd name="T34" fmla="*/ 339 w 1209"/>
                <a:gd name="T35" fmla="*/ 79 h 1534"/>
                <a:gd name="T36" fmla="*/ 627 w 1209"/>
                <a:gd name="T37" fmla="*/ 0 h 1534"/>
                <a:gd name="T38" fmla="*/ 637 w 1209"/>
                <a:gd name="T39" fmla="*/ 0 h 1534"/>
                <a:gd name="T40" fmla="*/ 640 w 1209"/>
                <a:gd name="T41" fmla="*/ 2 h 1534"/>
                <a:gd name="T42" fmla="*/ 609 w 1209"/>
                <a:gd name="T43" fmla="*/ 38 h 1534"/>
                <a:gd name="T44" fmla="*/ 556 w 1209"/>
                <a:gd name="T45" fmla="*/ 38 h 1534"/>
                <a:gd name="T46" fmla="*/ 490 w 1209"/>
                <a:gd name="T47" fmla="*/ 91 h 1534"/>
                <a:gd name="T48" fmla="*/ 464 w 1209"/>
                <a:gd name="T49" fmla="*/ 154 h 1534"/>
                <a:gd name="T50" fmla="*/ 494 w 1209"/>
                <a:gd name="T51" fmla="*/ 262 h 1534"/>
                <a:gd name="T52" fmla="*/ 494 w 1209"/>
                <a:gd name="T53" fmla="*/ 336 h 1534"/>
                <a:gd name="T54" fmla="*/ 465 w 1209"/>
                <a:gd name="T55" fmla="*/ 448 h 1534"/>
                <a:gd name="T56" fmla="*/ 489 w 1209"/>
                <a:gd name="T57" fmla="*/ 505 h 1534"/>
                <a:gd name="T58" fmla="*/ 589 w 1209"/>
                <a:gd name="T59" fmla="*/ 563 h 1534"/>
                <a:gd name="T60" fmla="*/ 595 w 1209"/>
                <a:gd name="T61" fmla="*/ 562 h 1534"/>
                <a:gd name="T62" fmla="*/ 641 w 1209"/>
                <a:gd name="T63" fmla="*/ 609 h 1534"/>
                <a:gd name="T64" fmla="*/ 700 w 1209"/>
                <a:gd name="T65" fmla="*/ 715 h 1534"/>
                <a:gd name="T66" fmla="*/ 755 w 1209"/>
                <a:gd name="T67" fmla="*/ 738 h 1534"/>
                <a:gd name="T68" fmla="*/ 867 w 1209"/>
                <a:gd name="T69" fmla="*/ 708 h 1534"/>
                <a:gd name="T70" fmla="*/ 940 w 1209"/>
                <a:gd name="T71" fmla="*/ 708 h 1534"/>
                <a:gd name="T72" fmla="*/ 1054 w 1209"/>
                <a:gd name="T73" fmla="*/ 737 h 1534"/>
                <a:gd name="T74" fmla="*/ 1111 w 1209"/>
                <a:gd name="T75" fmla="*/ 714 h 1534"/>
                <a:gd name="T76" fmla="*/ 1167 w 1209"/>
                <a:gd name="T77" fmla="*/ 611 h 1534"/>
                <a:gd name="T78" fmla="*/ 1166 w 1209"/>
                <a:gd name="T79" fmla="*/ 583 h 1534"/>
                <a:gd name="T80" fmla="*/ 1201 w 1209"/>
                <a:gd name="T81" fmla="*/ 561 h 1534"/>
                <a:gd name="T82" fmla="*/ 1208 w 1209"/>
                <a:gd name="T83" fmla="*/ 581 h 1534"/>
                <a:gd name="T84" fmla="*/ 1172 w 1209"/>
                <a:gd name="T85" fmla="*/ 746 h 1534"/>
                <a:gd name="T86" fmla="*/ 1003 w 1209"/>
                <a:gd name="T87" fmla="*/ 1084 h 1534"/>
                <a:gd name="T88" fmla="*/ 945 w 1209"/>
                <a:gd name="T89" fmla="*/ 1319 h 1534"/>
                <a:gd name="T90" fmla="*/ 980 w 1209"/>
                <a:gd name="T91" fmla="*/ 1534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09" h="1534">
                  <a:moveTo>
                    <a:pt x="980" y="1534"/>
                  </a:moveTo>
                  <a:cubicBezTo>
                    <a:pt x="809" y="1534"/>
                    <a:pt x="640" y="1534"/>
                    <a:pt x="468" y="1534"/>
                  </a:cubicBezTo>
                  <a:cubicBezTo>
                    <a:pt x="468" y="1526"/>
                    <a:pt x="468" y="1519"/>
                    <a:pt x="468" y="1512"/>
                  </a:cubicBezTo>
                  <a:cubicBezTo>
                    <a:pt x="467" y="1436"/>
                    <a:pt x="466" y="1361"/>
                    <a:pt x="464" y="1285"/>
                  </a:cubicBezTo>
                  <a:cubicBezTo>
                    <a:pt x="462" y="1225"/>
                    <a:pt x="436" y="1200"/>
                    <a:pt x="377" y="1199"/>
                  </a:cubicBezTo>
                  <a:cubicBezTo>
                    <a:pt x="330" y="1198"/>
                    <a:pt x="283" y="1201"/>
                    <a:pt x="237" y="1201"/>
                  </a:cubicBezTo>
                  <a:cubicBezTo>
                    <a:pt x="213" y="1201"/>
                    <a:pt x="189" y="1199"/>
                    <a:pt x="166" y="1194"/>
                  </a:cubicBezTo>
                  <a:cubicBezTo>
                    <a:pt x="125" y="1185"/>
                    <a:pt x="108" y="1155"/>
                    <a:pt x="119" y="1114"/>
                  </a:cubicBezTo>
                  <a:cubicBezTo>
                    <a:pt x="124" y="1095"/>
                    <a:pt x="125" y="1078"/>
                    <a:pt x="118" y="1059"/>
                  </a:cubicBezTo>
                  <a:cubicBezTo>
                    <a:pt x="106" y="1028"/>
                    <a:pt x="108" y="1025"/>
                    <a:pt x="135" y="1007"/>
                  </a:cubicBezTo>
                  <a:cubicBezTo>
                    <a:pt x="131" y="1004"/>
                    <a:pt x="128" y="1002"/>
                    <a:pt x="125" y="1001"/>
                  </a:cubicBezTo>
                  <a:cubicBezTo>
                    <a:pt x="104" y="993"/>
                    <a:pt x="101" y="977"/>
                    <a:pt x="105" y="959"/>
                  </a:cubicBezTo>
                  <a:cubicBezTo>
                    <a:pt x="116" y="911"/>
                    <a:pt x="107" y="891"/>
                    <a:pt x="63" y="871"/>
                  </a:cubicBezTo>
                  <a:cubicBezTo>
                    <a:pt x="21" y="851"/>
                    <a:pt x="0" y="838"/>
                    <a:pt x="32" y="774"/>
                  </a:cubicBezTo>
                  <a:cubicBezTo>
                    <a:pt x="44" y="751"/>
                    <a:pt x="57" y="728"/>
                    <a:pt x="74" y="709"/>
                  </a:cubicBezTo>
                  <a:cubicBezTo>
                    <a:pt x="112" y="668"/>
                    <a:pt x="120" y="619"/>
                    <a:pt x="119" y="567"/>
                  </a:cubicBezTo>
                  <a:cubicBezTo>
                    <a:pt x="118" y="531"/>
                    <a:pt x="117" y="496"/>
                    <a:pt x="116" y="461"/>
                  </a:cubicBezTo>
                  <a:cubicBezTo>
                    <a:pt x="112" y="288"/>
                    <a:pt x="196" y="166"/>
                    <a:pt x="339" y="79"/>
                  </a:cubicBezTo>
                  <a:cubicBezTo>
                    <a:pt x="427" y="26"/>
                    <a:pt x="524" y="3"/>
                    <a:pt x="627" y="0"/>
                  </a:cubicBezTo>
                  <a:cubicBezTo>
                    <a:pt x="630" y="0"/>
                    <a:pt x="633" y="0"/>
                    <a:pt x="637" y="0"/>
                  </a:cubicBezTo>
                  <a:cubicBezTo>
                    <a:pt x="638" y="0"/>
                    <a:pt x="639" y="1"/>
                    <a:pt x="640" y="2"/>
                  </a:cubicBezTo>
                  <a:cubicBezTo>
                    <a:pt x="644" y="30"/>
                    <a:pt x="637" y="38"/>
                    <a:pt x="609" y="38"/>
                  </a:cubicBezTo>
                  <a:cubicBezTo>
                    <a:pt x="592" y="38"/>
                    <a:pt x="573" y="35"/>
                    <a:pt x="556" y="38"/>
                  </a:cubicBezTo>
                  <a:cubicBezTo>
                    <a:pt x="525" y="44"/>
                    <a:pt x="503" y="62"/>
                    <a:pt x="490" y="91"/>
                  </a:cubicBezTo>
                  <a:cubicBezTo>
                    <a:pt x="481" y="112"/>
                    <a:pt x="472" y="132"/>
                    <a:pt x="464" y="154"/>
                  </a:cubicBezTo>
                  <a:cubicBezTo>
                    <a:pt x="449" y="193"/>
                    <a:pt x="462" y="235"/>
                    <a:pt x="494" y="262"/>
                  </a:cubicBezTo>
                  <a:cubicBezTo>
                    <a:pt x="535" y="296"/>
                    <a:pt x="535" y="302"/>
                    <a:pt x="494" y="336"/>
                  </a:cubicBezTo>
                  <a:cubicBezTo>
                    <a:pt x="460" y="365"/>
                    <a:pt x="449" y="407"/>
                    <a:pt x="465" y="448"/>
                  </a:cubicBezTo>
                  <a:cubicBezTo>
                    <a:pt x="473" y="467"/>
                    <a:pt x="481" y="486"/>
                    <a:pt x="489" y="505"/>
                  </a:cubicBezTo>
                  <a:cubicBezTo>
                    <a:pt x="506" y="545"/>
                    <a:pt x="546" y="568"/>
                    <a:pt x="589" y="563"/>
                  </a:cubicBezTo>
                  <a:cubicBezTo>
                    <a:pt x="591" y="563"/>
                    <a:pt x="593" y="562"/>
                    <a:pt x="595" y="562"/>
                  </a:cubicBezTo>
                  <a:cubicBezTo>
                    <a:pt x="636" y="556"/>
                    <a:pt x="647" y="568"/>
                    <a:pt x="641" y="609"/>
                  </a:cubicBezTo>
                  <a:cubicBezTo>
                    <a:pt x="634" y="656"/>
                    <a:pt x="657" y="697"/>
                    <a:pt x="700" y="715"/>
                  </a:cubicBezTo>
                  <a:cubicBezTo>
                    <a:pt x="719" y="723"/>
                    <a:pt x="737" y="731"/>
                    <a:pt x="755" y="738"/>
                  </a:cubicBezTo>
                  <a:cubicBezTo>
                    <a:pt x="796" y="754"/>
                    <a:pt x="840" y="742"/>
                    <a:pt x="867" y="708"/>
                  </a:cubicBezTo>
                  <a:cubicBezTo>
                    <a:pt x="900" y="668"/>
                    <a:pt x="907" y="668"/>
                    <a:pt x="940" y="708"/>
                  </a:cubicBezTo>
                  <a:cubicBezTo>
                    <a:pt x="969" y="743"/>
                    <a:pt x="1012" y="754"/>
                    <a:pt x="1054" y="737"/>
                  </a:cubicBezTo>
                  <a:cubicBezTo>
                    <a:pt x="1073" y="730"/>
                    <a:pt x="1092" y="722"/>
                    <a:pt x="1111" y="714"/>
                  </a:cubicBezTo>
                  <a:cubicBezTo>
                    <a:pt x="1151" y="695"/>
                    <a:pt x="1173" y="654"/>
                    <a:pt x="1167" y="611"/>
                  </a:cubicBezTo>
                  <a:cubicBezTo>
                    <a:pt x="1166" y="602"/>
                    <a:pt x="1165" y="592"/>
                    <a:pt x="1166" y="583"/>
                  </a:cubicBezTo>
                  <a:cubicBezTo>
                    <a:pt x="1168" y="566"/>
                    <a:pt x="1186" y="555"/>
                    <a:pt x="1201" y="561"/>
                  </a:cubicBezTo>
                  <a:cubicBezTo>
                    <a:pt x="1205" y="564"/>
                    <a:pt x="1209" y="575"/>
                    <a:pt x="1208" y="581"/>
                  </a:cubicBezTo>
                  <a:cubicBezTo>
                    <a:pt x="1197" y="636"/>
                    <a:pt x="1189" y="693"/>
                    <a:pt x="1172" y="746"/>
                  </a:cubicBezTo>
                  <a:cubicBezTo>
                    <a:pt x="1134" y="867"/>
                    <a:pt x="1072" y="978"/>
                    <a:pt x="1003" y="1084"/>
                  </a:cubicBezTo>
                  <a:cubicBezTo>
                    <a:pt x="957" y="1155"/>
                    <a:pt x="943" y="1235"/>
                    <a:pt x="945" y="1319"/>
                  </a:cubicBezTo>
                  <a:cubicBezTo>
                    <a:pt x="948" y="1391"/>
                    <a:pt x="959" y="1462"/>
                    <a:pt x="980" y="15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28" name="Freeform 65">
              <a:extLst>
                <a:ext uri="{FF2B5EF4-FFF2-40B4-BE49-F238E27FC236}">
                  <a16:creationId xmlns:a16="http://schemas.microsoft.com/office/drawing/2014/main" xmlns="" id="{8DD62FF8-BED2-4AEF-AD24-82C64257AC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1" y="639"/>
              <a:ext cx="1169" cy="1164"/>
            </a:xfrm>
            <a:custGeom>
              <a:avLst/>
              <a:gdLst>
                <a:gd name="T0" fmla="*/ 81 w 778"/>
                <a:gd name="T1" fmla="*/ 189 h 776"/>
                <a:gd name="T2" fmla="*/ 105 w 778"/>
                <a:gd name="T3" fmla="*/ 188 h 776"/>
                <a:gd name="T4" fmla="*/ 188 w 778"/>
                <a:gd name="T5" fmla="*/ 105 h 776"/>
                <a:gd name="T6" fmla="*/ 187 w 778"/>
                <a:gd name="T7" fmla="*/ 67 h 776"/>
                <a:gd name="T8" fmla="*/ 209 w 778"/>
                <a:gd name="T9" fmla="*/ 29 h 776"/>
                <a:gd name="T10" fmla="*/ 259 w 778"/>
                <a:gd name="T11" fmla="*/ 9 h 776"/>
                <a:gd name="T12" fmla="*/ 305 w 778"/>
                <a:gd name="T13" fmla="*/ 21 h 776"/>
                <a:gd name="T14" fmla="*/ 339 w 778"/>
                <a:gd name="T15" fmla="*/ 54 h 776"/>
                <a:gd name="T16" fmla="*/ 438 w 778"/>
                <a:gd name="T17" fmla="*/ 54 h 776"/>
                <a:gd name="T18" fmla="*/ 471 w 778"/>
                <a:gd name="T19" fmla="*/ 20 h 776"/>
                <a:gd name="T20" fmla="*/ 516 w 778"/>
                <a:gd name="T21" fmla="*/ 8 h 776"/>
                <a:gd name="T22" fmla="*/ 567 w 778"/>
                <a:gd name="T23" fmla="*/ 30 h 776"/>
                <a:gd name="T24" fmla="*/ 589 w 778"/>
                <a:gd name="T25" fmla="*/ 68 h 776"/>
                <a:gd name="T26" fmla="*/ 588 w 778"/>
                <a:gd name="T27" fmla="*/ 74 h 776"/>
                <a:gd name="T28" fmla="*/ 694 w 778"/>
                <a:gd name="T29" fmla="*/ 189 h 776"/>
                <a:gd name="T30" fmla="*/ 754 w 778"/>
                <a:gd name="T31" fmla="*/ 227 h 776"/>
                <a:gd name="T32" fmla="*/ 758 w 778"/>
                <a:gd name="T33" fmla="*/ 236 h 776"/>
                <a:gd name="T34" fmla="*/ 741 w 778"/>
                <a:gd name="T35" fmla="*/ 317 h 776"/>
                <a:gd name="T36" fmla="*/ 745 w 778"/>
                <a:gd name="T37" fmla="*/ 462 h 776"/>
                <a:gd name="T38" fmla="*/ 760 w 778"/>
                <a:gd name="T39" fmla="*/ 534 h 776"/>
                <a:gd name="T40" fmla="*/ 757 w 778"/>
                <a:gd name="T41" fmla="*/ 541 h 776"/>
                <a:gd name="T42" fmla="*/ 687 w 778"/>
                <a:gd name="T43" fmla="*/ 587 h 776"/>
                <a:gd name="T44" fmla="*/ 588 w 778"/>
                <a:gd name="T45" fmla="*/ 701 h 776"/>
                <a:gd name="T46" fmla="*/ 559 w 778"/>
                <a:gd name="T47" fmla="*/ 750 h 776"/>
                <a:gd name="T48" fmla="*/ 517 w 778"/>
                <a:gd name="T49" fmla="*/ 768 h 776"/>
                <a:gd name="T50" fmla="*/ 471 w 778"/>
                <a:gd name="T51" fmla="*/ 756 h 776"/>
                <a:gd name="T52" fmla="*/ 434 w 778"/>
                <a:gd name="T53" fmla="*/ 720 h 776"/>
                <a:gd name="T54" fmla="*/ 341 w 778"/>
                <a:gd name="T55" fmla="*/ 720 h 776"/>
                <a:gd name="T56" fmla="*/ 306 w 778"/>
                <a:gd name="T57" fmla="*/ 755 h 776"/>
                <a:gd name="T58" fmla="*/ 258 w 778"/>
                <a:gd name="T59" fmla="*/ 768 h 776"/>
                <a:gd name="T60" fmla="*/ 210 w 778"/>
                <a:gd name="T61" fmla="*/ 748 h 776"/>
                <a:gd name="T62" fmla="*/ 187 w 778"/>
                <a:gd name="T63" fmla="*/ 708 h 776"/>
                <a:gd name="T64" fmla="*/ 188 w 778"/>
                <a:gd name="T65" fmla="*/ 693 h 776"/>
                <a:gd name="T66" fmla="*/ 74 w 778"/>
                <a:gd name="T67" fmla="*/ 588 h 776"/>
                <a:gd name="T68" fmla="*/ 26 w 778"/>
                <a:gd name="T69" fmla="*/ 561 h 776"/>
                <a:gd name="T70" fmla="*/ 8 w 778"/>
                <a:gd name="T71" fmla="*/ 518 h 776"/>
                <a:gd name="T72" fmla="*/ 21 w 778"/>
                <a:gd name="T73" fmla="*/ 471 h 776"/>
                <a:gd name="T74" fmla="*/ 54 w 778"/>
                <a:gd name="T75" fmla="*/ 437 h 776"/>
                <a:gd name="T76" fmla="*/ 54 w 778"/>
                <a:gd name="T77" fmla="*/ 339 h 776"/>
                <a:gd name="T78" fmla="*/ 22 w 778"/>
                <a:gd name="T79" fmla="*/ 307 h 776"/>
                <a:gd name="T80" fmla="*/ 10 w 778"/>
                <a:gd name="T81" fmla="*/ 256 h 776"/>
                <a:gd name="T82" fmla="*/ 26 w 778"/>
                <a:gd name="T83" fmla="*/ 217 h 776"/>
                <a:gd name="T84" fmla="*/ 73 w 778"/>
                <a:gd name="T85" fmla="*/ 188 h 776"/>
                <a:gd name="T86" fmla="*/ 81 w 778"/>
                <a:gd name="T87" fmla="*/ 189 h 776"/>
                <a:gd name="T88" fmla="*/ 596 w 778"/>
                <a:gd name="T89" fmla="*/ 390 h 776"/>
                <a:gd name="T90" fmla="*/ 391 w 778"/>
                <a:gd name="T91" fmla="*/ 180 h 776"/>
                <a:gd name="T92" fmla="*/ 179 w 778"/>
                <a:gd name="T93" fmla="*/ 386 h 776"/>
                <a:gd name="T94" fmla="*/ 386 w 778"/>
                <a:gd name="T95" fmla="*/ 597 h 776"/>
                <a:gd name="T96" fmla="*/ 596 w 778"/>
                <a:gd name="T97" fmla="*/ 390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76">
                  <a:moveTo>
                    <a:pt x="81" y="189"/>
                  </a:moveTo>
                  <a:cubicBezTo>
                    <a:pt x="91" y="189"/>
                    <a:pt x="98" y="189"/>
                    <a:pt x="105" y="188"/>
                  </a:cubicBezTo>
                  <a:cubicBezTo>
                    <a:pt x="155" y="186"/>
                    <a:pt x="186" y="156"/>
                    <a:pt x="188" y="105"/>
                  </a:cubicBezTo>
                  <a:cubicBezTo>
                    <a:pt x="188" y="92"/>
                    <a:pt x="188" y="80"/>
                    <a:pt x="187" y="67"/>
                  </a:cubicBezTo>
                  <a:cubicBezTo>
                    <a:pt x="185" y="49"/>
                    <a:pt x="192" y="36"/>
                    <a:pt x="209" y="29"/>
                  </a:cubicBezTo>
                  <a:cubicBezTo>
                    <a:pt x="226" y="22"/>
                    <a:pt x="243" y="16"/>
                    <a:pt x="259" y="9"/>
                  </a:cubicBezTo>
                  <a:cubicBezTo>
                    <a:pt x="278" y="0"/>
                    <a:pt x="292" y="6"/>
                    <a:pt x="305" y="21"/>
                  </a:cubicBezTo>
                  <a:cubicBezTo>
                    <a:pt x="315" y="33"/>
                    <a:pt x="326" y="45"/>
                    <a:pt x="339" y="54"/>
                  </a:cubicBezTo>
                  <a:cubicBezTo>
                    <a:pt x="372" y="80"/>
                    <a:pt x="404" y="79"/>
                    <a:pt x="438" y="54"/>
                  </a:cubicBezTo>
                  <a:cubicBezTo>
                    <a:pt x="450" y="44"/>
                    <a:pt x="461" y="32"/>
                    <a:pt x="471" y="20"/>
                  </a:cubicBezTo>
                  <a:cubicBezTo>
                    <a:pt x="484" y="6"/>
                    <a:pt x="498" y="1"/>
                    <a:pt x="516" y="8"/>
                  </a:cubicBezTo>
                  <a:cubicBezTo>
                    <a:pt x="533" y="16"/>
                    <a:pt x="550" y="22"/>
                    <a:pt x="567" y="30"/>
                  </a:cubicBezTo>
                  <a:cubicBezTo>
                    <a:pt x="584" y="37"/>
                    <a:pt x="591" y="50"/>
                    <a:pt x="589" y="68"/>
                  </a:cubicBezTo>
                  <a:cubicBezTo>
                    <a:pt x="589" y="70"/>
                    <a:pt x="588" y="72"/>
                    <a:pt x="588" y="74"/>
                  </a:cubicBezTo>
                  <a:cubicBezTo>
                    <a:pt x="579" y="153"/>
                    <a:pt x="615" y="192"/>
                    <a:pt x="694" y="189"/>
                  </a:cubicBezTo>
                  <a:cubicBezTo>
                    <a:pt x="737" y="187"/>
                    <a:pt x="737" y="187"/>
                    <a:pt x="754" y="227"/>
                  </a:cubicBezTo>
                  <a:cubicBezTo>
                    <a:pt x="755" y="230"/>
                    <a:pt x="757" y="233"/>
                    <a:pt x="758" y="236"/>
                  </a:cubicBezTo>
                  <a:cubicBezTo>
                    <a:pt x="778" y="283"/>
                    <a:pt x="778" y="283"/>
                    <a:pt x="741" y="317"/>
                  </a:cubicBezTo>
                  <a:cubicBezTo>
                    <a:pt x="690" y="365"/>
                    <a:pt x="690" y="417"/>
                    <a:pt x="745" y="462"/>
                  </a:cubicBezTo>
                  <a:cubicBezTo>
                    <a:pt x="773" y="485"/>
                    <a:pt x="778" y="499"/>
                    <a:pt x="760" y="534"/>
                  </a:cubicBezTo>
                  <a:cubicBezTo>
                    <a:pt x="759" y="536"/>
                    <a:pt x="758" y="539"/>
                    <a:pt x="757" y="541"/>
                  </a:cubicBezTo>
                  <a:cubicBezTo>
                    <a:pt x="738" y="588"/>
                    <a:pt x="738" y="588"/>
                    <a:pt x="687" y="587"/>
                  </a:cubicBezTo>
                  <a:cubicBezTo>
                    <a:pt x="615" y="586"/>
                    <a:pt x="580" y="626"/>
                    <a:pt x="588" y="701"/>
                  </a:cubicBezTo>
                  <a:cubicBezTo>
                    <a:pt x="591" y="731"/>
                    <a:pt x="586" y="739"/>
                    <a:pt x="559" y="750"/>
                  </a:cubicBezTo>
                  <a:cubicBezTo>
                    <a:pt x="545" y="756"/>
                    <a:pt x="531" y="762"/>
                    <a:pt x="517" y="768"/>
                  </a:cubicBezTo>
                  <a:cubicBezTo>
                    <a:pt x="498" y="775"/>
                    <a:pt x="484" y="771"/>
                    <a:pt x="471" y="756"/>
                  </a:cubicBezTo>
                  <a:cubicBezTo>
                    <a:pt x="460" y="743"/>
                    <a:pt x="447" y="730"/>
                    <a:pt x="434" y="720"/>
                  </a:cubicBezTo>
                  <a:cubicBezTo>
                    <a:pt x="403" y="697"/>
                    <a:pt x="373" y="697"/>
                    <a:pt x="341" y="720"/>
                  </a:cubicBezTo>
                  <a:cubicBezTo>
                    <a:pt x="328" y="730"/>
                    <a:pt x="316" y="742"/>
                    <a:pt x="306" y="755"/>
                  </a:cubicBezTo>
                  <a:cubicBezTo>
                    <a:pt x="292" y="771"/>
                    <a:pt x="277" y="776"/>
                    <a:pt x="258" y="768"/>
                  </a:cubicBezTo>
                  <a:cubicBezTo>
                    <a:pt x="242" y="761"/>
                    <a:pt x="226" y="754"/>
                    <a:pt x="210" y="748"/>
                  </a:cubicBezTo>
                  <a:cubicBezTo>
                    <a:pt x="192" y="741"/>
                    <a:pt x="185" y="728"/>
                    <a:pt x="187" y="708"/>
                  </a:cubicBezTo>
                  <a:cubicBezTo>
                    <a:pt x="187" y="703"/>
                    <a:pt x="188" y="698"/>
                    <a:pt x="188" y="693"/>
                  </a:cubicBezTo>
                  <a:cubicBezTo>
                    <a:pt x="191" y="615"/>
                    <a:pt x="151" y="579"/>
                    <a:pt x="74" y="588"/>
                  </a:cubicBezTo>
                  <a:cubicBezTo>
                    <a:pt x="47" y="592"/>
                    <a:pt x="37" y="586"/>
                    <a:pt x="26" y="561"/>
                  </a:cubicBezTo>
                  <a:cubicBezTo>
                    <a:pt x="20" y="547"/>
                    <a:pt x="15" y="532"/>
                    <a:pt x="8" y="518"/>
                  </a:cubicBezTo>
                  <a:cubicBezTo>
                    <a:pt x="0" y="499"/>
                    <a:pt x="5" y="484"/>
                    <a:pt x="21" y="471"/>
                  </a:cubicBezTo>
                  <a:cubicBezTo>
                    <a:pt x="33" y="461"/>
                    <a:pt x="45" y="449"/>
                    <a:pt x="54" y="437"/>
                  </a:cubicBezTo>
                  <a:cubicBezTo>
                    <a:pt x="79" y="404"/>
                    <a:pt x="79" y="372"/>
                    <a:pt x="54" y="339"/>
                  </a:cubicBezTo>
                  <a:cubicBezTo>
                    <a:pt x="45" y="327"/>
                    <a:pt x="33" y="317"/>
                    <a:pt x="22" y="307"/>
                  </a:cubicBezTo>
                  <a:cubicBezTo>
                    <a:pt x="3" y="290"/>
                    <a:pt x="0" y="279"/>
                    <a:pt x="10" y="256"/>
                  </a:cubicBezTo>
                  <a:cubicBezTo>
                    <a:pt x="15" y="243"/>
                    <a:pt x="20" y="230"/>
                    <a:pt x="26" y="217"/>
                  </a:cubicBezTo>
                  <a:cubicBezTo>
                    <a:pt x="37" y="190"/>
                    <a:pt x="44" y="186"/>
                    <a:pt x="73" y="188"/>
                  </a:cubicBezTo>
                  <a:cubicBezTo>
                    <a:pt x="77" y="188"/>
                    <a:pt x="81" y="189"/>
                    <a:pt x="81" y="189"/>
                  </a:cubicBezTo>
                  <a:close/>
                  <a:moveTo>
                    <a:pt x="596" y="390"/>
                  </a:moveTo>
                  <a:cubicBezTo>
                    <a:pt x="597" y="276"/>
                    <a:pt x="504" y="181"/>
                    <a:pt x="391" y="180"/>
                  </a:cubicBezTo>
                  <a:cubicBezTo>
                    <a:pt x="276" y="179"/>
                    <a:pt x="181" y="271"/>
                    <a:pt x="179" y="386"/>
                  </a:cubicBezTo>
                  <a:cubicBezTo>
                    <a:pt x="178" y="500"/>
                    <a:pt x="271" y="595"/>
                    <a:pt x="386" y="597"/>
                  </a:cubicBezTo>
                  <a:cubicBezTo>
                    <a:pt x="500" y="598"/>
                    <a:pt x="595" y="505"/>
                    <a:pt x="596" y="39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29" name="Freeform 66">
              <a:extLst>
                <a:ext uri="{FF2B5EF4-FFF2-40B4-BE49-F238E27FC236}">
                  <a16:creationId xmlns:a16="http://schemas.microsoft.com/office/drawing/2014/main" xmlns="" id="{F2041C00-5F33-4271-BADB-5F93C17305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2" y="660"/>
              <a:ext cx="782" cy="777"/>
            </a:xfrm>
            <a:custGeom>
              <a:avLst/>
              <a:gdLst>
                <a:gd name="T0" fmla="*/ 396 w 520"/>
                <a:gd name="T1" fmla="*/ 55 h 518"/>
                <a:gd name="T2" fmla="*/ 463 w 520"/>
                <a:gd name="T3" fmla="*/ 124 h 518"/>
                <a:gd name="T4" fmla="*/ 495 w 520"/>
                <a:gd name="T5" fmla="*/ 132 h 518"/>
                <a:gd name="T6" fmla="*/ 516 w 520"/>
                <a:gd name="T7" fmla="*/ 185 h 518"/>
                <a:gd name="T8" fmla="*/ 504 w 520"/>
                <a:gd name="T9" fmla="*/ 203 h 518"/>
                <a:gd name="T10" fmla="*/ 504 w 520"/>
                <a:gd name="T11" fmla="*/ 311 h 518"/>
                <a:gd name="T12" fmla="*/ 513 w 520"/>
                <a:gd name="T13" fmla="*/ 348 h 518"/>
                <a:gd name="T14" fmla="*/ 502 w 520"/>
                <a:gd name="T15" fmla="*/ 374 h 518"/>
                <a:gd name="T16" fmla="*/ 471 w 520"/>
                <a:gd name="T17" fmla="*/ 392 h 518"/>
                <a:gd name="T18" fmla="*/ 395 w 520"/>
                <a:gd name="T19" fmla="*/ 463 h 518"/>
                <a:gd name="T20" fmla="*/ 353 w 520"/>
                <a:gd name="T21" fmla="*/ 509 h 518"/>
                <a:gd name="T22" fmla="*/ 310 w 520"/>
                <a:gd name="T23" fmla="*/ 498 h 518"/>
                <a:gd name="T24" fmla="*/ 210 w 520"/>
                <a:gd name="T25" fmla="*/ 498 h 518"/>
                <a:gd name="T26" fmla="*/ 164 w 520"/>
                <a:gd name="T27" fmla="*/ 508 h 518"/>
                <a:gd name="T28" fmla="*/ 141 w 520"/>
                <a:gd name="T29" fmla="*/ 498 h 518"/>
                <a:gd name="T30" fmla="*/ 126 w 520"/>
                <a:gd name="T31" fmla="*/ 473 h 518"/>
                <a:gd name="T32" fmla="*/ 127 w 520"/>
                <a:gd name="T33" fmla="*/ 459 h 518"/>
                <a:gd name="T34" fmla="*/ 55 w 520"/>
                <a:gd name="T35" fmla="*/ 392 h 518"/>
                <a:gd name="T36" fmla="*/ 15 w 520"/>
                <a:gd name="T37" fmla="*/ 368 h 518"/>
                <a:gd name="T38" fmla="*/ 7 w 520"/>
                <a:gd name="T39" fmla="*/ 348 h 518"/>
                <a:gd name="T40" fmla="*/ 15 w 520"/>
                <a:gd name="T41" fmla="*/ 312 h 518"/>
                <a:gd name="T42" fmla="*/ 24 w 520"/>
                <a:gd name="T43" fmla="*/ 305 h 518"/>
                <a:gd name="T44" fmla="*/ 24 w 520"/>
                <a:gd name="T45" fmla="*/ 209 h 518"/>
                <a:gd name="T46" fmla="*/ 5 w 520"/>
                <a:gd name="T47" fmla="*/ 182 h 518"/>
                <a:gd name="T48" fmla="*/ 28 w 520"/>
                <a:gd name="T49" fmla="*/ 128 h 518"/>
                <a:gd name="T50" fmla="*/ 44 w 520"/>
                <a:gd name="T51" fmla="*/ 123 h 518"/>
                <a:gd name="T52" fmla="*/ 62 w 520"/>
                <a:gd name="T53" fmla="*/ 124 h 518"/>
                <a:gd name="T54" fmla="*/ 127 w 520"/>
                <a:gd name="T55" fmla="*/ 59 h 518"/>
                <a:gd name="T56" fmla="*/ 133 w 520"/>
                <a:gd name="T57" fmla="*/ 24 h 518"/>
                <a:gd name="T58" fmla="*/ 184 w 520"/>
                <a:gd name="T59" fmla="*/ 2 h 518"/>
                <a:gd name="T60" fmla="*/ 203 w 520"/>
                <a:gd name="T61" fmla="*/ 10 h 518"/>
                <a:gd name="T62" fmla="*/ 213 w 520"/>
                <a:gd name="T63" fmla="*/ 22 h 518"/>
                <a:gd name="T64" fmla="*/ 307 w 520"/>
                <a:gd name="T65" fmla="*/ 23 h 518"/>
                <a:gd name="T66" fmla="*/ 336 w 520"/>
                <a:gd name="T67" fmla="*/ 3 h 518"/>
                <a:gd name="T68" fmla="*/ 388 w 520"/>
                <a:gd name="T69" fmla="*/ 24 h 518"/>
                <a:gd name="T70" fmla="*/ 396 w 520"/>
                <a:gd name="T71" fmla="*/ 55 h 518"/>
                <a:gd name="T72" fmla="*/ 400 w 520"/>
                <a:gd name="T73" fmla="*/ 258 h 518"/>
                <a:gd name="T74" fmla="*/ 261 w 520"/>
                <a:gd name="T75" fmla="*/ 117 h 518"/>
                <a:gd name="T76" fmla="*/ 120 w 520"/>
                <a:gd name="T77" fmla="*/ 258 h 518"/>
                <a:gd name="T78" fmla="*/ 260 w 520"/>
                <a:gd name="T79" fmla="*/ 398 h 518"/>
                <a:gd name="T80" fmla="*/ 400 w 520"/>
                <a:gd name="T81" fmla="*/ 25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0" h="518">
                  <a:moveTo>
                    <a:pt x="396" y="55"/>
                  </a:moveTo>
                  <a:cubicBezTo>
                    <a:pt x="393" y="104"/>
                    <a:pt x="415" y="125"/>
                    <a:pt x="463" y="124"/>
                  </a:cubicBezTo>
                  <a:cubicBezTo>
                    <a:pt x="474" y="124"/>
                    <a:pt x="491" y="125"/>
                    <a:pt x="495" y="132"/>
                  </a:cubicBezTo>
                  <a:cubicBezTo>
                    <a:pt x="506" y="147"/>
                    <a:pt x="512" y="166"/>
                    <a:pt x="516" y="185"/>
                  </a:cubicBezTo>
                  <a:cubicBezTo>
                    <a:pt x="517" y="190"/>
                    <a:pt x="509" y="198"/>
                    <a:pt x="504" y="203"/>
                  </a:cubicBezTo>
                  <a:cubicBezTo>
                    <a:pt x="461" y="242"/>
                    <a:pt x="460" y="274"/>
                    <a:pt x="504" y="311"/>
                  </a:cubicBezTo>
                  <a:cubicBezTo>
                    <a:pt x="517" y="322"/>
                    <a:pt x="520" y="333"/>
                    <a:pt x="513" y="348"/>
                  </a:cubicBezTo>
                  <a:cubicBezTo>
                    <a:pt x="509" y="356"/>
                    <a:pt x="505" y="365"/>
                    <a:pt x="502" y="374"/>
                  </a:cubicBezTo>
                  <a:cubicBezTo>
                    <a:pt x="497" y="388"/>
                    <a:pt x="487" y="394"/>
                    <a:pt x="471" y="392"/>
                  </a:cubicBezTo>
                  <a:cubicBezTo>
                    <a:pt x="417" y="386"/>
                    <a:pt x="390" y="409"/>
                    <a:pt x="395" y="463"/>
                  </a:cubicBezTo>
                  <a:cubicBezTo>
                    <a:pt x="398" y="498"/>
                    <a:pt x="373" y="500"/>
                    <a:pt x="353" y="509"/>
                  </a:cubicBezTo>
                  <a:cubicBezTo>
                    <a:pt x="335" y="518"/>
                    <a:pt x="323" y="513"/>
                    <a:pt x="310" y="498"/>
                  </a:cubicBezTo>
                  <a:cubicBezTo>
                    <a:pt x="278" y="459"/>
                    <a:pt x="242" y="459"/>
                    <a:pt x="210" y="498"/>
                  </a:cubicBezTo>
                  <a:cubicBezTo>
                    <a:pt x="196" y="514"/>
                    <a:pt x="183" y="517"/>
                    <a:pt x="164" y="508"/>
                  </a:cubicBezTo>
                  <a:cubicBezTo>
                    <a:pt x="157" y="505"/>
                    <a:pt x="147" y="503"/>
                    <a:pt x="141" y="498"/>
                  </a:cubicBezTo>
                  <a:cubicBezTo>
                    <a:pt x="134" y="491"/>
                    <a:pt x="130" y="482"/>
                    <a:pt x="126" y="473"/>
                  </a:cubicBezTo>
                  <a:cubicBezTo>
                    <a:pt x="124" y="469"/>
                    <a:pt x="127" y="463"/>
                    <a:pt x="127" y="459"/>
                  </a:cubicBezTo>
                  <a:cubicBezTo>
                    <a:pt x="129" y="412"/>
                    <a:pt x="101" y="385"/>
                    <a:pt x="55" y="392"/>
                  </a:cubicBezTo>
                  <a:cubicBezTo>
                    <a:pt x="33" y="395"/>
                    <a:pt x="22" y="387"/>
                    <a:pt x="15" y="368"/>
                  </a:cubicBezTo>
                  <a:cubicBezTo>
                    <a:pt x="13" y="361"/>
                    <a:pt x="10" y="354"/>
                    <a:pt x="7" y="348"/>
                  </a:cubicBezTo>
                  <a:cubicBezTo>
                    <a:pt x="0" y="334"/>
                    <a:pt x="2" y="322"/>
                    <a:pt x="15" y="312"/>
                  </a:cubicBezTo>
                  <a:cubicBezTo>
                    <a:pt x="18" y="310"/>
                    <a:pt x="21" y="307"/>
                    <a:pt x="24" y="305"/>
                  </a:cubicBezTo>
                  <a:cubicBezTo>
                    <a:pt x="57" y="273"/>
                    <a:pt x="56" y="241"/>
                    <a:pt x="24" y="209"/>
                  </a:cubicBezTo>
                  <a:cubicBezTo>
                    <a:pt x="16" y="202"/>
                    <a:pt x="3" y="190"/>
                    <a:pt x="5" y="182"/>
                  </a:cubicBezTo>
                  <a:cubicBezTo>
                    <a:pt x="9" y="163"/>
                    <a:pt x="19" y="145"/>
                    <a:pt x="28" y="128"/>
                  </a:cubicBezTo>
                  <a:cubicBezTo>
                    <a:pt x="30" y="124"/>
                    <a:pt x="38" y="124"/>
                    <a:pt x="44" y="123"/>
                  </a:cubicBezTo>
                  <a:cubicBezTo>
                    <a:pt x="50" y="122"/>
                    <a:pt x="56" y="124"/>
                    <a:pt x="62" y="124"/>
                  </a:cubicBezTo>
                  <a:cubicBezTo>
                    <a:pt x="106" y="124"/>
                    <a:pt x="127" y="103"/>
                    <a:pt x="127" y="59"/>
                  </a:cubicBezTo>
                  <a:cubicBezTo>
                    <a:pt x="127" y="47"/>
                    <a:pt x="126" y="29"/>
                    <a:pt x="133" y="24"/>
                  </a:cubicBezTo>
                  <a:cubicBezTo>
                    <a:pt x="147" y="13"/>
                    <a:pt x="166" y="7"/>
                    <a:pt x="184" y="2"/>
                  </a:cubicBezTo>
                  <a:cubicBezTo>
                    <a:pt x="189" y="0"/>
                    <a:pt x="197" y="6"/>
                    <a:pt x="203" y="10"/>
                  </a:cubicBezTo>
                  <a:cubicBezTo>
                    <a:pt x="207" y="13"/>
                    <a:pt x="209" y="18"/>
                    <a:pt x="213" y="22"/>
                  </a:cubicBezTo>
                  <a:cubicBezTo>
                    <a:pt x="244" y="54"/>
                    <a:pt x="275" y="54"/>
                    <a:pt x="307" y="23"/>
                  </a:cubicBezTo>
                  <a:cubicBezTo>
                    <a:pt x="315" y="14"/>
                    <a:pt x="327" y="1"/>
                    <a:pt x="336" y="3"/>
                  </a:cubicBezTo>
                  <a:cubicBezTo>
                    <a:pt x="354" y="5"/>
                    <a:pt x="373" y="14"/>
                    <a:pt x="388" y="24"/>
                  </a:cubicBezTo>
                  <a:cubicBezTo>
                    <a:pt x="395" y="29"/>
                    <a:pt x="394" y="44"/>
                    <a:pt x="396" y="55"/>
                  </a:cubicBezTo>
                  <a:close/>
                  <a:moveTo>
                    <a:pt x="400" y="258"/>
                  </a:moveTo>
                  <a:cubicBezTo>
                    <a:pt x="400" y="181"/>
                    <a:pt x="338" y="118"/>
                    <a:pt x="261" y="117"/>
                  </a:cubicBezTo>
                  <a:cubicBezTo>
                    <a:pt x="183" y="117"/>
                    <a:pt x="120" y="180"/>
                    <a:pt x="120" y="258"/>
                  </a:cubicBezTo>
                  <a:cubicBezTo>
                    <a:pt x="121" y="335"/>
                    <a:pt x="184" y="398"/>
                    <a:pt x="260" y="398"/>
                  </a:cubicBezTo>
                  <a:cubicBezTo>
                    <a:pt x="337" y="398"/>
                    <a:pt x="399" y="335"/>
                    <a:pt x="400" y="25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0" name="Freeform 67">
              <a:extLst>
                <a:ext uri="{FF2B5EF4-FFF2-40B4-BE49-F238E27FC236}">
                  <a16:creationId xmlns:a16="http://schemas.microsoft.com/office/drawing/2014/main" xmlns="" id="{5D5D0CC2-A1A1-4C28-9696-ADB7CE2AB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99" y="154"/>
              <a:ext cx="608" cy="612"/>
            </a:xfrm>
            <a:custGeom>
              <a:avLst/>
              <a:gdLst>
                <a:gd name="T0" fmla="*/ 45 w 405"/>
                <a:gd name="T1" fmla="*/ 103 h 408"/>
                <a:gd name="T2" fmla="*/ 100 w 405"/>
                <a:gd name="T3" fmla="*/ 48 h 408"/>
                <a:gd name="T4" fmla="*/ 117 w 405"/>
                <a:gd name="T5" fmla="*/ 17 h 408"/>
                <a:gd name="T6" fmla="*/ 163 w 405"/>
                <a:gd name="T7" fmla="*/ 20 h 408"/>
                <a:gd name="T8" fmla="*/ 242 w 405"/>
                <a:gd name="T9" fmla="*/ 20 h 408"/>
                <a:gd name="T10" fmla="*/ 277 w 405"/>
                <a:gd name="T11" fmla="*/ 13 h 408"/>
                <a:gd name="T12" fmla="*/ 305 w 405"/>
                <a:gd name="T13" fmla="*/ 45 h 408"/>
                <a:gd name="T14" fmla="*/ 363 w 405"/>
                <a:gd name="T15" fmla="*/ 102 h 408"/>
                <a:gd name="T16" fmla="*/ 391 w 405"/>
                <a:gd name="T17" fmla="*/ 124 h 408"/>
                <a:gd name="T18" fmla="*/ 390 w 405"/>
                <a:gd name="T19" fmla="*/ 163 h 408"/>
                <a:gd name="T20" fmla="*/ 389 w 405"/>
                <a:gd name="T21" fmla="*/ 246 h 408"/>
                <a:gd name="T22" fmla="*/ 392 w 405"/>
                <a:gd name="T23" fmla="*/ 283 h 408"/>
                <a:gd name="T24" fmla="*/ 364 w 405"/>
                <a:gd name="T25" fmla="*/ 307 h 408"/>
                <a:gd name="T26" fmla="*/ 305 w 405"/>
                <a:gd name="T27" fmla="*/ 366 h 408"/>
                <a:gd name="T28" fmla="*/ 276 w 405"/>
                <a:gd name="T29" fmla="*/ 397 h 408"/>
                <a:gd name="T30" fmla="*/ 242 w 405"/>
                <a:gd name="T31" fmla="*/ 390 h 408"/>
                <a:gd name="T32" fmla="*/ 161 w 405"/>
                <a:gd name="T33" fmla="*/ 391 h 408"/>
                <a:gd name="T34" fmla="*/ 120 w 405"/>
                <a:gd name="T35" fmla="*/ 393 h 408"/>
                <a:gd name="T36" fmla="*/ 99 w 405"/>
                <a:gd name="T37" fmla="*/ 365 h 408"/>
                <a:gd name="T38" fmla="*/ 43 w 405"/>
                <a:gd name="T39" fmla="*/ 307 h 408"/>
                <a:gd name="T40" fmla="*/ 10 w 405"/>
                <a:gd name="T41" fmla="*/ 280 h 408"/>
                <a:gd name="T42" fmla="*/ 18 w 405"/>
                <a:gd name="T43" fmla="*/ 243 h 408"/>
                <a:gd name="T44" fmla="*/ 18 w 405"/>
                <a:gd name="T45" fmla="*/ 166 h 408"/>
                <a:gd name="T46" fmla="*/ 13 w 405"/>
                <a:gd name="T47" fmla="*/ 122 h 408"/>
                <a:gd name="T48" fmla="*/ 45 w 405"/>
                <a:gd name="T49" fmla="*/ 103 h 408"/>
                <a:gd name="T50" fmla="*/ 95 w 405"/>
                <a:gd name="T51" fmla="*/ 205 h 408"/>
                <a:gd name="T52" fmla="*/ 201 w 405"/>
                <a:gd name="T53" fmla="*/ 312 h 408"/>
                <a:gd name="T54" fmla="*/ 309 w 405"/>
                <a:gd name="T55" fmla="*/ 205 h 408"/>
                <a:gd name="T56" fmla="*/ 202 w 405"/>
                <a:gd name="T57" fmla="*/ 97 h 408"/>
                <a:gd name="T58" fmla="*/ 95 w 405"/>
                <a:gd name="T59" fmla="*/ 205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05" h="408">
                  <a:moveTo>
                    <a:pt x="45" y="103"/>
                  </a:moveTo>
                  <a:cubicBezTo>
                    <a:pt x="83" y="104"/>
                    <a:pt x="103" y="84"/>
                    <a:pt x="100" y="48"/>
                  </a:cubicBezTo>
                  <a:cubicBezTo>
                    <a:pt x="98" y="31"/>
                    <a:pt x="102" y="22"/>
                    <a:pt x="117" y="17"/>
                  </a:cubicBezTo>
                  <a:cubicBezTo>
                    <a:pt x="133" y="12"/>
                    <a:pt x="147" y="0"/>
                    <a:pt x="163" y="20"/>
                  </a:cubicBezTo>
                  <a:cubicBezTo>
                    <a:pt x="190" y="52"/>
                    <a:pt x="214" y="51"/>
                    <a:pt x="242" y="20"/>
                  </a:cubicBezTo>
                  <a:cubicBezTo>
                    <a:pt x="253" y="7"/>
                    <a:pt x="263" y="6"/>
                    <a:pt x="277" y="13"/>
                  </a:cubicBezTo>
                  <a:cubicBezTo>
                    <a:pt x="290" y="20"/>
                    <a:pt x="306" y="22"/>
                    <a:pt x="305" y="45"/>
                  </a:cubicBezTo>
                  <a:cubicBezTo>
                    <a:pt x="302" y="88"/>
                    <a:pt x="320" y="105"/>
                    <a:pt x="363" y="102"/>
                  </a:cubicBezTo>
                  <a:cubicBezTo>
                    <a:pt x="381" y="100"/>
                    <a:pt x="386" y="111"/>
                    <a:pt x="391" y="124"/>
                  </a:cubicBezTo>
                  <a:cubicBezTo>
                    <a:pt x="396" y="137"/>
                    <a:pt x="405" y="149"/>
                    <a:pt x="390" y="163"/>
                  </a:cubicBezTo>
                  <a:cubicBezTo>
                    <a:pt x="355" y="194"/>
                    <a:pt x="355" y="215"/>
                    <a:pt x="389" y="246"/>
                  </a:cubicBezTo>
                  <a:cubicBezTo>
                    <a:pt x="403" y="258"/>
                    <a:pt x="398" y="270"/>
                    <a:pt x="392" y="283"/>
                  </a:cubicBezTo>
                  <a:cubicBezTo>
                    <a:pt x="387" y="296"/>
                    <a:pt x="383" y="308"/>
                    <a:pt x="364" y="307"/>
                  </a:cubicBezTo>
                  <a:cubicBezTo>
                    <a:pt x="318" y="305"/>
                    <a:pt x="302" y="320"/>
                    <a:pt x="305" y="366"/>
                  </a:cubicBezTo>
                  <a:cubicBezTo>
                    <a:pt x="306" y="389"/>
                    <a:pt x="289" y="390"/>
                    <a:pt x="276" y="397"/>
                  </a:cubicBezTo>
                  <a:cubicBezTo>
                    <a:pt x="262" y="404"/>
                    <a:pt x="253" y="402"/>
                    <a:pt x="242" y="390"/>
                  </a:cubicBezTo>
                  <a:cubicBezTo>
                    <a:pt x="213" y="358"/>
                    <a:pt x="191" y="358"/>
                    <a:pt x="161" y="391"/>
                  </a:cubicBezTo>
                  <a:cubicBezTo>
                    <a:pt x="147" y="408"/>
                    <a:pt x="134" y="398"/>
                    <a:pt x="120" y="393"/>
                  </a:cubicBezTo>
                  <a:cubicBezTo>
                    <a:pt x="107" y="388"/>
                    <a:pt x="98" y="382"/>
                    <a:pt x="99" y="365"/>
                  </a:cubicBezTo>
                  <a:cubicBezTo>
                    <a:pt x="103" y="323"/>
                    <a:pt x="85" y="304"/>
                    <a:pt x="43" y="307"/>
                  </a:cubicBezTo>
                  <a:cubicBezTo>
                    <a:pt x="21" y="309"/>
                    <a:pt x="17" y="294"/>
                    <a:pt x="10" y="280"/>
                  </a:cubicBezTo>
                  <a:cubicBezTo>
                    <a:pt x="4" y="265"/>
                    <a:pt x="5" y="255"/>
                    <a:pt x="18" y="243"/>
                  </a:cubicBezTo>
                  <a:cubicBezTo>
                    <a:pt x="48" y="217"/>
                    <a:pt x="49" y="192"/>
                    <a:pt x="18" y="166"/>
                  </a:cubicBezTo>
                  <a:cubicBezTo>
                    <a:pt x="0" y="151"/>
                    <a:pt x="8" y="138"/>
                    <a:pt x="13" y="122"/>
                  </a:cubicBezTo>
                  <a:cubicBezTo>
                    <a:pt x="19" y="106"/>
                    <a:pt x="28" y="98"/>
                    <a:pt x="45" y="103"/>
                  </a:cubicBezTo>
                  <a:close/>
                  <a:moveTo>
                    <a:pt x="95" y="205"/>
                  </a:moveTo>
                  <a:cubicBezTo>
                    <a:pt x="95" y="264"/>
                    <a:pt x="142" y="312"/>
                    <a:pt x="201" y="312"/>
                  </a:cubicBezTo>
                  <a:cubicBezTo>
                    <a:pt x="262" y="312"/>
                    <a:pt x="309" y="265"/>
                    <a:pt x="309" y="205"/>
                  </a:cubicBezTo>
                  <a:cubicBezTo>
                    <a:pt x="310" y="145"/>
                    <a:pt x="262" y="97"/>
                    <a:pt x="202" y="97"/>
                  </a:cubicBezTo>
                  <a:cubicBezTo>
                    <a:pt x="142" y="98"/>
                    <a:pt x="95" y="144"/>
                    <a:pt x="95" y="20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1" name="Freeform 68">
              <a:extLst>
                <a:ext uri="{FF2B5EF4-FFF2-40B4-BE49-F238E27FC236}">
                  <a16:creationId xmlns:a16="http://schemas.microsoft.com/office/drawing/2014/main" xmlns="" id="{8218DDE6-7498-4BCF-A440-9A7D23F885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38" y="907"/>
              <a:ext cx="630" cy="629"/>
            </a:xfrm>
            <a:custGeom>
              <a:avLst/>
              <a:gdLst>
                <a:gd name="T0" fmla="*/ 418 w 419"/>
                <a:gd name="T1" fmla="*/ 211 h 419"/>
                <a:gd name="T2" fmla="*/ 208 w 419"/>
                <a:gd name="T3" fmla="*/ 418 h 419"/>
                <a:gd name="T4" fmla="*/ 1 w 419"/>
                <a:gd name="T5" fmla="*/ 207 h 419"/>
                <a:gd name="T6" fmla="*/ 213 w 419"/>
                <a:gd name="T7" fmla="*/ 1 h 419"/>
                <a:gd name="T8" fmla="*/ 418 w 419"/>
                <a:gd name="T9" fmla="*/ 211 h 419"/>
                <a:gd name="T10" fmla="*/ 208 w 419"/>
                <a:gd name="T11" fmla="*/ 381 h 419"/>
                <a:gd name="T12" fmla="*/ 381 w 419"/>
                <a:gd name="T13" fmla="*/ 211 h 419"/>
                <a:gd name="T14" fmla="*/ 212 w 419"/>
                <a:gd name="T15" fmla="*/ 38 h 419"/>
                <a:gd name="T16" fmla="*/ 38 w 419"/>
                <a:gd name="T17" fmla="*/ 208 h 419"/>
                <a:gd name="T18" fmla="*/ 208 w 419"/>
                <a:gd name="T19" fmla="*/ 38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19">
                  <a:moveTo>
                    <a:pt x="418" y="211"/>
                  </a:moveTo>
                  <a:cubicBezTo>
                    <a:pt x="417" y="326"/>
                    <a:pt x="322" y="419"/>
                    <a:pt x="208" y="418"/>
                  </a:cubicBezTo>
                  <a:cubicBezTo>
                    <a:pt x="93" y="416"/>
                    <a:pt x="0" y="321"/>
                    <a:pt x="1" y="207"/>
                  </a:cubicBezTo>
                  <a:cubicBezTo>
                    <a:pt x="3" y="92"/>
                    <a:pt x="98" y="0"/>
                    <a:pt x="213" y="1"/>
                  </a:cubicBezTo>
                  <a:cubicBezTo>
                    <a:pt x="326" y="2"/>
                    <a:pt x="419" y="97"/>
                    <a:pt x="418" y="211"/>
                  </a:cubicBezTo>
                  <a:close/>
                  <a:moveTo>
                    <a:pt x="208" y="381"/>
                  </a:moveTo>
                  <a:cubicBezTo>
                    <a:pt x="304" y="381"/>
                    <a:pt x="381" y="306"/>
                    <a:pt x="381" y="211"/>
                  </a:cubicBezTo>
                  <a:cubicBezTo>
                    <a:pt x="382" y="116"/>
                    <a:pt x="306" y="38"/>
                    <a:pt x="212" y="38"/>
                  </a:cubicBezTo>
                  <a:cubicBezTo>
                    <a:pt x="117" y="37"/>
                    <a:pt x="39" y="113"/>
                    <a:pt x="38" y="208"/>
                  </a:cubicBezTo>
                  <a:cubicBezTo>
                    <a:pt x="38" y="303"/>
                    <a:pt x="114" y="380"/>
                    <a:pt x="208" y="3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2" name="Freeform 69">
              <a:extLst>
                <a:ext uri="{FF2B5EF4-FFF2-40B4-BE49-F238E27FC236}">
                  <a16:creationId xmlns:a16="http://schemas.microsoft.com/office/drawing/2014/main" xmlns="" id="{EBAA185A-770A-412D-87B0-87926293D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3" y="835"/>
              <a:ext cx="420" cy="422"/>
            </a:xfrm>
            <a:custGeom>
              <a:avLst/>
              <a:gdLst>
                <a:gd name="T0" fmla="*/ 280 w 280"/>
                <a:gd name="T1" fmla="*/ 141 h 281"/>
                <a:gd name="T2" fmla="*/ 140 w 280"/>
                <a:gd name="T3" fmla="*/ 281 h 281"/>
                <a:gd name="T4" fmla="*/ 0 w 280"/>
                <a:gd name="T5" fmla="*/ 141 h 281"/>
                <a:gd name="T6" fmla="*/ 141 w 280"/>
                <a:gd name="T7" fmla="*/ 0 h 281"/>
                <a:gd name="T8" fmla="*/ 280 w 280"/>
                <a:gd name="T9" fmla="*/ 141 h 281"/>
                <a:gd name="T10" fmla="*/ 254 w 280"/>
                <a:gd name="T11" fmla="*/ 142 h 281"/>
                <a:gd name="T12" fmla="*/ 142 w 280"/>
                <a:gd name="T13" fmla="*/ 26 h 281"/>
                <a:gd name="T14" fmla="*/ 26 w 280"/>
                <a:gd name="T15" fmla="*/ 140 h 281"/>
                <a:gd name="T16" fmla="*/ 139 w 280"/>
                <a:gd name="T17" fmla="*/ 256 h 281"/>
                <a:gd name="T18" fmla="*/ 254 w 280"/>
                <a:gd name="T19" fmla="*/ 14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0" h="281">
                  <a:moveTo>
                    <a:pt x="280" y="141"/>
                  </a:moveTo>
                  <a:cubicBezTo>
                    <a:pt x="279" y="218"/>
                    <a:pt x="217" y="281"/>
                    <a:pt x="140" y="281"/>
                  </a:cubicBezTo>
                  <a:cubicBezTo>
                    <a:pt x="64" y="281"/>
                    <a:pt x="1" y="218"/>
                    <a:pt x="0" y="141"/>
                  </a:cubicBezTo>
                  <a:cubicBezTo>
                    <a:pt x="0" y="63"/>
                    <a:pt x="63" y="0"/>
                    <a:pt x="141" y="0"/>
                  </a:cubicBezTo>
                  <a:cubicBezTo>
                    <a:pt x="218" y="1"/>
                    <a:pt x="280" y="64"/>
                    <a:pt x="280" y="141"/>
                  </a:cubicBezTo>
                  <a:close/>
                  <a:moveTo>
                    <a:pt x="254" y="142"/>
                  </a:moveTo>
                  <a:cubicBezTo>
                    <a:pt x="255" y="78"/>
                    <a:pt x="205" y="27"/>
                    <a:pt x="142" y="26"/>
                  </a:cubicBezTo>
                  <a:cubicBezTo>
                    <a:pt x="78" y="25"/>
                    <a:pt x="26" y="76"/>
                    <a:pt x="26" y="140"/>
                  </a:cubicBezTo>
                  <a:cubicBezTo>
                    <a:pt x="26" y="204"/>
                    <a:pt x="76" y="255"/>
                    <a:pt x="139" y="256"/>
                  </a:cubicBezTo>
                  <a:cubicBezTo>
                    <a:pt x="202" y="256"/>
                    <a:pt x="254" y="205"/>
                    <a:pt x="254" y="1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3" name="Freeform 70">
              <a:extLst>
                <a:ext uri="{FF2B5EF4-FFF2-40B4-BE49-F238E27FC236}">
                  <a16:creationId xmlns:a16="http://schemas.microsoft.com/office/drawing/2014/main" xmlns="" id="{495EE7E4-7BE3-4925-9086-AAF105219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1" y="300"/>
              <a:ext cx="323" cy="322"/>
            </a:xfrm>
            <a:custGeom>
              <a:avLst/>
              <a:gdLst>
                <a:gd name="T0" fmla="*/ 0 w 215"/>
                <a:gd name="T1" fmla="*/ 108 h 215"/>
                <a:gd name="T2" fmla="*/ 107 w 215"/>
                <a:gd name="T3" fmla="*/ 0 h 215"/>
                <a:gd name="T4" fmla="*/ 214 w 215"/>
                <a:gd name="T5" fmla="*/ 108 h 215"/>
                <a:gd name="T6" fmla="*/ 106 w 215"/>
                <a:gd name="T7" fmla="*/ 215 h 215"/>
                <a:gd name="T8" fmla="*/ 0 w 215"/>
                <a:gd name="T9" fmla="*/ 108 h 215"/>
                <a:gd name="T10" fmla="*/ 194 w 215"/>
                <a:gd name="T11" fmla="*/ 108 h 215"/>
                <a:gd name="T12" fmla="*/ 108 w 215"/>
                <a:gd name="T13" fmla="*/ 19 h 215"/>
                <a:gd name="T14" fmla="*/ 19 w 215"/>
                <a:gd name="T15" fmla="*/ 108 h 215"/>
                <a:gd name="T16" fmla="*/ 107 w 215"/>
                <a:gd name="T17" fmla="*/ 195 h 215"/>
                <a:gd name="T18" fmla="*/ 194 w 215"/>
                <a:gd name="T19" fmla="*/ 10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0" y="108"/>
                  </a:moveTo>
                  <a:cubicBezTo>
                    <a:pt x="0" y="47"/>
                    <a:pt x="47" y="1"/>
                    <a:pt x="107" y="0"/>
                  </a:cubicBezTo>
                  <a:cubicBezTo>
                    <a:pt x="167" y="0"/>
                    <a:pt x="215" y="48"/>
                    <a:pt x="214" y="108"/>
                  </a:cubicBezTo>
                  <a:cubicBezTo>
                    <a:pt x="214" y="168"/>
                    <a:pt x="167" y="215"/>
                    <a:pt x="106" y="215"/>
                  </a:cubicBezTo>
                  <a:cubicBezTo>
                    <a:pt x="47" y="215"/>
                    <a:pt x="0" y="167"/>
                    <a:pt x="0" y="108"/>
                  </a:cubicBezTo>
                  <a:close/>
                  <a:moveTo>
                    <a:pt x="194" y="108"/>
                  </a:moveTo>
                  <a:cubicBezTo>
                    <a:pt x="195" y="60"/>
                    <a:pt x="156" y="20"/>
                    <a:pt x="108" y="19"/>
                  </a:cubicBezTo>
                  <a:cubicBezTo>
                    <a:pt x="60" y="19"/>
                    <a:pt x="19" y="60"/>
                    <a:pt x="19" y="108"/>
                  </a:cubicBezTo>
                  <a:cubicBezTo>
                    <a:pt x="19" y="156"/>
                    <a:pt x="59" y="195"/>
                    <a:pt x="107" y="195"/>
                  </a:cubicBezTo>
                  <a:cubicBezTo>
                    <a:pt x="156" y="195"/>
                    <a:pt x="194" y="157"/>
                    <a:pt x="194" y="10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4" name="Freeform 71">
              <a:extLst>
                <a:ext uri="{FF2B5EF4-FFF2-40B4-BE49-F238E27FC236}">
                  <a16:creationId xmlns:a16="http://schemas.microsoft.com/office/drawing/2014/main" xmlns="" id="{1BA2BDFD-7FEA-40EE-9D2A-2314C5301E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5" y="963"/>
              <a:ext cx="517" cy="516"/>
            </a:xfrm>
            <a:custGeom>
              <a:avLst/>
              <a:gdLst>
                <a:gd name="T0" fmla="*/ 170 w 344"/>
                <a:gd name="T1" fmla="*/ 344 h 344"/>
                <a:gd name="T2" fmla="*/ 0 w 344"/>
                <a:gd name="T3" fmla="*/ 171 h 344"/>
                <a:gd name="T4" fmla="*/ 174 w 344"/>
                <a:gd name="T5" fmla="*/ 1 h 344"/>
                <a:gd name="T6" fmla="*/ 343 w 344"/>
                <a:gd name="T7" fmla="*/ 174 h 344"/>
                <a:gd name="T8" fmla="*/ 170 w 344"/>
                <a:gd name="T9" fmla="*/ 344 h 344"/>
                <a:gd name="T10" fmla="*/ 170 w 344"/>
                <a:gd name="T11" fmla="*/ 297 h 344"/>
                <a:gd name="T12" fmla="*/ 296 w 344"/>
                <a:gd name="T13" fmla="*/ 174 h 344"/>
                <a:gd name="T14" fmla="*/ 172 w 344"/>
                <a:gd name="T15" fmla="*/ 47 h 344"/>
                <a:gd name="T16" fmla="*/ 47 w 344"/>
                <a:gd name="T17" fmla="*/ 171 h 344"/>
                <a:gd name="T18" fmla="*/ 170 w 344"/>
                <a:gd name="T19" fmla="*/ 297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4" h="344">
                  <a:moveTo>
                    <a:pt x="170" y="344"/>
                  </a:moveTo>
                  <a:cubicBezTo>
                    <a:pt x="76" y="343"/>
                    <a:pt x="0" y="266"/>
                    <a:pt x="0" y="171"/>
                  </a:cubicBezTo>
                  <a:cubicBezTo>
                    <a:pt x="1" y="76"/>
                    <a:pt x="79" y="0"/>
                    <a:pt x="174" y="1"/>
                  </a:cubicBezTo>
                  <a:cubicBezTo>
                    <a:pt x="268" y="1"/>
                    <a:pt x="344" y="79"/>
                    <a:pt x="343" y="174"/>
                  </a:cubicBezTo>
                  <a:cubicBezTo>
                    <a:pt x="343" y="269"/>
                    <a:pt x="266" y="344"/>
                    <a:pt x="170" y="344"/>
                  </a:cubicBezTo>
                  <a:close/>
                  <a:moveTo>
                    <a:pt x="170" y="297"/>
                  </a:moveTo>
                  <a:cubicBezTo>
                    <a:pt x="240" y="297"/>
                    <a:pt x="296" y="243"/>
                    <a:pt x="296" y="174"/>
                  </a:cubicBezTo>
                  <a:cubicBezTo>
                    <a:pt x="297" y="104"/>
                    <a:pt x="242" y="48"/>
                    <a:pt x="172" y="47"/>
                  </a:cubicBezTo>
                  <a:cubicBezTo>
                    <a:pt x="104" y="47"/>
                    <a:pt x="47" y="103"/>
                    <a:pt x="47" y="171"/>
                  </a:cubicBezTo>
                  <a:cubicBezTo>
                    <a:pt x="47" y="240"/>
                    <a:pt x="102" y="297"/>
                    <a:pt x="170" y="29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5" name="Freeform 72">
              <a:extLst>
                <a:ext uri="{FF2B5EF4-FFF2-40B4-BE49-F238E27FC236}">
                  <a16:creationId xmlns:a16="http://schemas.microsoft.com/office/drawing/2014/main" xmlns="" id="{D6F02E91-AB03-40DC-987A-636A2B753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2" y="873"/>
              <a:ext cx="344" cy="346"/>
            </a:xfrm>
            <a:custGeom>
              <a:avLst/>
              <a:gdLst>
                <a:gd name="T0" fmla="*/ 228 w 229"/>
                <a:gd name="T1" fmla="*/ 117 h 231"/>
                <a:gd name="T2" fmla="*/ 113 w 229"/>
                <a:gd name="T3" fmla="*/ 231 h 231"/>
                <a:gd name="T4" fmla="*/ 0 w 229"/>
                <a:gd name="T5" fmla="*/ 115 h 231"/>
                <a:gd name="T6" fmla="*/ 116 w 229"/>
                <a:gd name="T7" fmla="*/ 1 h 231"/>
                <a:gd name="T8" fmla="*/ 228 w 229"/>
                <a:gd name="T9" fmla="*/ 117 h 231"/>
                <a:gd name="T10" fmla="*/ 198 w 229"/>
                <a:gd name="T11" fmla="*/ 117 h 231"/>
                <a:gd name="T12" fmla="*/ 116 w 229"/>
                <a:gd name="T13" fmla="*/ 32 h 231"/>
                <a:gd name="T14" fmla="*/ 30 w 229"/>
                <a:gd name="T15" fmla="*/ 116 h 231"/>
                <a:gd name="T16" fmla="*/ 114 w 229"/>
                <a:gd name="T17" fmla="*/ 200 h 231"/>
                <a:gd name="T18" fmla="*/ 198 w 229"/>
                <a:gd name="T19" fmla="*/ 117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31">
                  <a:moveTo>
                    <a:pt x="228" y="117"/>
                  </a:moveTo>
                  <a:cubicBezTo>
                    <a:pt x="228" y="180"/>
                    <a:pt x="176" y="231"/>
                    <a:pt x="113" y="231"/>
                  </a:cubicBezTo>
                  <a:cubicBezTo>
                    <a:pt x="50" y="230"/>
                    <a:pt x="0" y="179"/>
                    <a:pt x="0" y="115"/>
                  </a:cubicBezTo>
                  <a:cubicBezTo>
                    <a:pt x="0" y="51"/>
                    <a:pt x="52" y="0"/>
                    <a:pt x="116" y="1"/>
                  </a:cubicBezTo>
                  <a:cubicBezTo>
                    <a:pt x="179" y="2"/>
                    <a:pt x="229" y="53"/>
                    <a:pt x="228" y="117"/>
                  </a:cubicBezTo>
                  <a:close/>
                  <a:moveTo>
                    <a:pt x="198" y="117"/>
                  </a:moveTo>
                  <a:cubicBezTo>
                    <a:pt x="198" y="70"/>
                    <a:pt x="162" y="32"/>
                    <a:pt x="116" y="32"/>
                  </a:cubicBezTo>
                  <a:cubicBezTo>
                    <a:pt x="68" y="31"/>
                    <a:pt x="30" y="68"/>
                    <a:pt x="30" y="116"/>
                  </a:cubicBezTo>
                  <a:cubicBezTo>
                    <a:pt x="30" y="162"/>
                    <a:pt x="68" y="200"/>
                    <a:pt x="114" y="200"/>
                  </a:cubicBezTo>
                  <a:cubicBezTo>
                    <a:pt x="159" y="201"/>
                    <a:pt x="197" y="163"/>
                    <a:pt x="198" y="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6" name="Freeform 73">
              <a:extLst>
                <a:ext uri="{FF2B5EF4-FFF2-40B4-BE49-F238E27FC236}">
                  <a16:creationId xmlns:a16="http://schemas.microsoft.com/office/drawing/2014/main" xmlns="" id="{0F2AB94C-B7AE-41DF-BC4F-64523A6936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0" y="328"/>
              <a:ext cx="264" cy="264"/>
            </a:xfrm>
            <a:custGeom>
              <a:avLst/>
              <a:gdLst>
                <a:gd name="T0" fmla="*/ 175 w 176"/>
                <a:gd name="T1" fmla="*/ 89 h 176"/>
                <a:gd name="T2" fmla="*/ 88 w 176"/>
                <a:gd name="T3" fmla="*/ 176 h 176"/>
                <a:gd name="T4" fmla="*/ 0 w 176"/>
                <a:gd name="T5" fmla="*/ 89 h 176"/>
                <a:gd name="T6" fmla="*/ 89 w 176"/>
                <a:gd name="T7" fmla="*/ 0 h 176"/>
                <a:gd name="T8" fmla="*/ 175 w 176"/>
                <a:gd name="T9" fmla="*/ 89 h 176"/>
                <a:gd name="T10" fmla="*/ 153 w 176"/>
                <a:gd name="T11" fmla="*/ 89 h 176"/>
                <a:gd name="T12" fmla="*/ 88 w 176"/>
                <a:gd name="T13" fmla="*/ 23 h 176"/>
                <a:gd name="T14" fmla="*/ 23 w 176"/>
                <a:gd name="T15" fmla="*/ 89 h 176"/>
                <a:gd name="T16" fmla="*/ 88 w 176"/>
                <a:gd name="T17" fmla="*/ 153 h 176"/>
                <a:gd name="T18" fmla="*/ 153 w 176"/>
                <a:gd name="T19" fmla="*/ 8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6" h="176">
                  <a:moveTo>
                    <a:pt x="175" y="89"/>
                  </a:moveTo>
                  <a:cubicBezTo>
                    <a:pt x="175" y="138"/>
                    <a:pt x="137" y="176"/>
                    <a:pt x="88" y="176"/>
                  </a:cubicBezTo>
                  <a:cubicBezTo>
                    <a:pt x="40" y="176"/>
                    <a:pt x="0" y="137"/>
                    <a:pt x="0" y="89"/>
                  </a:cubicBezTo>
                  <a:cubicBezTo>
                    <a:pt x="0" y="41"/>
                    <a:pt x="41" y="0"/>
                    <a:pt x="89" y="0"/>
                  </a:cubicBezTo>
                  <a:cubicBezTo>
                    <a:pt x="137" y="1"/>
                    <a:pt x="176" y="41"/>
                    <a:pt x="175" y="89"/>
                  </a:cubicBezTo>
                  <a:close/>
                  <a:moveTo>
                    <a:pt x="153" y="89"/>
                  </a:moveTo>
                  <a:cubicBezTo>
                    <a:pt x="152" y="53"/>
                    <a:pt x="123" y="23"/>
                    <a:pt x="88" y="23"/>
                  </a:cubicBezTo>
                  <a:cubicBezTo>
                    <a:pt x="53" y="23"/>
                    <a:pt x="23" y="54"/>
                    <a:pt x="23" y="89"/>
                  </a:cubicBezTo>
                  <a:cubicBezTo>
                    <a:pt x="23" y="124"/>
                    <a:pt x="52" y="153"/>
                    <a:pt x="88" y="153"/>
                  </a:cubicBezTo>
                  <a:cubicBezTo>
                    <a:pt x="124" y="153"/>
                    <a:pt x="153" y="125"/>
                    <a:pt x="153" y="8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7" name="Freeform 74">
              <a:extLst>
                <a:ext uri="{FF2B5EF4-FFF2-40B4-BE49-F238E27FC236}">
                  <a16:creationId xmlns:a16="http://schemas.microsoft.com/office/drawing/2014/main" xmlns="" id="{157A3FC0-50B1-47BD-BA3C-BD4C1A157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6" y="1033"/>
              <a:ext cx="376" cy="375"/>
            </a:xfrm>
            <a:custGeom>
              <a:avLst/>
              <a:gdLst>
                <a:gd name="T0" fmla="*/ 123 w 250"/>
                <a:gd name="T1" fmla="*/ 250 h 250"/>
                <a:gd name="T2" fmla="*/ 0 w 250"/>
                <a:gd name="T3" fmla="*/ 124 h 250"/>
                <a:gd name="T4" fmla="*/ 125 w 250"/>
                <a:gd name="T5" fmla="*/ 0 h 250"/>
                <a:gd name="T6" fmla="*/ 249 w 250"/>
                <a:gd name="T7" fmla="*/ 127 h 250"/>
                <a:gd name="T8" fmla="*/ 123 w 250"/>
                <a:gd name="T9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" h="250">
                  <a:moveTo>
                    <a:pt x="123" y="250"/>
                  </a:moveTo>
                  <a:cubicBezTo>
                    <a:pt x="55" y="250"/>
                    <a:pt x="0" y="193"/>
                    <a:pt x="0" y="124"/>
                  </a:cubicBezTo>
                  <a:cubicBezTo>
                    <a:pt x="0" y="56"/>
                    <a:pt x="57" y="0"/>
                    <a:pt x="125" y="0"/>
                  </a:cubicBezTo>
                  <a:cubicBezTo>
                    <a:pt x="195" y="1"/>
                    <a:pt x="250" y="57"/>
                    <a:pt x="249" y="127"/>
                  </a:cubicBezTo>
                  <a:cubicBezTo>
                    <a:pt x="249" y="196"/>
                    <a:pt x="193" y="250"/>
                    <a:pt x="123" y="2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8" name="Freeform 75">
              <a:extLst>
                <a:ext uri="{FF2B5EF4-FFF2-40B4-BE49-F238E27FC236}">
                  <a16:creationId xmlns:a16="http://schemas.microsoft.com/office/drawing/2014/main" xmlns="" id="{0B5A2587-D425-4041-9374-7680F14B5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7" y="919"/>
              <a:ext cx="252" cy="255"/>
            </a:xfrm>
            <a:custGeom>
              <a:avLst/>
              <a:gdLst>
                <a:gd name="T0" fmla="*/ 168 w 168"/>
                <a:gd name="T1" fmla="*/ 86 h 170"/>
                <a:gd name="T2" fmla="*/ 84 w 168"/>
                <a:gd name="T3" fmla="*/ 169 h 170"/>
                <a:gd name="T4" fmla="*/ 0 w 168"/>
                <a:gd name="T5" fmla="*/ 85 h 170"/>
                <a:gd name="T6" fmla="*/ 86 w 168"/>
                <a:gd name="T7" fmla="*/ 1 h 170"/>
                <a:gd name="T8" fmla="*/ 168 w 168"/>
                <a:gd name="T9" fmla="*/ 8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70">
                  <a:moveTo>
                    <a:pt x="168" y="86"/>
                  </a:moveTo>
                  <a:cubicBezTo>
                    <a:pt x="167" y="132"/>
                    <a:pt x="129" y="170"/>
                    <a:pt x="84" y="169"/>
                  </a:cubicBezTo>
                  <a:cubicBezTo>
                    <a:pt x="38" y="169"/>
                    <a:pt x="0" y="131"/>
                    <a:pt x="0" y="85"/>
                  </a:cubicBezTo>
                  <a:cubicBezTo>
                    <a:pt x="0" y="37"/>
                    <a:pt x="38" y="0"/>
                    <a:pt x="86" y="1"/>
                  </a:cubicBezTo>
                  <a:cubicBezTo>
                    <a:pt x="132" y="1"/>
                    <a:pt x="168" y="39"/>
                    <a:pt x="168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339" name="Freeform 76">
              <a:extLst>
                <a:ext uri="{FF2B5EF4-FFF2-40B4-BE49-F238E27FC236}">
                  <a16:creationId xmlns:a16="http://schemas.microsoft.com/office/drawing/2014/main" xmlns="" id="{8C8E7015-B408-4E57-964C-4F3AD0DF7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363"/>
              <a:ext cx="195" cy="195"/>
            </a:xfrm>
            <a:custGeom>
              <a:avLst/>
              <a:gdLst>
                <a:gd name="T0" fmla="*/ 130 w 130"/>
                <a:gd name="T1" fmla="*/ 66 h 130"/>
                <a:gd name="T2" fmla="*/ 65 w 130"/>
                <a:gd name="T3" fmla="*/ 130 h 130"/>
                <a:gd name="T4" fmla="*/ 0 w 130"/>
                <a:gd name="T5" fmla="*/ 66 h 130"/>
                <a:gd name="T6" fmla="*/ 65 w 130"/>
                <a:gd name="T7" fmla="*/ 0 h 130"/>
                <a:gd name="T8" fmla="*/ 130 w 130"/>
                <a:gd name="T9" fmla="*/ 6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130" y="66"/>
                  </a:moveTo>
                  <a:cubicBezTo>
                    <a:pt x="130" y="102"/>
                    <a:pt x="101" y="130"/>
                    <a:pt x="65" y="130"/>
                  </a:cubicBezTo>
                  <a:cubicBezTo>
                    <a:pt x="29" y="130"/>
                    <a:pt x="0" y="101"/>
                    <a:pt x="0" y="66"/>
                  </a:cubicBezTo>
                  <a:cubicBezTo>
                    <a:pt x="0" y="31"/>
                    <a:pt x="30" y="0"/>
                    <a:pt x="65" y="0"/>
                  </a:cubicBezTo>
                  <a:cubicBezTo>
                    <a:pt x="100" y="0"/>
                    <a:pt x="129" y="30"/>
                    <a:pt x="130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89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</p:grpSp>
      <p:sp>
        <p:nvSpPr>
          <p:cNvPr id="147" name="Rettangolo 146">
            <a:extLst>
              <a:ext uri="{FF2B5EF4-FFF2-40B4-BE49-F238E27FC236}">
                <a16:creationId xmlns:a16="http://schemas.microsoft.com/office/drawing/2014/main" xmlns="" id="{921672F4-5DE8-4F02-B49F-6BB876BF6B96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Wharton</a:t>
            </a:r>
            <a:r>
              <a:rPr lang="nl-NL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S et al. CMAJ 2020;192:E875–91.</a:t>
            </a:r>
            <a:endParaRPr lang="fr-F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98" name="Segnaposto numero diapositiva 5">
            <a:extLst>
              <a:ext uri="{FF2B5EF4-FFF2-40B4-BE49-F238E27FC236}">
                <a16:creationId xmlns:a16="http://schemas.microsoft.com/office/drawing/2014/main" xmlns="" id="{86238FCA-DC28-4B4B-8C52-C50932829B5A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16</a:t>
            </a:fld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7777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4">
            <a:extLst>
              <a:ext uri="{FF2B5EF4-FFF2-40B4-BE49-F238E27FC236}">
                <a16:creationId xmlns:a16="http://schemas.microsoft.com/office/drawing/2014/main" xmlns="" id="{7B5BC5CE-94B2-4755-9C7E-209F92F05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32541" cy="1325563"/>
          </a:xfrm>
        </p:spPr>
        <p:txBody>
          <a:bodyPr/>
          <a:lstStyle/>
          <a:p>
            <a:r>
              <a:rPr lang="en-GB" dirty="0"/>
              <a:t>Bariatric surgery is the most effective treatment for sustained weight loss in morbid obesity</a:t>
            </a:r>
            <a:endParaRPr lang="en-CA" dirty="0"/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xmlns="" id="{7F845717-3ACB-4E8B-A62D-C28D8AA6D572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Casimiro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I, et al. </a:t>
            </a:r>
            <a:r>
              <a:rPr lang="en-GB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hysiol</a:t>
            </a:r>
            <a:r>
              <a:rPr lang="en-GB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Rep. 2019;7(10):e14111.</a:t>
            </a:r>
            <a:endParaRPr lang="pt-B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0" name="Segnaposto numero diapositiva 5">
            <a:extLst>
              <a:ext uri="{FF2B5EF4-FFF2-40B4-BE49-F238E27FC236}">
                <a16:creationId xmlns:a16="http://schemas.microsoft.com/office/drawing/2014/main" xmlns="" id="{9BC9EEC6-6D91-41D6-9A5F-14E509BDCE32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xmlns="" id="{268A602A-C5FD-4108-9E60-7A1CAE8762EA}"/>
              </a:ext>
            </a:extLst>
          </p:cNvPr>
          <p:cNvSpPr txBox="1">
            <a:spLocks/>
          </p:cNvSpPr>
          <p:nvPr/>
        </p:nvSpPr>
        <p:spPr>
          <a:xfrm>
            <a:off x="648000" y="6210000"/>
            <a:ext cx="10899337" cy="32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 i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chemeClr val="tx2"/>
                </a:solidFill>
                <a:cs typeface="Arial" panose="020B0604020202020204" pitchFamily="34" charset="0"/>
              </a:rPr>
              <a:t>GLP-1, glucagon-like peptide 1; OSA, obstructive sleep apnea: PYY, peptide YY.  </a:t>
            </a:r>
            <a:endParaRPr lang="en-GB" sz="8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xmlns="" id="{8E345024-DEF1-4166-B9FE-B7C7A421B4D3}"/>
              </a:ext>
            </a:extLst>
          </p:cNvPr>
          <p:cNvGrpSpPr/>
          <p:nvPr/>
        </p:nvGrpSpPr>
        <p:grpSpPr>
          <a:xfrm>
            <a:off x="721259" y="1604063"/>
            <a:ext cx="7889341" cy="4675561"/>
            <a:chOff x="721259" y="1604063"/>
            <a:chExt cx="7889341" cy="4675561"/>
          </a:xfrm>
        </p:grpSpPr>
        <p:grpSp>
          <p:nvGrpSpPr>
            <p:cNvPr id="10" name="Gruppo 9">
              <a:extLst>
                <a:ext uri="{FF2B5EF4-FFF2-40B4-BE49-F238E27FC236}">
                  <a16:creationId xmlns:a16="http://schemas.microsoft.com/office/drawing/2014/main" xmlns="" id="{E59C52F3-8401-47F1-88CE-558D4BA0CE74}"/>
                </a:ext>
              </a:extLst>
            </p:cNvPr>
            <p:cNvGrpSpPr/>
            <p:nvPr/>
          </p:nvGrpSpPr>
          <p:grpSpPr>
            <a:xfrm>
              <a:off x="721259" y="1604063"/>
              <a:ext cx="7889341" cy="4675561"/>
              <a:chOff x="838200" y="1817314"/>
              <a:chExt cx="7503401" cy="4310466"/>
            </a:xfrm>
          </p:grpSpPr>
          <p:pic>
            <p:nvPicPr>
              <p:cNvPr id="3" name="Immagine 2">
                <a:extLst>
                  <a:ext uri="{FF2B5EF4-FFF2-40B4-BE49-F238E27FC236}">
                    <a16:creationId xmlns:a16="http://schemas.microsoft.com/office/drawing/2014/main" xmlns="" id="{517813EF-BF64-4DE8-A249-D2142A8C624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3094" t="26402" r="24554" b="20132"/>
              <a:stretch/>
            </p:blipFill>
            <p:spPr>
              <a:xfrm>
                <a:off x="838200" y="1817314"/>
                <a:ext cx="7503401" cy="4310466"/>
              </a:xfrm>
              <a:prstGeom prst="rect">
                <a:avLst/>
              </a:prstGeom>
            </p:spPr>
          </p:pic>
          <p:grpSp>
            <p:nvGrpSpPr>
              <p:cNvPr id="9" name="Gruppo 8">
                <a:extLst>
                  <a:ext uri="{FF2B5EF4-FFF2-40B4-BE49-F238E27FC236}">
                    <a16:creationId xmlns:a16="http://schemas.microsoft.com/office/drawing/2014/main" xmlns="" id="{7C54A7A2-0BE0-4726-9ED5-2457F41914BE}"/>
                  </a:ext>
                </a:extLst>
              </p:cNvPr>
              <p:cNvGrpSpPr/>
              <p:nvPr/>
            </p:nvGrpSpPr>
            <p:grpSpPr>
              <a:xfrm>
                <a:off x="4925085" y="2670772"/>
                <a:ext cx="3195873" cy="1429010"/>
                <a:chOff x="4925085" y="2670772"/>
                <a:chExt cx="3195873" cy="1429010"/>
              </a:xfrm>
            </p:grpSpPr>
            <p:sp>
              <p:nvSpPr>
                <p:cNvPr id="8" name="Rettangolo 7">
                  <a:extLst>
                    <a:ext uri="{FF2B5EF4-FFF2-40B4-BE49-F238E27FC236}">
                      <a16:creationId xmlns:a16="http://schemas.microsoft.com/office/drawing/2014/main" xmlns="" id="{27252D9A-47FE-4C0B-AE3B-1A0E9C5B2D81}"/>
                    </a:ext>
                  </a:extLst>
                </p:cNvPr>
                <p:cNvSpPr/>
                <p:nvPr/>
              </p:nvSpPr>
              <p:spPr>
                <a:xfrm>
                  <a:off x="4925085" y="2670772"/>
                  <a:ext cx="3195873" cy="118600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36000" rIns="72000" bIns="36000" rtlCol="0" anchor="ctr"/>
                <a:lstStyle/>
                <a:p>
                  <a:pPr algn="ctr"/>
                  <a:endParaRPr lang="en-GB" sz="2000" noProof="0" dirty="0" err="1"/>
                </a:p>
              </p:txBody>
            </p:sp>
            <p:sp>
              <p:nvSpPr>
                <p:cNvPr id="26" name="Rettangolo 25">
                  <a:extLst>
                    <a:ext uri="{FF2B5EF4-FFF2-40B4-BE49-F238E27FC236}">
                      <a16:creationId xmlns:a16="http://schemas.microsoft.com/office/drawing/2014/main" xmlns="" id="{96D3B4AB-1C1C-48EE-AEEE-CBBF1D002BB6}"/>
                    </a:ext>
                  </a:extLst>
                </p:cNvPr>
                <p:cNvSpPr/>
                <p:nvPr/>
              </p:nvSpPr>
              <p:spPr>
                <a:xfrm>
                  <a:off x="5462634" y="2913778"/>
                  <a:ext cx="1825406" cy="118600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36000" rIns="72000" bIns="36000" rtlCol="0" anchor="ctr"/>
                <a:lstStyle/>
                <a:p>
                  <a:pPr algn="ctr"/>
                  <a:endParaRPr lang="en-GB" sz="2000" noProof="0" dirty="0" err="1"/>
                </a:p>
              </p:txBody>
            </p:sp>
          </p:grpSp>
        </p:grpSp>
        <p:sp>
          <p:nvSpPr>
            <p:cNvPr id="11" name="Rettangolo con angoli arrotondati 10">
              <a:extLst>
                <a:ext uri="{FF2B5EF4-FFF2-40B4-BE49-F238E27FC236}">
                  <a16:creationId xmlns:a16="http://schemas.microsoft.com/office/drawing/2014/main" xmlns="" id="{C3D832D1-3EC5-4024-8732-9BE9249D65DE}"/>
                </a:ext>
              </a:extLst>
            </p:cNvPr>
            <p:cNvSpPr/>
            <p:nvPr/>
          </p:nvSpPr>
          <p:spPr>
            <a:xfrm>
              <a:off x="4010684" y="2212956"/>
              <a:ext cx="1600027" cy="316854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2" name="Rettangolo con angoli arrotondati 11">
              <a:extLst>
                <a:ext uri="{FF2B5EF4-FFF2-40B4-BE49-F238E27FC236}">
                  <a16:creationId xmlns:a16="http://schemas.microsoft.com/office/drawing/2014/main" xmlns="" id="{2DBD11FC-1C4D-43EA-A203-4FCE5AADF2A8}"/>
                </a:ext>
              </a:extLst>
            </p:cNvPr>
            <p:cNvSpPr/>
            <p:nvPr/>
          </p:nvSpPr>
          <p:spPr>
            <a:xfrm>
              <a:off x="3342581" y="3162116"/>
              <a:ext cx="1133220" cy="316854"/>
            </a:xfrm>
            <a:prstGeom prst="round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xmlns="" id="{4A7A4961-4613-40FA-A6E5-E0CFD4B1C619}"/>
                </a:ext>
              </a:extLst>
            </p:cNvPr>
            <p:cNvSpPr/>
            <p:nvPr/>
          </p:nvSpPr>
          <p:spPr>
            <a:xfrm>
              <a:off x="799768" y="2073775"/>
              <a:ext cx="1919296" cy="12864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28" name="Insert title here">
            <a:extLst>
              <a:ext uri="{FF2B5EF4-FFF2-40B4-BE49-F238E27FC236}">
                <a16:creationId xmlns:a16="http://schemas.microsoft.com/office/drawing/2014/main" xmlns="" id="{394995CD-6572-4684-9005-7066073727FE}"/>
              </a:ext>
            </a:extLst>
          </p:cNvPr>
          <p:cNvSpPr/>
          <p:nvPr/>
        </p:nvSpPr>
        <p:spPr>
          <a:xfrm>
            <a:off x="6265388" y="2127277"/>
            <a:ext cx="5566185" cy="15901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solidFill>
              <a:schemeClr val="tx2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algn="just"/>
            <a:r>
              <a:rPr lang="it-IT" sz="2000" b="0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I riarrangiamenti anatomici portano ad un </a:t>
            </a:r>
            <a:r>
              <a:rPr lang="it-IT" sz="2000" b="1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aumento delle </a:t>
            </a:r>
            <a:r>
              <a:rPr lang="it-IT" sz="2000" b="1" i="0" dirty="0" err="1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incretine</a:t>
            </a:r>
            <a:r>
              <a:rPr lang="it-IT" sz="2000" b="1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it-IT" sz="2000" b="0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che alla fine si traducono in un </a:t>
            </a:r>
            <a:r>
              <a:rPr lang="it-IT" sz="2000" b="1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miglioramento dei parametri metabolici</a:t>
            </a:r>
            <a:r>
              <a:rPr lang="it-IT" sz="2000" b="0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 associati alla perdita di peso e una </a:t>
            </a:r>
            <a:r>
              <a:rPr lang="it-IT" sz="2000" b="1" i="0" dirty="0">
                <a:solidFill>
                  <a:schemeClr val="tx2"/>
                </a:solidFill>
                <a:effectLst/>
                <a:latin typeface="Roboto" panose="02000000000000000000" pitchFamily="2" charset="0"/>
              </a:rPr>
              <a:t>migliore sensibilità all'insulina</a:t>
            </a:r>
            <a:endParaRPr lang="en-GB" sz="20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xmlns="" id="{5339AAF2-0244-4946-BE45-777DBFD4F82D}"/>
              </a:ext>
            </a:extLst>
          </p:cNvPr>
          <p:cNvSpPr/>
          <p:nvPr/>
        </p:nvSpPr>
        <p:spPr>
          <a:xfrm>
            <a:off x="838200" y="4213230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1</a:t>
            </a:r>
            <a:endParaRPr lang="en-GB" sz="1200" noProof="0" dirty="0" err="1"/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xmlns="" id="{594BAA45-8C0F-4D28-B590-65EF4F3C3E9E}"/>
              </a:ext>
            </a:extLst>
          </p:cNvPr>
          <p:cNvSpPr/>
          <p:nvPr/>
        </p:nvSpPr>
        <p:spPr>
          <a:xfrm>
            <a:off x="2525232" y="4213230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2</a:t>
            </a:r>
            <a:endParaRPr lang="en-GB" sz="1200" noProof="0" dirty="0" err="1"/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xmlns="" id="{8F7FEBAD-0F88-4BF7-9EB1-ED72BEFA70A7}"/>
              </a:ext>
            </a:extLst>
          </p:cNvPr>
          <p:cNvSpPr/>
          <p:nvPr/>
        </p:nvSpPr>
        <p:spPr>
          <a:xfrm>
            <a:off x="3701704" y="3997786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3</a:t>
            </a:r>
            <a:endParaRPr lang="en-GB" sz="1200" noProof="0" dirty="0" err="1"/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xmlns="" id="{CCBC0E38-030E-43FE-B8D8-60C722542EA1}"/>
              </a:ext>
            </a:extLst>
          </p:cNvPr>
          <p:cNvSpPr/>
          <p:nvPr/>
        </p:nvSpPr>
        <p:spPr>
          <a:xfrm>
            <a:off x="5018354" y="4552232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4</a:t>
            </a:r>
            <a:endParaRPr lang="en-GB" sz="1200" noProof="0" dirty="0" err="1"/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xmlns="" id="{B9A668D5-86F0-44AA-B475-5C5DDF31C82C}"/>
              </a:ext>
            </a:extLst>
          </p:cNvPr>
          <p:cNvSpPr/>
          <p:nvPr/>
        </p:nvSpPr>
        <p:spPr>
          <a:xfrm>
            <a:off x="7906117" y="4012266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5</a:t>
            </a:r>
            <a:endParaRPr lang="en-GB" sz="1200" noProof="0" dirty="0" err="1"/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xmlns="" id="{6AFCDA9A-F319-458C-85F0-694EDA962CC0}"/>
              </a:ext>
            </a:extLst>
          </p:cNvPr>
          <p:cNvSpPr/>
          <p:nvPr/>
        </p:nvSpPr>
        <p:spPr>
          <a:xfrm>
            <a:off x="8187900" y="5045580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6</a:t>
            </a:r>
            <a:endParaRPr lang="en-GB" sz="1200" noProof="0" dirty="0" err="1"/>
          </a:p>
        </p:txBody>
      </p:sp>
      <p:sp>
        <p:nvSpPr>
          <p:cNvPr id="24" name="Ovale 23">
            <a:extLst>
              <a:ext uri="{FF2B5EF4-FFF2-40B4-BE49-F238E27FC236}">
                <a16:creationId xmlns:a16="http://schemas.microsoft.com/office/drawing/2014/main" xmlns="" id="{F036328B-AD58-41F4-99E5-CFAB41107140}"/>
              </a:ext>
            </a:extLst>
          </p:cNvPr>
          <p:cNvSpPr/>
          <p:nvPr/>
        </p:nvSpPr>
        <p:spPr>
          <a:xfrm>
            <a:off x="7056120" y="5589256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7</a:t>
            </a:r>
            <a:endParaRPr lang="en-GB" sz="1200" noProof="0" dirty="0" err="1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xmlns="" id="{586D64FC-7D00-473C-903A-9B2C4819C645}"/>
              </a:ext>
            </a:extLst>
          </p:cNvPr>
          <p:cNvSpPr txBox="1"/>
          <p:nvPr/>
        </p:nvSpPr>
        <p:spPr>
          <a:xfrm>
            <a:off x="6896962" y="6144689"/>
            <a:ext cx="23997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400" dirty="0"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↑ Vasodilator dysfunction</a:t>
            </a:r>
            <a:endParaRPr lang="en-GB" sz="1400" dirty="0"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sp>
        <p:nvSpPr>
          <p:cNvPr id="29" name="Ovale 28">
            <a:extLst>
              <a:ext uri="{FF2B5EF4-FFF2-40B4-BE49-F238E27FC236}">
                <a16:creationId xmlns:a16="http://schemas.microsoft.com/office/drawing/2014/main" xmlns="" id="{025AB07C-2686-443A-A17F-E45AECBD0C11}"/>
              </a:ext>
            </a:extLst>
          </p:cNvPr>
          <p:cNvSpPr/>
          <p:nvPr/>
        </p:nvSpPr>
        <p:spPr>
          <a:xfrm>
            <a:off x="8762935" y="5994556"/>
            <a:ext cx="190708" cy="21544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noProof="0" dirty="0"/>
              <a:t>8</a:t>
            </a:r>
            <a:endParaRPr lang="en-GB" sz="1200" noProof="0" dirty="0" err="1"/>
          </a:p>
        </p:txBody>
      </p:sp>
    </p:spTree>
    <p:extLst>
      <p:ext uri="{BB962C8B-B14F-4D97-AF65-F5344CB8AC3E}">
        <p14:creationId xmlns:p14="http://schemas.microsoft.com/office/powerpoint/2010/main" val="2827292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5BA08558-1906-4F32-8309-AC2F7EDAE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5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e neuro-hormonal actors involved in energy homeostasi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8C3CD66D-651B-4828-9A80-0FF5E7AC1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998" y="6210000"/>
            <a:ext cx="10594993" cy="324000"/>
          </a:xfrm>
        </p:spPr>
        <p:txBody>
          <a:bodyPr/>
          <a:lstStyle/>
          <a:p>
            <a:r>
              <a:rPr lang="en-CA" sz="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RC, arcuate nucleus; CCK, cholecystokinin; CHO, carbohydrates; DMH, dorsomedial hypothalamic nucleus; GLP-1, glucagon-like peptide 1; LH, lateral hypothalamus; </a:t>
            </a:r>
            <a:r>
              <a:rPr lang="en-CA" sz="8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NAcc</a:t>
            </a:r>
            <a:r>
              <a:rPr lang="en-CA" sz="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nucleus </a:t>
            </a:r>
            <a:r>
              <a:rPr lang="en-CA" sz="8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ccumbens</a:t>
            </a:r>
            <a:r>
              <a:rPr lang="en-CA" sz="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; NTS, nucleus tractus solitarius; OXM, oxyntomodulin; PA, physical activity; PP, pancreatic polypeptide; PVN, paraventricular nucleus; PYY, peptide YY; REE, resting energy expenditure; TEF, thermic effect of food; VMH, ventromedial hypothalamus; VTA, ventral tegmental area.</a:t>
            </a:r>
            <a:endParaRPr lang="en-US" sz="8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3EA7941-8ECD-4A7D-A9D1-C611C95C3E7F}"/>
              </a:ext>
            </a:extLst>
          </p:cNvPr>
          <p:cNvGrpSpPr/>
          <p:nvPr/>
        </p:nvGrpSpPr>
        <p:grpSpPr>
          <a:xfrm>
            <a:off x="647808" y="1296000"/>
            <a:ext cx="10861056" cy="4493556"/>
            <a:chOff x="469900" y="1287812"/>
            <a:chExt cx="11407648" cy="4778376"/>
          </a:xfrm>
        </p:grpSpPr>
        <p:cxnSp>
          <p:nvCxnSpPr>
            <p:cNvPr id="1028" name="Connector: Elbow 1027">
              <a:extLst>
                <a:ext uri="{FF2B5EF4-FFF2-40B4-BE49-F238E27FC236}">
                  <a16:creationId xmlns:a16="http://schemas.microsoft.com/office/drawing/2014/main" xmlns="" id="{6DE90D20-D959-4083-8229-A4F5646255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53985" y="3076190"/>
              <a:ext cx="1839329" cy="1645092"/>
            </a:xfrm>
            <a:prstGeom prst="bentConnector2">
              <a:avLst/>
            </a:prstGeom>
            <a:noFill/>
            <a:ln w="19050" cap="flat" cmpd="sng" algn="ctr">
              <a:solidFill>
                <a:srgbClr val="007C92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812" name="Freeform 97">
              <a:extLst>
                <a:ext uri="{FF2B5EF4-FFF2-40B4-BE49-F238E27FC236}">
                  <a16:creationId xmlns:a16="http://schemas.microsoft.com/office/drawing/2014/main" xmlns="" id="{B6299223-C78B-4627-89ED-B63F0FAA062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363414" y="3570313"/>
              <a:ext cx="981639" cy="983347"/>
            </a:xfrm>
            <a:custGeom>
              <a:avLst/>
              <a:gdLst>
                <a:gd name="T0" fmla="*/ 129 w 1149"/>
                <a:gd name="T1" fmla="*/ 955 h 1151"/>
                <a:gd name="T2" fmla="*/ 200 w 1149"/>
                <a:gd name="T3" fmla="*/ 868 h 1151"/>
                <a:gd name="T4" fmla="*/ 267 w 1149"/>
                <a:gd name="T5" fmla="*/ 865 h 1151"/>
                <a:gd name="T6" fmla="*/ 292 w 1149"/>
                <a:gd name="T7" fmla="*/ 898 h 1151"/>
                <a:gd name="T8" fmla="*/ 426 w 1149"/>
                <a:gd name="T9" fmla="*/ 1059 h 1151"/>
                <a:gd name="T10" fmla="*/ 592 w 1149"/>
                <a:gd name="T11" fmla="*/ 1137 h 1151"/>
                <a:gd name="T12" fmla="*/ 736 w 1149"/>
                <a:gd name="T13" fmla="*/ 1145 h 1151"/>
                <a:gd name="T14" fmla="*/ 863 w 1149"/>
                <a:gd name="T15" fmla="*/ 1103 h 1151"/>
                <a:gd name="T16" fmla="*/ 976 w 1149"/>
                <a:gd name="T17" fmla="*/ 1026 h 1151"/>
                <a:gd name="T18" fmla="*/ 1056 w 1149"/>
                <a:gd name="T19" fmla="*/ 928 h 1151"/>
                <a:gd name="T20" fmla="*/ 1127 w 1149"/>
                <a:gd name="T21" fmla="*/ 791 h 1151"/>
                <a:gd name="T22" fmla="*/ 1147 w 1149"/>
                <a:gd name="T23" fmla="*/ 680 h 1151"/>
                <a:gd name="T24" fmla="*/ 1137 w 1149"/>
                <a:gd name="T25" fmla="*/ 553 h 1151"/>
                <a:gd name="T26" fmla="*/ 1114 w 1149"/>
                <a:gd name="T27" fmla="*/ 460 h 1151"/>
                <a:gd name="T28" fmla="*/ 1080 w 1149"/>
                <a:gd name="T29" fmla="*/ 388 h 1151"/>
                <a:gd name="T30" fmla="*/ 1031 w 1149"/>
                <a:gd name="T31" fmla="*/ 299 h 1151"/>
                <a:gd name="T32" fmla="*/ 966 w 1149"/>
                <a:gd name="T33" fmla="*/ 241 h 1151"/>
                <a:gd name="T34" fmla="*/ 894 w 1149"/>
                <a:gd name="T35" fmla="*/ 228 h 1151"/>
                <a:gd name="T36" fmla="*/ 820 w 1149"/>
                <a:gd name="T37" fmla="*/ 248 h 1151"/>
                <a:gd name="T38" fmla="*/ 754 w 1149"/>
                <a:gd name="T39" fmla="*/ 287 h 1151"/>
                <a:gd name="T40" fmla="*/ 679 w 1149"/>
                <a:gd name="T41" fmla="*/ 291 h 1151"/>
                <a:gd name="T42" fmla="*/ 611 w 1149"/>
                <a:gd name="T43" fmla="*/ 180 h 1151"/>
                <a:gd name="T44" fmla="*/ 578 w 1149"/>
                <a:gd name="T45" fmla="*/ 0 h 1151"/>
                <a:gd name="T46" fmla="*/ 482 w 1149"/>
                <a:gd name="T47" fmla="*/ 0 h 1151"/>
                <a:gd name="T48" fmla="*/ 500 w 1149"/>
                <a:gd name="T49" fmla="*/ 170 h 1151"/>
                <a:gd name="T50" fmla="*/ 532 w 1149"/>
                <a:gd name="T51" fmla="*/ 277 h 1151"/>
                <a:gd name="T52" fmla="*/ 584 w 1149"/>
                <a:gd name="T53" fmla="*/ 383 h 1151"/>
                <a:gd name="T54" fmla="*/ 680 w 1149"/>
                <a:gd name="T55" fmla="*/ 488 h 1151"/>
                <a:gd name="T56" fmla="*/ 662 w 1149"/>
                <a:gd name="T57" fmla="*/ 659 h 1151"/>
                <a:gd name="T58" fmla="*/ 596 w 1149"/>
                <a:gd name="T59" fmla="*/ 756 h 1151"/>
                <a:gd name="T60" fmla="*/ 506 w 1149"/>
                <a:gd name="T61" fmla="*/ 784 h 1151"/>
                <a:gd name="T62" fmla="*/ 413 w 1149"/>
                <a:gd name="T63" fmla="*/ 716 h 1151"/>
                <a:gd name="T64" fmla="*/ 351 w 1149"/>
                <a:gd name="T65" fmla="*/ 702 h 1151"/>
                <a:gd name="T66" fmla="*/ 259 w 1149"/>
                <a:gd name="T67" fmla="*/ 722 h 1151"/>
                <a:gd name="T68" fmla="*/ 179 w 1149"/>
                <a:gd name="T69" fmla="*/ 713 h 1151"/>
                <a:gd name="T70" fmla="*/ 107 w 1149"/>
                <a:gd name="T71" fmla="*/ 741 h 1151"/>
                <a:gd name="T72" fmla="*/ 0 w 1149"/>
                <a:gd name="T73" fmla="*/ 955 h 1151"/>
                <a:gd name="T74" fmla="*/ 129 w 1149"/>
                <a:gd name="T75" fmla="*/ 955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49" h="1151">
                  <a:moveTo>
                    <a:pt x="129" y="955"/>
                  </a:moveTo>
                  <a:cubicBezTo>
                    <a:pt x="135" y="917"/>
                    <a:pt x="181" y="876"/>
                    <a:pt x="200" y="868"/>
                  </a:cubicBezTo>
                  <a:cubicBezTo>
                    <a:pt x="220" y="861"/>
                    <a:pt x="251" y="860"/>
                    <a:pt x="267" y="865"/>
                  </a:cubicBezTo>
                  <a:cubicBezTo>
                    <a:pt x="281" y="870"/>
                    <a:pt x="265" y="865"/>
                    <a:pt x="292" y="898"/>
                  </a:cubicBezTo>
                  <a:cubicBezTo>
                    <a:pt x="318" y="930"/>
                    <a:pt x="376" y="1019"/>
                    <a:pt x="426" y="1059"/>
                  </a:cubicBezTo>
                  <a:cubicBezTo>
                    <a:pt x="477" y="1098"/>
                    <a:pt x="541" y="1122"/>
                    <a:pt x="592" y="1137"/>
                  </a:cubicBezTo>
                  <a:cubicBezTo>
                    <a:pt x="643" y="1151"/>
                    <a:pt x="691" y="1150"/>
                    <a:pt x="736" y="1145"/>
                  </a:cubicBezTo>
                  <a:cubicBezTo>
                    <a:pt x="781" y="1140"/>
                    <a:pt x="824" y="1123"/>
                    <a:pt x="863" y="1103"/>
                  </a:cubicBezTo>
                  <a:cubicBezTo>
                    <a:pt x="903" y="1083"/>
                    <a:pt x="942" y="1056"/>
                    <a:pt x="976" y="1026"/>
                  </a:cubicBezTo>
                  <a:cubicBezTo>
                    <a:pt x="1007" y="997"/>
                    <a:pt x="1031" y="968"/>
                    <a:pt x="1056" y="928"/>
                  </a:cubicBezTo>
                  <a:cubicBezTo>
                    <a:pt x="1082" y="889"/>
                    <a:pt x="1112" y="832"/>
                    <a:pt x="1127" y="791"/>
                  </a:cubicBezTo>
                  <a:cubicBezTo>
                    <a:pt x="1141" y="749"/>
                    <a:pt x="1145" y="719"/>
                    <a:pt x="1147" y="680"/>
                  </a:cubicBezTo>
                  <a:cubicBezTo>
                    <a:pt x="1149" y="640"/>
                    <a:pt x="1143" y="589"/>
                    <a:pt x="1137" y="553"/>
                  </a:cubicBezTo>
                  <a:cubicBezTo>
                    <a:pt x="1131" y="516"/>
                    <a:pt x="1123" y="487"/>
                    <a:pt x="1114" y="460"/>
                  </a:cubicBezTo>
                  <a:cubicBezTo>
                    <a:pt x="1103" y="433"/>
                    <a:pt x="1094" y="416"/>
                    <a:pt x="1080" y="388"/>
                  </a:cubicBezTo>
                  <a:cubicBezTo>
                    <a:pt x="1067" y="361"/>
                    <a:pt x="1049" y="323"/>
                    <a:pt x="1031" y="299"/>
                  </a:cubicBezTo>
                  <a:cubicBezTo>
                    <a:pt x="1011" y="274"/>
                    <a:pt x="989" y="253"/>
                    <a:pt x="966" y="241"/>
                  </a:cubicBezTo>
                  <a:cubicBezTo>
                    <a:pt x="944" y="229"/>
                    <a:pt x="918" y="227"/>
                    <a:pt x="894" y="228"/>
                  </a:cubicBezTo>
                  <a:cubicBezTo>
                    <a:pt x="869" y="229"/>
                    <a:pt x="844" y="238"/>
                    <a:pt x="820" y="248"/>
                  </a:cubicBezTo>
                  <a:cubicBezTo>
                    <a:pt x="797" y="256"/>
                    <a:pt x="777" y="279"/>
                    <a:pt x="754" y="287"/>
                  </a:cubicBezTo>
                  <a:cubicBezTo>
                    <a:pt x="730" y="294"/>
                    <a:pt x="702" y="308"/>
                    <a:pt x="679" y="291"/>
                  </a:cubicBezTo>
                  <a:cubicBezTo>
                    <a:pt x="655" y="273"/>
                    <a:pt x="628" y="229"/>
                    <a:pt x="611" y="180"/>
                  </a:cubicBezTo>
                  <a:cubicBezTo>
                    <a:pt x="595" y="131"/>
                    <a:pt x="583" y="41"/>
                    <a:pt x="578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0" y="34"/>
                    <a:pt x="492" y="124"/>
                    <a:pt x="500" y="170"/>
                  </a:cubicBezTo>
                  <a:cubicBezTo>
                    <a:pt x="509" y="216"/>
                    <a:pt x="517" y="242"/>
                    <a:pt x="532" y="277"/>
                  </a:cubicBezTo>
                  <a:cubicBezTo>
                    <a:pt x="545" y="313"/>
                    <a:pt x="558" y="348"/>
                    <a:pt x="584" y="383"/>
                  </a:cubicBezTo>
                  <a:cubicBezTo>
                    <a:pt x="608" y="419"/>
                    <a:pt x="667" y="442"/>
                    <a:pt x="680" y="488"/>
                  </a:cubicBezTo>
                  <a:cubicBezTo>
                    <a:pt x="693" y="534"/>
                    <a:pt x="676" y="614"/>
                    <a:pt x="662" y="659"/>
                  </a:cubicBezTo>
                  <a:cubicBezTo>
                    <a:pt x="648" y="703"/>
                    <a:pt x="623" y="734"/>
                    <a:pt x="596" y="756"/>
                  </a:cubicBezTo>
                  <a:cubicBezTo>
                    <a:pt x="570" y="777"/>
                    <a:pt x="537" y="791"/>
                    <a:pt x="506" y="784"/>
                  </a:cubicBezTo>
                  <a:cubicBezTo>
                    <a:pt x="476" y="777"/>
                    <a:pt x="440" y="730"/>
                    <a:pt x="413" y="716"/>
                  </a:cubicBezTo>
                  <a:cubicBezTo>
                    <a:pt x="387" y="702"/>
                    <a:pt x="376" y="702"/>
                    <a:pt x="351" y="702"/>
                  </a:cubicBezTo>
                  <a:cubicBezTo>
                    <a:pt x="325" y="703"/>
                    <a:pt x="287" y="721"/>
                    <a:pt x="259" y="722"/>
                  </a:cubicBezTo>
                  <a:cubicBezTo>
                    <a:pt x="231" y="724"/>
                    <a:pt x="204" y="710"/>
                    <a:pt x="179" y="713"/>
                  </a:cubicBezTo>
                  <a:cubicBezTo>
                    <a:pt x="154" y="716"/>
                    <a:pt x="134" y="712"/>
                    <a:pt x="107" y="741"/>
                  </a:cubicBezTo>
                  <a:cubicBezTo>
                    <a:pt x="81" y="771"/>
                    <a:pt x="20" y="835"/>
                    <a:pt x="0" y="955"/>
                  </a:cubicBezTo>
                  <a:lnTo>
                    <a:pt x="129" y="955"/>
                  </a:lnTo>
                  <a:close/>
                </a:path>
              </a:pathLst>
            </a:custGeom>
            <a:solidFill>
              <a:srgbClr val="FFF5EE"/>
            </a:solidFill>
            <a:ln w="6350" cap="rnd">
              <a:solidFill>
                <a:srgbClr val="FF6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489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3" name="Freeform: Shape 812">
              <a:extLst>
                <a:ext uri="{FF2B5EF4-FFF2-40B4-BE49-F238E27FC236}">
                  <a16:creationId xmlns:a16="http://schemas.microsoft.com/office/drawing/2014/main" xmlns="" id="{D1B19014-A817-44B8-8774-5CF0E4F6F792}"/>
                </a:ext>
              </a:extLst>
            </p:cNvPr>
            <p:cNvSpPr/>
            <p:nvPr/>
          </p:nvSpPr>
          <p:spPr>
            <a:xfrm>
              <a:off x="8459222" y="5350848"/>
              <a:ext cx="1819084" cy="367379"/>
            </a:xfrm>
            <a:custGeom>
              <a:avLst/>
              <a:gdLst>
                <a:gd name="connsiteX0" fmla="*/ 32556 w 2146885"/>
                <a:gd name="connsiteY0" fmla="*/ 0 h 275534"/>
                <a:gd name="connsiteX1" fmla="*/ 2009118 w 2146885"/>
                <a:gd name="connsiteY1" fmla="*/ 0 h 275534"/>
                <a:gd name="connsiteX2" fmla="*/ 2146885 w 2146885"/>
                <a:gd name="connsiteY2" fmla="*/ 137767 h 275534"/>
                <a:gd name="connsiteX3" fmla="*/ 2009118 w 2146885"/>
                <a:gd name="connsiteY3" fmla="*/ 275534 h 275534"/>
                <a:gd name="connsiteX4" fmla="*/ 32556 w 2146885"/>
                <a:gd name="connsiteY4" fmla="*/ 275534 h 275534"/>
                <a:gd name="connsiteX5" fmla="*/ 7182 w 2146885"/>
                <a:gd name="connsiteY5" fmla="*/ 270411 h 275534"/>
                <a:gd name="connsiteX6" fmla="*/ 26719 w 2146885"/>
                <a:gd name="connsiteY6" fmla="*/ 259878 h 275534"/>
                <a:gd name="connsiteX7" fmla="*/ 88591 w 2146885"/>
                <a:gd name="connsiteY7" fmla="*/ 140428 h 275534"/>
                <a:gd name="connsiteX8" fmla="*/ 26719 w 2146885"/>
                <a:gd name="connsiteY8" fmla="*/ 20979 h 275534"/>
                <a:gd name="connsiteX9" fmla="*/ 0 w 2146885"/>
                <a:gd name="connsiteY9" fmla="*/ 6573 h 275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6885" h="275534">
                  <a:moveTo>
                    <a:pt x="32556" y="0"/>
                  </a:moveTo>
                  <a:lnTo>
                    <a:pt x="2009118" y="0"/>
                  </a:lnTo>
                  <a:cubicBezTo>
                    <a:pt x="2085205" y="0"/>
                    <a:pt x="2146885" y="61680"/>
                    <a:pt x="2146885" y="137767"/>
                  </a:cubicBezTo>
                  <a:cubicBezTo>
                    <a:pt x="2146885" y="213854"/>
                    <a:pt x="2085205" y="275534"/>
                    <a:pt x="2009118" y="275534"/>
                  </a:cubicBezTo>
                  <a:lnTo>
                    <a:pt x="32556" y="275534"/>
                  </a:lnTo>
                  <a:lnTo>
                    <a:pt x="7182" y="270411"/>
                  </a:lnTo>
                  <a:lnTo>
                    <a:pt x="26719" y="259878"/>
                  </a:lnTo>
                  <a:cubicBezTo>
                    <a:pt x="64947" y="229308"/>
                    <a:pt x="88591" y="187076"/>
                    <a:pt x="88591" y="140428"/>
                  </a:cubicBezTo>
                  <a:cubicBezTo>
                    <a:pt x="88591" y="93780"/>
                    <a:pt x="64947" y="51549"/>
                    <a:pt x="26719" y="20979"/>
                  </a:cubicBezTo>
                  <a:lnTo>
                    <a:pt x="0" y="657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37120D"/>
                </a:gs>
                <a:gs pos="93000">
                  <a:srgbClr val="651212"/>
                </a:gs>
                <a:gs pos="19456">
                  <a:srgbClr val="731114"/>
                </a:gs>
                <a:gs pos="44000">
                  <a:srgbClr val="991118"/>
                </a:gs>
                <a:gs pos="61000">
                  <a:srgbClr val="991118"/>
                </a:gs>
                <a:gs pos="100000">
                  <a:srgbClr val="37120D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4" name="Oval 813">
              <a:extLst>
                <a:ext uri="{FF2B5EF4-FFF2-40B4-BE49-F238E27FC236}">
                  <a16:creationId xmlns:a16="http://schemas.microsoft.com/office/drawing/2014/main" xmlns="" id="{B7366E53-D80F-4CCF-B92C-6362E87FAAA8}"/>
                </a:ext>
              </a:extLst>
            </p:cNvPr>
            <p:cNvSpPr/>
            <p:nvPr/>
          </p:nvSpPr>
          <p:spPr>
            <a:xfrm>
              <a:off x="10392988" y="3649452"/>
              <a:ext cx="283547" cy="237181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5" name="Arrow: Left 814">
              <a:extLst>
                <a:ext uri="{FF2B5EF4-FFF2-40B4-BE49-F238E27FC236}">
                  <a16:creationId xmlns:a16="http://schemas.microsoft.com/office/drawing/2014/main" xmlns="" id="{34CBC5A5-A5E6-4247-BB92-F7E6CA300C8C}"/>
                </a:ext>
              </a:extLst>
            </p:cNvPr>
            <p:cNvSpPr/>
            <p:nvPr/>
          </p:nvSpPr>
          <p:spPr>
            <a:xfrm>
              <a:off x="6092782" y="5300234"/>
              <a:ext cx="3977671" cy="147468"/>
            </a:xfrm>
            <a:prstGeom prst="leftArrow">
              <a:avLst>
                <a:gd name="adj1" fmla="val 50000"/>
                <a:gd name="adj2" fmla="val 75509"/>
              </a:avLst>
            </a:prstGeom>
            <a:solidFill>
              <a:srgbClr val="00142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6" name="Oval 815">
              <a:extLst>
                <a:ext uri="{FF2B5EF4-FFF2-40B4-BE49-F238E27FC236}">
                  <a16:creationId xmlns:a16="http://schemas.microsoft.com/office/drawing/2014/main" xmlns="" id="{44773AAF-AB70-4BAA-B598-D9B5A71690E3}"/>
                </a:ext>
              </a:extLst>
            </p:cNvPr>
            <p:cNvSpPr/>
            <p:nvPr/>
          </p:nvSpPr>
          <p:spPr>
            <a:xfrm>
              <a:off x="4089909" y="4884267"/>
              <a:ext cx="283547" cy="237181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7" name="Arrow: Bent 816">
              <a:extLst>
                <a:ext uri="{FF2B5EF4-FFF2-40B4-BE49-F238E27FC236}">
                  <a16:creationId xmlns:a16="http://schemas.microsoft.com/office/drawing/2014/main" xmlns="" id="{0D2C7E96-DDE2-425F-ABEF-A3CF004C322C}"/>
                </a:ext>
              </a:extLst>
            </p:cNvPr>
            <p:cNvSpPr/>
            <p:nvPr/>
          </p:nvSpPr>
          <p:spPr>
            <a:xfrm rot="16200000">
              <a:off x="5021844" y="4168168"/>
              <a:ext cx="541395" cy="1934481"/>
            </a:xfrm>
            <a:prstGeom prst="bentArrow">
              <a:avLst>
                <a:gd name="adj1" fmla="val 15593"/>
                <a:gd name="adj2" fmla="val 18716"/>
                <a:gd name="adj3" fmla="val 17895"/>
                <a:gd name="adj4" fmla="val 25544"/>
              </a:avLst>
            </a:prstGeom>
            <a:solidFill>
              <a:srgbClr val="00142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8" name="Arrow: Bent 817">
              <a:extLst>
                <a:ext uri="{FF2B5EF4-FFF2-40B4-BE49-F238E27FC236}">
                  <a16:creationId xmlns:a16="http://schemas.microsoft.com/office/drawing/2014/main" xmlns="" id="{D81FBD38-9A6E-44AA-B4A1-4AFD9F2704F5}"/>
                </a:ext>
              </a:extLst>
            </p:cNvPr>
            <p:cNvSpPr/>
            <p:nvPr/>
          </p:nvSpPr>
          <p:spPr>
            <a:xfrm rot="16200000">
              <a:off x="4704585" y="4253301"/>
              <a:ext cx="711656" cy="1934481"/>
            </a:xfrm>
            <a:prstGeom prst="bentArrow">
              <a:avLst>
                <a:gd name="adj1" fmla="val 15593"/>
                <a:gd name="adj2" fmla="val 18716"/>
                <a:gd name="adj3" fmla="val 17895"/>
                <a:gd name="adj4" fmla="val 25544"/>
              </a:avLst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19" name="Arrow: Left 818">
              <a:extLst>
                <a:ext uri="{FF2B5EF4-FFF2-40B4-BE49-F238E27FC236}">
                  <a16:creationId xmlns:a16="http://schemas.microsoft.com/office/drawing/2014/main" xmlns="" id="{D17D238B-BC18-43F2-BFFD-69FE1BCBFA16}"/>
                </a:ext>
              </a:extLst>
            </p:cNvPr>
            <p:cNvSpPr/>
            <p:nvPr/>
          </p:nvSpPr>
          <p:spPr>
            <a:xfrm>
              <a:off x="6524398" y="5419201"/>
              <a:ext cx="2025668" cy="199147"/>
            </a:xfrm>
            <a:prstGeom prst="leftArrow">
              <a:avLst>
                <a:gd name="adj1" fmla="val 50000"/>
                <a:gd name="adj2" fmla="val 75509"/>
              </a:avLst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820" name="Arrow: Left 819">
              <a:extLst>
                <a:ext uri="{FF2B5EF4-FFF2-40B4-BE49-F238E27FC236}">
                  <a16:creationId xmlns:a16="http://schemas.microsoft.com/office/drawing/2014/main" xmlns="" id="{BFB73100-7D3D-44AD-99AB-49D25ACFC21E}"/>
                </a:ext>
              </a:extLst>
            </p:cNvPr>
            <p:cNvSpPr/>
            <p:nvPr/>
          </p:nvSpPr>
          <p:spPr>
            <a:xfrm>
              <a:off x="4669760" y="5419201"/>
              <a:ext cx="1965813" cy="199147"/>
            </a:xfrm>
            <a:prstGeom prst="leftArrow">
              <a:avLst>
                <a:gd name="adj1" fmla="val 50000"/>
                <a:gd name="adj2" fmla="val 75509"/>
              </a:avLst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821" name="Group 820">
              <a:extLst>
                <a:ext uri="{FF2B5EF4-FFF2-40B4-BE49-F238E27FC236}">
                  <a16:creationId xmlns:a16="http://schemas.microsoft.com/office/drawing/2014/main" xmlns="" id="{8720692B-CE75-4F1C-9BBB-002E9BAAAE3B}"/>
                </a:ext>
              </a:extLst>
            </p:cNvPr>
            <p:cNvGrpSpPr/>
            <p:nvPr/>
          </p:nvGrpSpPr>
          <p:grpSpPr>
            <a:xfrm rot="21236576">
              <a:off x="1125243" y="1287812"/>
              <a:ext cx="3377891" cy="2826107"/>
              <a:chOff x="711086" y="1328523"/>
              <a:chExt cx="2533418" cy="2119580"/>
            </a:xfrm>
          </p:grpSpPr>
          <p:sp>
            <p:nvSpPr>
              <p:cNvPr id="822" name="Freeform: Shape 821">
                <a:extLst>
                  <a:ext uri="{FF2B5EF4-FFF2-40B4-BE49-F238E27FC236}">
                    <a16:creationId xmlns:a16="http://schemas.microsoft.com/office/drawing/2014/main" xmlns="" id="{D8D7CAEB-CB8F-41FD-BD0F-07C1FE0ACB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711086" y="1328523"/>
                <a:ext cx="2533418" cy="2119580"/>
              </a:xfrm>
              <a:custGeom>
                <a:avLst/>
                <a:gdLst>
                  <a:gd name="connsiteX0" fmla="*/ 1493811 w 2533418"/>
                  <a:gd name="connsiteY0" fmla="*/ 26564 h 2119580"/>
                  <a:gd name="connsiteX1" fmla="*/ 1640412 w 2533418"/>
                  <a:gd name="connsiteY1" fmla="*/ 87492 h 2119580"/>
                  <a:gd name="connsiteX2" fmla="*/ 1742880 w 2533418"/>
                  <a:gd name="connsiteY2" fmla="*/ 105312 h 2119580"/>
                  <a:gd name="connsiteX3" fmla="*/ 1937792 w 2533418"/>
                  <a:gd name="connsiteY3" fmla="*/ 213349 h 2119580"/>
                  <a:gd name="connsiteX4" fmla="*/ 2168345 w 2533418"/>
                  <a:gd name="connsiteY4" fmla="*/ 400465 h 2119580"/>
                  <a:gd name="connsiteX5" fmla="*/ 2349892 w 2533418"/>
                  <a:gd name="connsiteY5" fmla="*/ 684479 h 2119580"/>
                  <a:gd name="connsiteX6" fmla="*/ 2463498 w 2533418"/>
                  <a:gd name="connsiteY6" fmla="*/ 894984 h 2119580"/>
                  <a:gd name="connsiteX7" fmla="*/ 2500253 w 2533418"/>
                  <a:gd name="connsiteY7" fmla="*/ 1221323 h 2119580"/>
                  <a:gd name="connsiteX8" fmla="*/ 2493570 w 2533418"/>
                  <a:gd name="connsiteY8" fmla="*/ 1233574 h 2119580"/>
                  <a:gd name="connsiteX9" fmla="*/ 2258562 w 2533418"/>
                  <a:gd name="connsiteY9" fmla="*/ 1424031 h 2119580"/>
                  <a:gd name="connsiteX10" fmla="*/ 1982344 w 2533418"/>
                  <a:gd name="connsiteY10" fmla="*/ 1817197 h 2119580"/>
                  <a:gd name="connsiteX11" fmla="*/ 1624819 w 2533418"/>
                  <a:gd name="connsiteY11" fmla="*/ 1791580 h 2119580"/>
                  <a:gd name="connsiteX12" fmla="*/ 1620503 w 2533418"/>
                  <a:gd name="connsiteY12" fmla="*/ 1993244 h 2119580"/>
                  <a:gd name="connsiteX13" fmla="*/ 1624943 w 2533418"/>
                  <a:gd name="connsiteY13" fmla="*/ 2119580 h 2119580"/>
                  <a:gd name="connsiteX14" fmla="*/ 1312134 w 2533418"/>
                  <a:gd name="connsiteY14" fmla="*/ 2079571 h 2119580"/>
                  <a:gd name="connsiteX15" fmla="*/ 1309645 w 2533418"/>
                  <a:gd name="connsiteY15" fmla="*/ 2025387 h 2119580"/>
                  <a:gd name="connsiteX16" fmla="*/ 1316302 w 2533418"/>
                  <a:gd name="connsiteY16" fmla="*/ 1947509 h 2119580"/>
                  <a:gd name="connsiteX17" fmla="*/ 1191558 w 2533418"/>
                  <a:gd name="connsiteY17" fmla="*/ 1647902 h 2119580"/>
                  <a:gd name="connsiteX18" fmla="*/ 935388 w 2533418"/>
                  <a:gd name="connsiteY18" fmla="*/ 1644560 h 2119580"/>
                  <a:gd name="connsiteX19" fmla="*/ 887495 w 2533418"/>
                  <a:gd name="connsiteY19" fmla="*/ 1626740 h 2119580"/>
                  <a:gd name="connsiteX20" fmla="*/ 630212 w 2533418"/>
                  <a:gd name="connsiteY20" fmla="*/ 1313767 h 2119580"/>
                  <a:gd name="connsiteX21" fmla="*/ 631325 w 2533418"/>
                  <a:gd name="connsiteY21" fmla="*/ 1310426 h 2119580"/>
                  <a:gd name="connsiteX22" fmla="*/ 277143 w 2533418"/>
                  <a:gd name="connsiteY22" fmla="*/ 1172316 h 2119580"/>
                  <a:gd name="connsiteX23" fmla="*/ 111189 w 2533418"/>
                  <a:gd name="connsiteY23" fmla="*/ 1056483 h 2119580"/>
                  <a:gd name="connsiteX24" fmla="*/ 112303 w 2533418"/>
                  <a:gd name="connsiteY24" fmla="*/ 1055369 h 2119580"/>
                  <a:gd name="connsiteX25" fmla="*/ 20973 w 2533418"/>
                  <a:gd name="connsiteY25" fmla="*/ 860457 h 2119580"/>
                  <a:gd name="connsiteX26" fmla="*/ 25428 w 2533418"/>
                  <a:gd name="connsiteY26" fmla="*/ 653294 h 2119580"/>
                  <a:gd name="connsiteX27" fmla="*/ 32111 w 2533418"/>
                  <a:gd name="connsiteY27" fmla="*/ 639928 h 2119580"/>
                  <a:gd name="connsiteX28" fmla="*/ 120099 w 2533418"/>
                  <a:gd name="connsiteY28" fmla="*/ 460609 h 2119580"/>
                  <a:gd name="connsiteX29" fmla="*/ 519947 w 2533418"/>
                  <a:gd name="connsiteY29" fmla="*/ 122019 h 2119580"/>
                  <a:gd name="connsiteX30" fmla="*/ 690356 w 2533418"/>
                  <a:gd name="connsiteY30" fmla="*/ 36258 h 2119580"/>
                  <a:gd name="connsiteX31" fmla="*/ 908657 w 2533418"/>
                  <a:gd name="connsiteY31" fmla="*/ 11754 h 2119580"/>
                  <a:gd name="connsiteX32" fmla="*/ 1104683 w 2533418"/>
                  <a:gd name="connsiteY32" fmla="*/ 11754 h 2119580"/>
                  <a:gd name="connsiteX33" fmla="*/ 1112479 w 2533418"/>
                  <a:gd name="connsiteY33" fmla="*/ 19551 h 2119580"/>
                  <a:gd name="connsiteX34" fmla="*/ 1124731 w 2533418"/>
                  <a:gd name="connsiteY34" fmla="*/ 16210 h 2119580"/>
                  <a:gd name="connsiteX35" fmla="*/ 1239451 w 2533418"/>
                  <a:gd name="connsiteY35" fmla="*/ 16210 h 2119580"/>
                  <a:gd name="connsiteX36" fmla="*/ 1436590 w 2533418"/>
                  <a:gd name="connsiteY36" fmla="*/ 44054 h 2119580"/>
                  <a:gd name="connsiteX37" fmla="*/ 1493811 w 2533418"/>
                  <a:gd name="connsiteY37" fmla="*/ 26564 h 2119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533418" h="2119580">
                    <a:moveTo>
                      <a:pt x="1493811" y="26564"/>
                    </a:moveTo>
                    <a:cubicBezTo>
                      <a:pt x="1547690" y="26512"/>
                      <a:pt x="1592798" y="70785"/>
                      <a:pt x="1640412" y="87492"/>
                    </a:cubicBezTo>
                    <a:cubicBezTo>
                      <a:pt x="1671598" y="99743"/>
                      <a:pt x="1712808" y="96402"/>
                      <a:pt x="1742880" y="105312"/>
                    </a:cubicBezTo>
                    <a:cubicBezTo>
                      <a:pt x="1803025" y="125360"/>
                      <a:pt x="1877648" y="184391"/>
                      <a:pt x="1937792" y="213349"/>
                    </a:cubicBezTo>
                    <a:cubicBezTo>
                      <a:pt x="2042488" y="216691"/>
                      <a:pt x="2133818" y="305793"/>
                      <a:pt x="2168345" y="400465"/>
                    </a:cubicBezTo>
                    <a:cubicBezTo>
                      <a:pt x="2265244" y="462837"/>
                      <a:pt x="2338754" y="571987"/>
                      <a:pt x="2349892" y="684479"/>
                    </a:cubicBezTo>
                    <a:cubicBezTo>
                      <a:pt x="2427857" y="725689"/>
                      <a:pt x="2476863" y="805882"/>
                      <a:pt x="2463498" y="894984"/>
                    </a:cubicBezTo>
                    <a:cubicBezTo>
                      <a:pt x="2553714" y="982973"/>
                      <a:pt x="2545917" y="1114400"/>
                      <a:pt x="2500253" y="1221323"/>
                    </a:cubicBezTo>
                    <a:cubicBezTo>
                      <a:pt x="2493570" y="1233574"/>
                      <a:pt x="2493570" y="1233574"/>
                      <a:pt x="2493570" y="1233574"/>
                    </a:cubicBezTo>
                    <a:cubicBezTo>
                      <a:pt x="2498025" y="1409552"/>
                      <a:pt x="2345437" y="1431828"/>
                      <a:pt x="2258562" y="1424031"/>
                    </a:cubicBezTo>
                    <a:cubicBezTo>
                      <a:pt x="2372168" y="1585530"/>
                      <a:pt x="2001278" y="1811628"/>
                      <a:pt x="1982344" y="1817197"/>
                    </a:cubicBezTo>
                    <a:cubicBezTo>
                      <a:pt x="1880989" y="1891820"/>
                      <a:pt x="1725060" y="1849496"/>
                      <a:pt x="1624819" y="1791580"/>
                    </a:cubicBezTo>
                    <a:cubicBezTo>
                      <a:pt x="1621478" y="1862583"/>
                      <a:pt x="1620086" y="1929202"/>
                      <a:pt x="1620503" y="1993244"/>
                    </a:cubicBezTo>
                    <a:lnTo>
                      <a:pt x="1624943" y="2119580"/>
                    </a:lnTo>
                    <a:lnTo>
                      <a:pt x="1312134" y="2079571"/>
                    </a:lnTo>
                    <a:lnTo>
                      <a:pt x="1309645" y="2025387"/>
                    </a:lnTo>
                    <a:cubicBezTo>
                      <a:pt x="1310106" y="1999631"/>
                      <a:pt x="1312264" y="1973683"/>
                      <a:pt x="1316302" y="1947509"/>
                    </a:cubicBezTo>
                    <a:cubicBezTo>
                      <a:pt x="1165941" y="1928575"/>
                      <a:pt x="1181534" y="1699136"/>
                      <a:pt x="1191558" y="1647902"/>
                    </a:cubicBezTo>
                    <a:cubicBezTo>
                      <a:pt x="1129186" y="1631195"/>
                      <a:pt x="1032287" y="1672405"/>
                      <a:pt x="935388" y="1644560"/>
                    </a:cubicBezTo>
                    <a:cubicBezTo>
                      <a:pt x="917568" y="1640105"/>
                      <a:pt x="904202" y="1633423"/>
                      <a:pt x="887495" y="1626740"/>
                    </a:cubicBezTo>
                    <a:cubicBezTo>
                      <a:pt x="714859" y="1562140"/>
                      <a:pt x="542223" y="1538751"/>
                      <a:pt x="630212" y="1313767"/>
                    </a:cubicBezTo>
                    <a:cubicBezTo>
                      <a:pt x="631325" y="1312653"/>
                      <a:pt x="631325" y="1312653"/>
                      <a:pt x="631325" y="1310426"/>
                    </a:cubicBezTo>
                    <a:cubicBezTo>
                      <a:pt x="505468" y="1289264"/>
                      <a:pt x="397431" y="1211299"/>
                      <a:pt x="277143" y="1172316"/>
                    </a:cubicBezTo>
                    <a:cubicBezTo>
                      <a:pt x="206974" y="1166748"/>
                      <a:pt x="145716" y="1117741"/>
                      <a:pt x="111189" y="1056483"/>
                    </a:cubicBezTo>
                    <a:cubicBezTo>
                      <a:pt x="111189" y="1056483"/>
                      <a:pt x="112303" y="1055369"/>
                      <a:pt x="112303" y="1055369"/>
                    </a:cubicBezTo>
                    <a:cubicBezTo>
                      <a:pt x="52159" y="1011932"/>
                      <a:pt x="13176" y="933967"/>
                      <a:pt x="20973" y="860457"/>
                    </a:cubicBezTo>
                    <a:cubicBezTo>
                      <a:pt x="-11327" y="813678"/>
                      <a:pt x="-3531" y="721234"/>
                      <a:pt x="25428" y="653294"/>
                    </a:cubicBezTo>
                    <a:cubicBezTo>
                      <a:pt x="27655" y="648838"/>
                      <a:pt x="32111" y="646611"/>
                      <a:pt x="32111" y="639928"/>
                    </a:cubicBezTo>
                    <a:cubicBezTo>
                      <a:pt x="34338" y="559736"/>
                      <a:pt x="77776" y="491795"/>
                      <a:pt x="120099" y="460609"/>
                    </a:cubicBezTo>
                    <a:cubicBezTo>
                      <a:pt x="186926" y="290200"/>
                      <a:pt x="364018" y="195529"/>
                      <a:pt x="519947" y="122019"/>
                    </a:cubicBezTo>
                    <a:cubicBezTo>
                      <a:pt x="558930" y="94174"/>
                      <a:pt x="622415" y="49623"/>
                      <a:pt x="690356" y="36258"/>
                    </a:cubicBezTo>
                    <a:cubicBezTo>
                      <a:pt x="754955" y="22892"/>
                      <a:pt x="834034" y="24006"/>
                      <a:pt x="908657" y="11754"/>
                    </a:cubicBezTo>
                    <a:cubicBezTo>
                      <a:pt x="986622" y="-1611"/>
                      <a:pt x="1033401" y="-6066"/>
                      <a:pt x="1104683" y="11754"/>
                    </a:cubicBezTo>
                    <a:cubicBezTo>
                      <a:pt x="1105797" y="16210"/>
                      <a:pt x="1109138" y="18437"/>
                      <a:pt x="1112479" y="19551"/>
                    </a:cubicBezTo>
                    <a:cubicBezTo>
                      <a:pt x="1115821" y="18437"/>
                      <a:pt x="1120276" y="16210"/>
                      <a:pt x="1124731" y="16210"/>
                    </a:cubicBezTo>
                    <a:cubicBezTo>
                      <a:pt x="1239451" y="16210"/>
                      <a:pt x="1239451" y="16210"/>
                      <a:pt x="1239451" y="16210"/>
                    </a:cubicBezTo>
                    <a:cubicBezTo>
                      <a:pt x="1299595" y="44054"/>
                      <a:pt x="1374218" y="10641"/>
                      <a:pt x="1436590" y="44054"/>
                    </a:cubicBezTo>
                    <a:cubicBezTo>
                      <a:pt x="1456917" y="31524"/>
                      <a:pt x="1475851" y="26582"/>
                      <a:pt x="1493811" y="26564"/>
                    </a:cubicBezTo>
                    <a:close/>
                  </a:path>
                </a:pathLst>
              </a:custGeom>
              <a:solidFill>
                <a:srgbClr val="FFF5EE"/>
              </a:solidFill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</p:spPr>
            <p:txBody>
              <a:bodyPr wrap="square">
                <a:noAutofit/>
              </a:bodyPr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3" name="Freeform 6">
                <a:extLst>
                  <a:ext uri="{FF2B5EF4-FFF2-40B4-BE49-F238E27FC236}">
                    <a16:creationId xmlns:a16="http://schemas.microsoft.com/office/drawing/2014/main" xmlns="" id="{731F1402-32CF-4005-8A2F-9113E9AECBE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81724" y="1574910"/>
                <a:ext cx="17821" cy="27845"/>
              </a:xfrm>
              <a:custGeom>
                <a:avLst/>
                <a:gdLst>
                  <a:gd name="T0" fmla="*/ 12 w 12"/>
                  <a:gd name="T1" fmla="*/ 0 h 18"/>
                  <a:gd name="T2" fmla="*/ 0 w 12"/>
                  <a:gd name="T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cubicBezTo>
                      <a:pt x="10" y="7"/>
                      <a:pt x="5" y="12"/>
                      <a:pt x="0" y="1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4" name="Freeform 7">
                <a:extLst>
                  <a:ext uri="{FF2B5EF4-FFF2-40B4-BE49-F238E27FC236}">
                    <a16:creationId xmlns:a16="http://schemas.microsoft.com/office/drawing/2014/main" xmlns="" id="{D7503C33-810B-41FF-B57F-4210A13B2D8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722861" y="2366955"/>
                <a:ext cx="148133" cy="99127"/>
              </a:xfrm>
              <a:custGeom>
                <a:avLst/>
                <a:gdLst>
                  <a:gd name="T0" fmla="*/ 0 w 98"/>
                  <a:gd name="T1" fmla="*/ 0 h 66"/>
                  <a:gd name="T2" fmla="*/ 98 w 98"/>
                  <a:gd name="T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8" h="66">
                    <a:moveTo>
                      <a:pt x="0" y="0"/>
                    </a:moveTo>
                    <a:cubicBezTo>
                      <a:pt x="30" y="29"/>
                      <a:pt x="72" y="32"/>
                      <a:pt x="98" y="6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5" name="Freeform 8">
                <a:extLst>
                  <a:ext uri="{FF2B5EF4-FFF2-40B4-BE49-F238E27FC236}">
                    <a16:creationId xmlns:a16="http://schemas.microsoft.com/office/drawing/2014/main" xmlns="" id="{D652E8D7-701E-4F1F-B57E-84BD87160C3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838688" y="2549060"/>
                <a:ext cx="109151" cy="31186"/>
              </a:xfrm>
              <a:custGeom>
                <a:avLst/>
                <a:gdLst>
                  <a:gd name="T0" fmla="*/ 0 w 73"/>
                  <a:gd name="T1" fmla="*/ 0 h 21"/>
                  <a:gd name="T2" fmla="*/ 73 w 73"/>
                  <a:gd name="T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3" h="21">
                    <a:moveTo>
                      <a:pt x="0" y="0"/>
                    </a:moveTo>
                    <a:cubicBezTo>
                      <a:pt x="24" y="5"/>
                      <a:pt x="48" y="15"/>
                      <a:pt x="73" y="2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6" name="Freeform 9">
                <a:extLst>
                  <a:ext uri="{FF2B5EF4-FFF2-40B4-BE49-F238E27FC236}">
                    <a16:creationId xmlns:a16="http://schemas.microsoft.com/office/drawing/2014/main" xmlns="" id="{D31FBC31-0B0B-4EE4-9F72-94B65E3428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15670" y="2620697"/>
                <a:ext cx="175978" cy="32300"/>
              </a:xfrm>
              <a:custGeom>
                <a:avLst/>
                <a:gdLst>
                  <a:gd name="T0" fmla="*/ 0 w 116"/>
                  <a:gd name="T1" fmla="*/ 9 h 21"/>
                  <a:gd name="T2" fmla="*/ 116 w 116"/>
                  <a:gd name="T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6" h="21">
                    <a:moveTo>
                      <a:pt x="0" y="9"/>
                    </a:moveTo>
                    <a:cubicBezTo>
                      <a:pt x="38" y="0"/>
                      <a:pt x="78" y="17"/>
                      <a:pt x="116" y="2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7" name="Freeform 10">
                <a:extLst>
                  <a:ext uri="{FF2B5EF4-FFF2-40B4-BE49-F238E27FC236}">
                    <a16:creationId xmlns:a16="http://schemas.microsoft.com/office/drawing/2014/main" xmlns="" id="{FF432702-AB78-4A83-9743-0AF141B0EB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78884" y="2619794"/>
                <a:ext cx="103582" cy="104696"/>
              </a:xfrm>
              <a:custGeom>
                <a:avLst/>
                <a:gdLst>
                  <a:gd name="T0" fmla="*/ 0 w 68"/>
                  <a:gd name="T1" fmla="*/ 70 h 70"/>
                  <a:gd name="T2" fmla="*/ 68 w 68"/>
                  <a:gd name="T3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8" h="70">
                    <a:moveTo>
                      <a:pt x="0" y="70"/>
                    </a:moveTo>
                    <a:cubicBezTo>
                      <a:pt x="21" y="46"/>
                      <a:pt x="48" y="25"/>
                      <a:pt x="68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8" name="Freeform 11">
                <a:extLst>
                  <a:ext uri="{FF2B5EF4-FFF2-40B4-BE49-F238E27FC236}">
                    <a16:creationId xmlns:a16="http://schemas.microsoft.com/office/drawing/2014/main" xmlns="" id="{C79F9316-FF90-4F64-BE2E-467170ED61D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184008" y="2546548"/>
                <a:ext cx="287356" cy="119175"/>
              </a:xfrm>
              <a:custGeom>
                <a:avLst/>
                <a:gdLst>
                  <a:gd name="T0" fmla="*/ 190 w 190"/>
                  <a:gd name="T1" fmla="*/ 58 h 79"/>
                  <a:gd name="T2" fmla="*/ 0 w 190"/>
                  <a:gd name="T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0" h="79">
                    <a:moveTo>
                      <a:pt x="190" y="58"/>
                    </a:moveTo>
                    <a:cubicBezTo>
                      <a:pt x="117" y="79"/>
                      <a:pt x="64" y="16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29" name="Freeform 12">
                <a:extLst>
                  <a:ext uri="{FF2B5EF4-FFF2-40B4-BE49-F238E27FC236}">
                    <a16:creationId xmlns:a16="http://schemas.microsoft.com/office/drawing/2014/main" xmlns="" id="{3B37C53D-21A3-401A-8317-0F85BDE802F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459746" y="2424170"/>
                <a:ext cx="208277" cy="173750"/>
              </a:xfrm>
              <a:custGeom>
                <a:avLst/>
                <a:gdLst>
                  <a:gd name="T0" fmla="*/ 0 w 138"/>
                  <a:gd name="T1" fmla="*/ 114 h 114"/>
                  <a:gd name="T2" fmla="*/ 138 w 138"/>
                  <a:gd name="T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8" h="114">
                    <a:moveTo>
                      <a:pt x="0" y="114"/>
                    </a:moveTo>
                    <a:cubicBezTo>
                      <a:pt x="54" y="87"/>
                      <a:pt x="88" y="31"/>
                      <a:pt x="138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0" name="Freeform 13">
                <a:extLst>
                  <a:ext uri="{FF2B5EF4-FFF2-40B4-BE49-F238E27FC236}">
                    <a16:creationId xmlns:a16="http://schemas.microsoft.com/office/drawing/2014/main" xmlns="" id="{7E00AF68-60B7-4A47-B2DD-D024AE78B75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09468" y="2142614"/>
                <a:ext cx="324111" cy="292925"/>
              </a:xfrm>
              <a:custGeom>
                <a:avLst/>
                <a:gdLst>
                  <a:gd name="T0" fmla="*/ 214 w 214"/>
                  <a:gd name="T1" fmla="*/ 194 h 194"/>
                  <a:gd name="T2" fmla="*/ 81 w 214"/>
                  <a:gd name="T3" fmla="*/ 11 h 194"/>
                  <a:gd name="T4" fmla="*/ 0 w 214"/>
                  <a:gd name="T5" fmla="*/ 4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4" h="194">
                    <a:moveTo>
                      <a:pt x="214" y="194"/>
                    </a:moveTo>
                    <a:cubicBezTo>
                      <a:pt x="127" y="173"/>
                      <a:pt x="167" y="38"/>
                      <a:pt x="81" y="11"/>
                    </a:cubicBezTo>
                    <a:cubicBezTo>
                      <a:pt x="64" y="5"/>
                      <a:pt x="19" y="0"/>
                      <a:pt x="0" y="4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1" name="Freeform 14">
                <a:extLst>
                  <a:ext uri="{FF2B5EF4-FFF2-40B4-BE49-F238E27FC236}">
                    <a16:creationId xmlns:a16="http://schemas.microsoft.com/office/drawing/2014/main" xmlns="" id="{EE006756-658E-43AE-919C-B9C672196B9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14588" y="2215871"/>
                <a:ext cx="160385" cy="226098"/>
              </a:xfrm>
              <a:custGeom>
                <a:avLst/>
                <a:gdLst>
                  <a:gd name="T0" fmla="*/ 0 w 106"/>
                  <a:gd name="T1" fmla="*/ 0 h 150"/>
                  <a:gd name="T2" fmla="*/ 106 w 106"/>
                  <a:gd name="T3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6" h="150">
                    <a:moveTo>
                      <a:pt x="0" y="0"/>
                    </a:moveTo>
                    <a:cubicBezTo>
                      <a:pt x="53" y="37"/>
                      <a:pt x="47" y="116"/>
                      <a:pt x="106" y="15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2" name="Freeform 15">
                <a:extLst>
                  <a:ext uri="{FF2B5EF4-FFF2-40B4-BE49-F238E27FC236}">
                    <a16:creationId xmlns:a16="http://schemas.microsoft.com/office/drawing/2014/main" xmlns="" id="{50701FD6-DBC8-4815-AD61-DAD4172B38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190467" y="2208436"/>
                <a:ext cx="109151" cy="64599"/>
              </a:xfrm>
              <a:custGeom>
                <a:avLst/>
                <a:gdLst>
                  <a:gd name="T0" fmla="*/ 72 w 72"/>
                  <a:gd name="T1" fmla="*/ 19 h 43"/>
                  <a:gd name="T2" fmla="*/ 0 w 72"/>
                  <a:gd name="T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2" h="43">
                    <a:moveTo>
                      <a:pt x="72" y="19"/>
                    </a:moveTo>
                    <a:cubicBezTo>
                      <a:pt x="46" y="0"/>
                      <a:pt x="13" y="18"/>
                      <a:pt x="0" y="4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3" name="Freeform 16">
                <a:extLst>
                  <a:ext uri="{FF2B5EF4-FFF2-40B4-BE49-F238E27FC236}">
                    <a16:creationId xmlns:a16="http://schemas.microsoft.com/office/drawing/2014/main" xmlns="" id="{49750639-84C3-4046-BA83-888A83CBA85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197101" y="2280538"/>
                <a:ext cx="3341" cy="15593"/>
              </a:xfrm>
              <a:custGeom>
                <a:avLst/>
                <a:gdLst>
                  <a:gd name="T0" fmla="*/ 0 w 2"/>
                  <a:gd name="T1" fmla="*/ 0 h 10"/>
                  <a:gd name="T2" fmla="*/ 2 w 2"/>
                  <a:gd name="T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cubicBezTo>
                      <a:pt x="1" y="3"/>
                      <a:pt x="2" y="6"/>
                      <a:pt x="2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4" name="Freeform 17">
                <a:extLst>
                  <a:ext uri="{FF2B5EF4-FFF2-40B4-BE49-F238E27FC236}">
                    <a16:creationId xmlns:a16="http://schemas.microsoft.com/office/drawing/2014/main" xmlns="" id="{DF5585F8-F6B0-4274-9B72-22988C056B7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90774" y="2295286"/>
                <a:ext cx="213846" cy="101354"/>
              </a:xfrm>
              <a:custGeom>
                <a:avLst/>
                <a:gdLst>
                  <a:gd name="T0" fmla="*/ 142 w 142"/>
                  <a:gd name="T1" fmla="*/ 1 h 67"/>
                  <a:gd name="T2" fmla="*/ 123 w 142"/>
                  <a:gd name="T3" fmla="*/ 10 h 67"/>
                  <a:gd name="T4" fmla="*/ 0 w 142"/>
                  <a:gd name="T5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2" h="67">
                    <a:moveTo>
                      <a:pt x="142" y="1"/>
                    </a:moveTo>
                    <a:cubicBezTo>
                      <a:pt x="136" y="6"/>
                      <a:pt x="128" y="5"/>
                      <a:pt x="123" y="10"/>
                    </a:cubicBezTo>
                    <a:cubicBezTo>
                      <a:pt x="69" y="0"/>
                      <a:pt x="31" y="28"/>
                      <a:pt x="0" y="67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5" name="Freeform 18">
                <a:extLst>
                  <a:ext uri="{FF2B5EF4-FFF2-40B4-BE49-F238E27FC236}">
                    <a16:creationId xmlns:a16="http://schemas.microsoft.com/office/drawing/2014/main" xmlns="" id="{8945666F-00E0-4D3B-88B4-1941EDB8F20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98304" y="2412249"/>
                <a:ext cx="3341" cy="26731"/>
              </a:xfrm>
              <a:custGeom>
                <a:avLst/>
                <a:gdLst>
                  <a:gd name="T0" fmla="*/ 2 w 2"/>
                  <a:gd name="T1" fmla="*/ 0 h 18"/>
                  <a:gd name="T2" fmla="*/ 0 w 2"/>
                  <a:gd name="T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" h="18">
                    <a:moveTo>
                      <a:pt x="2" y="0"/>
                    </a:moveTo>
                    <a:cubicBezTo>
                      <a:pt x="2" y="7"/>
                      <a:pt x="2" y="14"/>
                      <a:pt x="0" y="1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6" name="Freeform 19">
                <a:extLst>
                  <a:ext uri="{FF2B5EF4-FFF2-40B4-BE49-F238E27FC236}">
                    <a16:creationId xmlns:a16="http://schemas.microsoft.com/office/drawing/2014/main" xmlns="" id="{B9612255-9902-4C06-8330-EA861C0A360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02688" y="2436794"/>
                <a:ext cx="27845" cy="33413"/>
              </a:xfrm>
              <a:custGeom>
                <a:avLst/>
                <a:gdLst>
                  <a:gd name="T0" fmla="*/ 0 w 18"/>
                  <a:gd name="T1" fmla="*/ 0 h 22"/>
                  <a:gd name="T2" fmla="*/ 18 w 18"/>
                  <a:gd name="T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8" h="22">
                    <a:moveTo>
                      <a:pt x="0" y="0"/>
                    </a:moveTo>
                    <a:cubicBezTo>
                      <a:pt x="4" y="9"/>
                      <a:pt x="15" y="13"/>
                      <a:pt x="18" y="2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7" name="Freeform 20">
                <a:extLst>
                  <a:ext uri="{FF2B5EF4-FFF2-40B4-BE49-F238E27FC236}">
                    <a16:creationId xmlns:a16="http://schemas.microsoft.com/office/drawing/2014/main" xmlns="" id="{A6669F27-C02D-4996-B96C-BBF3833AD44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73187" y="2418857"/>
                <a:ext cx="25617" cy="22276"/>
              </a:xfrm>
              <a:custGeom>
                <a:avLst/>
                <a:gdLst>
                  <a:gd name="T0" fmla="*/ 17 w 17"/>
                  <a:gd name="T1" fmla="*/ 15 h 15"/>
                  <a:gd name="T2" fmla="*/ 0 w 17"/>
                  <a:gd name="T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" h="15">
                    <a:moveTo>
                      <a:pt x="17" y="15"/>
                    </a:moveTo>
                    <a:cubicBezTo>
                      <a:pt x="11" y="10"/>
                      <a:pt x="2" y="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8" name="Freeform 21">
                <a:extLst>
                  <a:ext uri="{FF2B5EF4-FFF2-40B4-BE49-F238E27FC236}">
                    <a16:creationId xmlns:a16="http://schemas.microsoft.com/office/drawing/2014/main" xmlns="" id="{B93721A4-8719-4198-9F54-8AB5175B96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22919" y="2365567"/>
                <a:ext cx="44551" cy="59030"/>
              </a:xfrm>
              <a:custGeom>
                <a:avLst/>
                <a:gdLst>
                  <a:gd name="T0" fmla="*/ 29 w 29"/>
                  <a:gd name="T1" fmla="*/ 39 h 39"/>
                  <a:gd name="T2" fmla="*/ 0 w 29"/>
                  <a:gd name="T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" h="39">
                    <a:moveTo>
                      <a:pt x="29" y="39"/>
                    </a:moveTo>
                    <a:cubicBezTo>
                      <a:pt x="12" y="34"/>
                      <a:pt x="9" y="1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39" name="Freeform 22">
                <a:extLst>
                  <a:ext uri="{FF2B5EF4-FFF2-40B4-BE49-F238E27FC236}">
                    <a16:creationId xmlns:a16="http://schemas.microsoft.com/office/drawing/2014/main" xmlns="" id="{5963FBAD-5AFF-4FC5-BF99-8D2A0936733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647890" y="2331789"/>
                <a:ext cx="193798" cy="63486"/>
              </a:xfrm>
              <a:custGeom>
                <a:avLst/>
                <a:gdLst>
                  <a:gd name="T0" fmla="*/ 0 w 128"/>
                  <a:gd name="T1" fmla="*/ 42 h 42"/>
                  <a:gd name="T2" fmla="*/ 128 w 128"/>
                  <a:gd name="T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8" h="42">
                    <a:moveTo>
                      <a:pt x="0" y="42"/>
                    </a:moveTo>
                    <a:cubicBezTo>
                      <a:pt x="46" y="34"/>
                      <a:pt x="84" y="10"/>
                      <a:pt x="128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0" name="Freeform 23">
                <a:extLst>
                  <a:ext uri="{FF2B5EF4-FFF2-40B4-BE49-F238E27FC236}">
                    <a16:creationId xmlns:a16="http://schemas.microsoft.com/office/drawing/2014/main" xmlns="" id="{239C30A7-4BD5-4B58-B9AD-C3082F2F1DE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64038" y="2075545"/>
                <a:ext cx="100240" cy="243918"/>
              </a:xfrm>
              <a:custGeom>
                <a:avLst/>
                <a:gdLst>
                  <a:gd name="T0" fmla="*/ 35 w 66"/>
                  <a:gd name="T1" fmla="*/ 162 h 162"/>
                  <a:gd name="T2" fmla="*/ 7 w 66"/>
                  <a:gd name="T3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6" h="162">
                    <a:moveTo>
                      <a:pt x="35" y="162"/>
                    </a:moveTo>
                    <a:cubicBezTo>
                      <a:pt x="66" y="104"/>
                      <a:pt x="0" y="58"/>
                      <a:pt x="7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1" name="Freeform 24">
                <a:extLst>
                  <a:ext uri="{FF2B5EF4-FFF2-40B4-BE49-F238E27FC236}">
                    <a16:creationId xmlns:a16="http://schemas.microsoft.com/office/drawing/2014/main" xmlns="" id="{462743E7-66A5-4475-96D0-98E758EEA48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830683" y="2249801"/>
                <a:ext cx="164840" cy="55689"/>
              </a:xfrm>
              <a:custGeom>
                <a:avLst/>
                <a:gdLst>
                  <a:gd name="T0" fmla="*/ 0 w 109"/>
                  <a:gd name="T1" fmla="*/ 37 h 37"/>
                  <a:gd name="T2" fmla="*/ 109 w 109"/>
                  <a:gd name="T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37">
                    <a:moveTo>
                      <a:pt x="0" y="37"/>
                    </a:moveTo>
                    <a:cubicBezTo>
                      <a:pt x="37" y="28"/>
                      <a:pt x="80" y="26"/>
                      <a:pt x="10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2" name="Freeform 25">
                <a:extLst>
                  <a:ext uri="{FF2B5EF4-FFF2-40B4-BE49-F238E27FC236}">
                    <a16:creationId xmlns:a16="http://schemas.microsoft.com/office/drawing/2014/main" xmlns="" id="{5DDCB429-DC9A-4630-B853-562483CA33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850719" y="1819497"/>
                <a:ext cx="122516" cy="427693"/>
              </a:xfrm>
              <a:custGeom>
                <a:avLst/>
                <a:gdLst>
                  <a:gd name="T0" fmla="*/ 71 w 81"/>
                  <a:gd name="T1" fmla="*/ 283 h 283"/>
                  <a:gd name="T2" fmla="*/ 19 w 81"/>
                  <a:gd name="T3" fmla="*/ 233 h 283"/>
                  <a:gd name="T4" fmla="*/ 61 w 81"/>
                  <a:gd name="T5" fmla="*/ 73 h 283"/>
                  <a:gd name="T6" fmla="*/ 81 w 81"/>
                  <a:gd name="T7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" h="283">
                    <a:moveTo>
                      <a:pt x="71" y="283"/>
                    </a:moveTo>
                    <a:cubicBezTo>
                      <a:pt x="60" y="273"/>
                      <a:pt x="26" y="252"/>
                      <a:pt x="19" y="233"/>
                    </a:cubicBezTo>
                    <a:cubicBezTo>
                      <a:pt x="0" y="186"/>
                      <a:pt x="53" y="133"/>
                      <a:pt x="61" y="73"/>
                    </a:cubicBezTo>
                    <a:cubicBezTo>
                      <a:pt x="66" y="43"/>
                      <a:pt x="72" y="19"/>
                      <a:pt x="81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3" name="Freeform 26">
                <a:extLst>
                  <a:ext uri="{FF2B5EF4-FFF2-40B4-BE49-F238E27FC236}">
                    <a16:creationId xmlns:a16="http://schemas.microsoft.com/office/drawing/2014/main" xmlns="" id="{1036E639-9BED-4210-867A-AE7B8A88D61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927467" y="1774708"/>
                <a:ext cx="10024" cy="38982"/>
              </a:xfrm>
              <a:custGeom>
                <a:avLst/>
                <a:gdLst>
                  <a:gd name="T0" fmla="*/ 7 w 7"/>
                  <a:gd name="T1" fmla="*/ 26 h 26"/>
                  <a:gd name="T2" fmla="*/ 0 w 7"/>
                  <a:gd name="T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26">
                    <a:moveTo>
                      <a:pt x="7" y="26"/>
                    </a:moveTo>
                    <a:cubicBezTo>
                      <a:pt x="5" y="17"/>
                      <a:pt x="0" y="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4" name="Freeform 27">
                <a:extLst>
                  <a:ext uri="{FF2B5EF4-FFF2-40B4-BE49-F238E27FC236}">
                    <a16:creationId xmlns:a16="http://schemas.microsoft.com/office/drawing/2014/main" xmlns="" id="{A085017C-C86F-4BBF-AFD7-04065A0E55D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924691" y="1605518"/>
                <a:ext cx="119175" cy="199367"/>
              </a:xfrm>
              <a:custGeom>
                <a:avLst/>
                <a:gdLst>
                  <a:gd name="T0" fmla="*/ 0 w 79"/>
                  <a:gd name="T1" fmla="*/ 132 h 132"/>
                  <a:gd name="T2" fmla="*/ 79 w 79"/>
                  <a:gd name="T3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9" h="132">
                    <a:moveTo>
                      <a:pt x="0" y="132"/>
                    </a:moveTo>
                    <a:cubicBezTo>
                      <a:pt x="50" y="108"/>
                      <a:pt x="77" y="52"/>
                      <a:pt x="7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5" name="Freeform 28">
                <a:extLst>
                  <a:ext uri="{FF2B5EF4-FFF2-40B4-BE49-F238E27FC236}">
                    <a16:creationId xmlns:a16="http://schemas.microsoft.com/office/drawing/2014/main" xmlns="" id="{1D973233-271C-4E03-9ADB-33F938C7417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17237" y="1570672"/>
                <a:ext cx="8910" cy="27845"/>
              </a:xfrm>
              <a:custGeom>
                <a:avLst/>
                <a:gdLst>
                  <a:gd name="T0" fmla="*/ 6 w 6"/>
                  <a:gd name="T1" fmla="*/ 18 h 18"/>
                  <a:gd name="T2" fmla="*/ 0 w 6"/>
                  <a:gd name="T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18">
                    <a:moveTo>
                      <a:pt x="6" y="18"/>
                    </a:moveTo>
                    <a:cubicBezTo>
                      <a:pt x="4" y="14"/>
                      <a:pt x="5" y="6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6" name="Freeform 29">
                <a:extLst>
                  <a:ext uri="{FF2B5EF4-FFF2-40B4-BE49-F238E27FC236}">
                    <a16:creationId xmlns:a16="http://schemas.microsoft.com/office/drawing/2014/main" xmlns="" id="{293E24E7-80F6-49C7-BB4A-F34A4971B2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09662" y="1352764"/>
                <a:ext cx="61258" cy="241691"/>
              </a:xfrm>
              <a:custGeom>
                <a:avLst/>
                <a:gdLst>
                  <a:gd name="T0" fmla="*/ 0 w 40"/>
                  <a:gd name="T1" fmla="*/ 160 h 160"/>
                  <a:gd name="T2" fmla="*/ 0 w 40"/>
                  <a:gd name="T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0" h="160">
                    <a:moveTo>
                      <a:pt x="0" y="160"/>
                    </a:moveTo>
                    <a:cubicBezTo>
                      <a:pt x="32" y="115"/>
                      <a:pt x="40" y="4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7" name="Line 30">
                <a:extLst>
                  <a:ext uri="{FF2B5EF4-FFF2-40B4-BE49-F238E27FC236}">
                    <a16:creationId xmlns:a16="http://schemas.microsoft.com/office/drawing/2014/main" xmlns="" id="{D6AAFD28-A93E-4374-A4D2-43E8003E1C7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887176" y="2948457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8" name="Line 31">
                <a:extLst>
                  <a:ext uri="{FF2B5EF4-FFF2-40B4-BE49-F238E27FC236}">
                    <a16:creationId xmlns:a16="http://schemas.microsoft.com/office/drawing/2014/main" xmlns="" id="{BCFC1891-E3BD-4AAB-9FD4-7A20EFECDB58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902807" y="2917913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49" name="Line 32">
                <a:extLst>
                  <a:ext uri="{FF2B5EF4-FFF2-40B4-BE49-F238E27FC236}">
                    <a16:creationId xmlns:a16="http://schemas.microsoft.com/office/drawing/2014/main" xmlns="" id="{0949C3AF-53E9-47D7-A50D-CDD289F73F2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887176" y="2948457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0" name="Line 33">
                <a:extLst>
                  <a:ext uri="{FF2B5EF4-FFF2-40B4-BE49-F238E27FC236}">
                    <a16:creationId xmlns:a16="http://schemas.microsoft.com/office/drawing/2014/main" xmlns="" id="{FB853E0E-F7F7-49D3-B248-08C2EB26AD95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844424" y="2993267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1" name="Freeform 34">
                <a:extLst>
                  <a:ext uri="{FF2B5EF4-FFF2-40B4-BE49-F238E27FC236}">
                    <a16:creationId xmlns:a16="http://schemas.microsoft.com/office/drawing/2014/main" xmlns="" id="{014BDAE2-24AF-485D-9373-292EC205F50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47931" y="2966557"/>
                <a:ext cx="242805" cy="28958"/>
              </a:xfrm>
              <a:custGeom>
                <a:avLst/>
                <a:gdLst>
                  <a:gd name="T0" fmla="*/ 161 w 161"/>
                  <a:gd name="T1" fmla="*/ 0 h 19"/>
                  <a:gd name="T2" fmla="*/ 0 w 161"/>
                  <a:gd name="T3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1" h="19">
                    <a:moveTo>
                      <a:pt x="161" y="0"/>
                    </a:moveTo>
                    <a:cubicBezTo>
                      <a:pt x="109" y="11"/>
                      <a:pt x="54" y="19"/>
                      <a:pt x="0" y="1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2" name="Freeform 35">
                <a:extLst>
                  <a:ext uri="{FF2B5EF4-FFF2-40B4-BE49-F238E27FC236}">
                    <a16:creationId xmlns:a16="http://schemas.microsoft.com/office/drawing/2014/main" xmlns="" id="{ACE55A10-749C-49C8-B04F-83AE98F029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67582" y="2939405"/>
                <a:ext cx="249487" cy="30072"/>
              </a:xfrm>
              <a:custGeom>
                <a:avLst/>
                <a:gdLst>
                  <a:gd name="T0" fmla="*/ 165 w 165"/>
                  <a:gd name="T1" fmla="*/ 0 h 20"/>
                  <a:gd name="T2" fmla="*/ 0 w 165"/>
                  <a:gd name="T3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5" h="20">
                    <a:moveTo>
                      <a:pt x="165" y="0"/>
                    </a:moveTo>
                    <a:cubicBezTo>
                      <a:pt x="114" y="17"/>
                      <a:pt x="55" y="20"/>
                      <a:pt x="0" y="17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3" name="Freeform 36">
                <a:extLst>
                  <a:ext uri="{FF2B5EF4-FFF2-40B4-BE49-F238E27FC236}">
                    <a16:creationId xmlns:a16="http://schemas.microsoft.com/office/drawing/2014/main" xmlns="" id="{8B490501-8352-47A9-8407-25019CAA388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6930" y="2918751"/>
                <a:ext cx="184888" cy="21162"/>
              </a:xfrm>
              <a:custGeom>
                <a:avLst/>
                <a:gdLst>
                  <a:gd name="T0" fmla="*/ 122 w 122"/>
                  <a:gd name="T1" fmla="*/ 10 h 14"/>
                  <a:gd name="T2" fmla="*/ 0 w 122"/>
                  <a:gd name="T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2" h="14">
                    <a:moveTo>
                      <a:pt x="122" y="10"/>
                    </a:moveTo>
                    <a:cubicBezTo>
                      <a:pt x="81" y="14"/>
                      <a:pt x="36" y="1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4" name="Freeform 37">
                <a:extLst>
                  <a:ext uri="{FF2B5EF4-FFF2-40B4-BE49-F238E27FC236}">
                    <a16:creationId xmlns:a16="http://schemas.microsoft.com/office/drawing/2014/main" xmlns="" id="{E722CCC5-1141-4B4F-BB52-0D6299E7B7C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21711" y="2911190"/>
                <a:ext cx="80192" cy="87989"/>
              </a:xfrm>
              <a:custGeom>
                <a:avLst/>
                <a:gdLst>
                  <a:gd name="T0" fmla="*/ 1 w 53"/>
                  <a:gd name="T1" fmla="*/ 0 h 58"/>
                  <a:gd name="T2" fmla="*/ 53 w 53"/>
                  <a:gd name="T3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3" h="58">
                    <a:moveTo>
                      <a:pt x="1" y="0"/>
                    </a:moveTo>
                    <a:cubicBezTo>
                      <a:pt x="0" y="32"/>
                      <a:pt x="35" y="39"/>
                      <a:pt x="53" y="5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5" name="Freeform 38">
                <a:extLst>
                  <a:ext uri="{FF2B5EF4-FFF2-40B4-BE49-F238E27FC236}">
                    <a16:creationId xmlns:a16="http://schemas.microsoft.com/office/drawing/2014/main" xmlns="" id="{A5C0780E-EB95-4092-BC59-D6D51679C9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13736" y="2982948"/>
                <a:ext cx="122516" cy="84648"/>
              </a:xfrm>
              <a:custGeom>
                <a:avLst/>
                <a:gdLst>
                  <a:gd name="T0" fmla="*/ 0 w 81"/>
                  <a:gd name="T1" fmla="*/ 0 h 56"/>
                  <a:gd name="T2" fmla="*/ 81 w 81"/>
                  <a:gd name="T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1" h="56">
                    <a:moveTo>
                      <a:pt x="0" y="0"/>
                    </a:moveTo>
                    <a:cubicBezTo>
                      <a:pt x="30" y="13"/>
                      <a:pt x="59" y="31"/>
                      <a:pt x="81" y="5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6" name="Line 39">
                <a:extLst>
                  <a:ext uri="{FF2B5EF4-FFF2-40B4-BE49-F238E27FC236}">
                    <a16:creationId xmlns:a16="http://schemas.microsoft.com/office/drawing/2014/main" xmlns="" id="{000E4745-BB06-40A4-AA6E-FC502E607CCB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844424" y="2993267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7" name="Freeform 40">
                <a:extLst>
                  <a:ext uri="{FF2B5EF4-FFF2-40B4-BE49-F238E27FC236}">
                    <a16:creationId xmlns:a16="http://schemas.microsoft.com/office/drawing/2014/main" xmlns="" id="{066AA1F6-ABB3-42FF-813F-9373C2D19A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9507" y="3013646"/>
                <a:ext cx="325224" cy="32300"/>
              </a:xfrm>
              <a:custGeom>
                <a:avLst/>
                <a:gdLst>
                  <a:gd name="T0" fmla="*/ 215 w 215"/>
                  <a:gd name="T1" fmla="*/ 2 h 21"/>
                  <a:gd name="T2" fmla="*/ 0 w 215"/>
                  <a:gd name="T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5" h="21">
                    <a:moveTo>
                      <a:pt x="215" y="2"/>
                    </a:moveTo>
                    <a:cubicBezTo>
                      <a:pt x="168" y="7"/>
                      <a:pt x="80" y="21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8" name="Freeform 41">
                <a:extLst>
                  <a:ext uri="{FF2B5EF4-FFF2-40B4-BE49-F238E27FC236}">
                    <a16:creationId xmlns:a16="http://schemas.microsoft.com/office/drawing/2014/main" xmlns="" id="{3C2387DC-6BC5-4E2F-B925-3A27F2A83D1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04037" y="2668322"/>
                <a:ext cx="240577" cy="71282"/>
              </a:xfrm>
              <a:custGeom>
                <a:avLst/>
                <a:gdLst>
                  <a:gd name="T0" fmla="*/ 0 w 159"/>
                  <a:gd name="T1" fmla="*/ 47 h 47"/>
                  <a:gd name="T2" fmla="*/ 159 w 159"/>
                  <a:gd name="T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9" h="47">
                    <a:moveTo>
                      <a:pt x="0" y="47"/>
                    </a:moveTo>
                    <a:cubicBezTo>
                      <a:pt x="40" y="35"/>
                      <a:pt x="122" y="20"/>
                      <a:pt x="15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59" name="Freeform 42">
                <a:extLst>
                  <a:ext uri="{FF2B5EF4-FFF2-40B4-BE49-F238E27FC236}">
                    <a16:creationId xmlns:a16="http://schemas.microsoft.com/office/drawing/2014/main" xmlns="" id="{53FB380A-AF67-41B7-93DE-E48C12101E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64414" y="2805570"/>
                <a:ext cx="21162" cy="3341"/>
              </a:xfrm>
              <a:custGeom>
                <a:avLst/>
                <a:gdLst>
                  <a:gd name="T0" fmla="*/ 0 w 14"/>
                  <a:gd name="T1" fmla="*/ 0 h 2"/>
                  <a:gd name="T2" fmla="*/ 14 w 14"/>
                  <a:gd name="T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" h="2">
                    <a:moveTo>
                      <a:pt x="0" y="0"/>
                    </a:moveTo>
                    <a:cubicBezTo>
                      <a:pt x="4" y="2"/>
                      <a:pt x="9" y="2"/>
                      <a:pt x="14" y="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0" name="Freeform 43">
                <a:extLst>
                  <a:ext uri="{FF2B5EF4-FFF2-40B4-BE49-F238E27FC236}">
                    <a16:creationId xmlns:a16="http://schemas.microsoft.com/office/drawing/2014/main" xmlns="" id="{8D64DF94-351D-4733-8CE1-AB53223F5AF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58680" y="2848859"/>
                <a:ext cx="333021" cy="43438"/>
              </a:xfrm>
              <a:custGeom>
                <a:avLst/>
                <a:gdLst>
                  <a:gd name="T0" fmla="*/ 0 w 220"/>
                  <a:gd name="T1" fmla="*/ 7 h 29"/>
                  <a:gd name="T2" fmla="*/ 1 w 220"/>
                  <a:gd name="T3" fmla="*/ 10 h 29"/>
                  <a:gd name="T4" fmla="*/ 220 w 220"/>
                  <a:gd name="T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0" h="29">
                    <a:moveTo>
                      <a:pt x="0" y="7"/>
                    </a:moveTo>
                    <a:cubicBezTo>
                      <a:pt x="0" y="8"/>
                      <a:pt x="1" y="9"/>
                      <a:pt x="1" y="10"/>
                    </a:cubicBezTo>
                    <a:cubicBezTo>
                      <a:pt x="64" y="29"/>
                      <a:pt x="156" y="12"/>
                      <a:pt x="22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1" name="Freeform 44">
                <a:extLst>
                  <a:ext uri="{FF2B5EF4-FFF2-40B4-BE49-F238E27FC236}">
                    <a16:creationId xmlns:a16="http://schemas.microsoft.com/office/drawing/2014/main" xmlns="" id="{323BA298-D73A-4F9C-9F21-CE66511818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22994" y="2801538"/>
                <a:ext cx="294039" cy="53462"/>
              </a:xfrm>
              <a:custGeom>
                <a:avLst/>
                <a:gdLst>
                  <a:gd name="T0" fmla="*/ 195 w 195"/>
                  <a:gd name="T1" fmla="*/ 0 h 35"/>
                  <a:gd name="T2" fmla="*/ 0 w 195"/>
                  <a:gd name="T3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5" h="35">
                    <a:moveTo>
                      <a:pt x="195" y="0"/>
                    </a:moveTo>
                    <a:cubicBezTo>
                      <a:pt x="140" y="14"/>
                      <a:pt x="61" y="35"/>
                      <a:pt x="0" y="3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2" name="Freeform 45">
                <a:extLst>
                  <a:ext uri="{FF2B5EF4-FFF2-40B4-BE49-F238E27FC236}">
                    <a16:creationId xmlns:a16="http://schemas.microsoft.com/office/drawing/2014/main" xmlns="" id="{3CCF255B-96D8-497D-AC5D-B7CCA17B367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72067" y="2758880"/>
                <a:ext cx="268422" cy="60144"/>
              </a:xfrm>
              <a:custGeom>
                <a:avLst/>
                <a:gdLst>
                  <a:gd name="T0" fmla="*/ 178 w 178"/>
                  <a:gd name="T1" fmla="*/ 0 h 40"/>
                  <a:gd name="T2" fmla="*/ 0 w 178"/>
                  <a:gd name="T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8" h="40">
                    <a:moveTo>
                      <a:pt x="178" y="0"/>
                    </a:moveTo>
                    <a:cubicBezTo>
                      <a:pt x="124" y="16"/>
                      <a:pt x="58" y="38"/>
                      <a:pt x="0" y="4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3" name="Freeform 46">
                <a:extLst>
                  <a:ext uri="{FF2B5EF4-FFF2-40B4-BE49-F238E27FC236}">
                    <a16:creationId xmlns:a16="http://schemas.microsoft.com/office/drawing/2014/main" xmlns="" id="{5845F662-7E17-4598-91FB-D68D264C623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26791" y="2723994"/>
                <a:ext cx="217188" cy="53462"/>
              </a:xfrm>
              <a:custGeom>
                <a:avLst/>
                <a:gdLst>
                  <a:gd name="T0" fmla="*/ 144 w 144"/>
                  <a:gd name="T1" fmla="*/ 0 h 36"/>
                  <a:gd name="T2" fmla="*/ 0 w 144"/>
                  <a:gd name="T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4" h="36">
                    <a:moveTo>
                      <a:pt x="144" y="0"/>
                    </a:moveTo>
                    <a:cubicBezTo>
                      <a:pt x="97" y="16"/>
                      <a:pt x="49" y="25"/>
                      <a:pt x="0" y="3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4" name="Freeform 47">
                <a:extLst>
                  <a:ext uri="{FF2B5EF4-FFF2-40B4-BE49-F238E27FC236}">
                    <a16:creationId xmlns:a16="http://schemas.microsoft.com/office/drawing/2014/main" xmlns="" id="{8AFDFF6D-EC3B-4299-838F-5ED6A0E6D4E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27915" y="2695306"/>
                <a:ext cx="221643" cy="51234"/>
              </a:xfrm>
              <a:custGeom>
                <a:avLst/>
                <a:gdLst>
                  <a:gd name="T0" fmla="*/ 146 w 146"/>
                  <a:gd name="T1" fmla="*/ 0 h 34"/>
                  <a:gd name="T2" fmla="*/ 0 w 146"/>
                  <a:gd name="T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6" h="34">
                    <a:moveTo>
                      <a:pt x="146" y="0"/>
                    </a:moveTo>
                    <a:cubicBezTo>
                      <a:pt x="101" y="17"/>
                      <a:pt x="50" y="22"/>
                      <a:pt x="0" y="3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5" name="Freeform 48">
                <a:extLst>
                  <a:ext uri="{FF2B5EF4-FFF2-40B4-BE49-F238E27FC236}">
                    <a16:creationId xmlns:a16="http://schemas.microsoft.com/office/drawing/2014/main" xmlns="" id="{4B6D6EB4-E14C-4BE5-9FF2-7113106840B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01209" y="2672635"/>
                <a:ext cx="541298" cy="116947"/>
              </a:xfrm>
              <a:custGeom>
                <a:avLst/>
                <a:gdLst>
                  <a:gd name="T0" fmla="*/ 358 w 358"/>
                  <a:gd name="T1" fmla="*/ 0 h 78"/>
                  <a:gd name="T2" fmla="*/ 0 w 358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58" h="78">
                    <a:moveTo>
                      <a:pt x="358" y="0"/>
                    </a:moveTo>
                    <a:cubicBezTo>
                      <a:pt x="272" y="10"/>
                      <a:pt x="125" y="77"/>
                      <a:pt x="0" y="7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6" name="Freeform 49">
                <a:extLst>
                  <a:ext uri="{FF2B5EF4-FFF2-40B4-BE49-F238E27FC236}">
                    <a16:creationId xmlns:a16="http://schemas.microsoft.com/office/drawing/2014/main" xmlns="" id="{050A9681-885D-4170-B5A4-83A50E83CCB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14010" y="2912102"/>
                <a:ext cx="3341" cy="5569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cubicBezTo>
                      <a:pt x="1" y="1"/>
                      <a:pt x="1" y="3"/>
                      <a:pt x="2" y="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7" name="Freeform 50">
                <a:extLst>
                  <a:ext uri="{FF2B5EF4-FFF2-40B4-BE49-F238E27FC236}">
                    <a16:creationId xmlns:a16="http://schemas.microsoft.com/office/drawing/2014/main" xmlns="" id="{FE87E45B-C41A-4A37-B513-F306539D6F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19377" y="2885415"/>
                <a:ext cx="421010" cy="53462"/>
              </a:xfrm>
              <a:custGeom>
                <a:avLst/>
                <a:gdLst>
                  <a:gd name="T0" fmla="*/ 0 w 279"/>
                  <a:gd name="T1" fmla="*/ 0 h 35"/>
                  <a:gd name="T2" fmla="*/ 279 w 279"/>
                  <a:gd name="T3" fmla="*/ 2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79" h="35">
                    <a:moveTo>
                      <a:pt x="0" y="0"/>
                    </a:moveTo>
                    <a:cubicBezTo>
                      <a:pt x="87" y="35"/>
                      <a:pt x="186" y="32"/>
                      <a:pt x="279" y="27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8" name="Freeform 51">
                <a:extLst>
                  <a:ext uri="{FF2B5EF4-FFF2-40B4-BE49-F238E27FC236}">
                    <a16:creationId xmlns:a16="http://schemas.microsoft.com/office/drawing/2014/main" xmlns="" id="{99B8173E-EC03-4102-AC0B-C99C9AEE3C1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39468" y="2885530"/>
                <a:ext cx="20048" cy="7796"/>
              </a:xfrm>
              <a:custGeom>
                <a:avLst/>
                <a:gdLst>
                  <a:gd name="T0" fmla="*/ 0 w 13"/>
                  <a:gd name="T1" fmla="*/ 5 h 5"/>
                  <a:gd name="T2" fmla="*/ 13 w 13"/>
                  <a:gd name="T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" h="5">
                    <a:moveTo>
                      <a:pt x="0" y="5"/>
                    </a:moveTo>
                    <a:cubicBezTo>
                      <a:pt x="5" y="3"/>
                      <a:pt x="10" y="2"/>
                      <a:pt x="13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69" name="Freeform 52">
                <a:extLst>
                  <a:ext uri="{FF2B5EF4-FFF2-40B4-BE49-F238E27FC236}">
                    <a16:creationId xmlns:a16="http://schemas.microsoft.com/office/drawing/2014/main" xmlns="" id="{47B43141-9220-4897-8FA8-ABFD64EF07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54996" y="2833569"/>
                <a:ext cx="82420" cy="44551"/>
              </a:xfrm>
              <a:custGeom>
                <a:avLst/>
                <a:gdLst>
                  <a:gd name="T0" fmla="*/ 0 w 54"/>
                  <a:gd name="T1" fmla="*/ 30 h 30"/>
                  <a:gd name="T2" fmla="*/ 54 w 54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30">
                    <a:moveTo>
                      <a:pt x="0" y="30"/>
                    </a:moveTo>
                    <a:cubicBezTo>
                      <a:pt x="18" y="22"/>
                      <a:pt x="42" y="17"/>
                      <a:pt x="5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0" name="Freeform 53">
                <a:extLst>
                  <a:ext uri="{FF2B5EF4-FFF2-40B4-BE49-F238E27FC236}">
                    <a16:creationId xmlns:a16="http://schemas.microsoft.com/office/drawing/2014/main" xmlns="" id="{AC9E969A-60C3-45D4-8DD9-92D50420C82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07747" y="2837144"/>
                <a:ext cx="128085" cy="20048"/>
              </a:xfrm>
              <a:custGeom>
                <a:avLst/>
                <a:gdLst>
                  <a:gd name="T0" fmla="*/ 84 w 84"/>
                  <a:gd name="T1" fmla="*/ 0 h 14"/>
                  <a:gd name="T2" fmla="*/ 0 w 84"/>
                  <a:gd name="T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4" h="14">
                    <a:moveTo>
                      <a:pt x="84" y="0"/>
                    </a:moveTo>
                    <a:cubicBezTo>
                      <a:pt x="56" y="0"/>
                      <a:pt x="29" y="14"/>
                      <a:pt x="0" y="1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1" name="Freeform 54">
                <a:extLst>
                  <a:ext uri="{FF2B5EF4-FFF2-40B4-BE49-F238E27FC236}">
                    <a16:creationId xmlns:a16="http://schemas.microsoft.com/office/drawing/2014/main" xmlns="" id="{AF5D249B-597F-439B-BCAC-BAEC79B0306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32232" y="2809605"/>
                <a:ext cx="33413" cy="15593"/>
              </a:xfrm>
              <a:custGeom>
                <a:avLst/>
                <a:gdLst>
                  <a:gd name="T0" fmla="*/ 0 w 22"/>
                  <a:gd name="T1" fmla="*/ 10 h 10"/>
                  <a:gd name="T2" fmla="*/ 22 w 22"/>
                  <a:gd name="T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" h="10">
                    <a:moveTo>
                      <a:pt x="0" y="10"/>
                    </a:moveTo>
                    <a:cubicBezTo>
                      <a:pt x="6" y="3"/>
                      <a:pt x="15" y="5"/>
                      <a:pt x="2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2" name="Freeform 55">
                <a:extLst>
                  <a:ext uri="{FF2B5EF4-FFF2-40B4-BE49-F238E27FC236}">
                    <a16:creationId xmlns:a16="http://schemas.microsoft.com/office/drawing/2014/main" xmlns="" id="{E63849B1-7CB3-4C0E-9E78-2AF9913895F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60795" y="2761076"/>
                <a:ext cx="53462" cy="42324"/>
              </a:xfrm>
              <a:custGeom>
                <a:avLst/>
                <a:gdLst>
                  <a:gd name="T0" fmla="*/ 0 w 36"/>
                  <a:gd name="T1" fmla="*/ 28 h 28"/>
                  <a:gd name="T2" fmla="*/ 36 w 36"/>
                  <a:gd name="T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" h="28">
                    <a:moveTo>
                      <a:pt x="0" y="28"/>
                    </a:moveTo>
                    <a:cubicBezTo>
                      <a:pt x="9" y="17"/>
                      <a:pt x="30" y="16"/>
                      <a:pt x="3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3" name="Freeform 56">
                <a:extLst>
                  <a:ext uri="{FF2B5EF4-FFF2-40B4-BE49-F238E27FC236}">
                    <a16:creationId xmlns:a16="http://schemas.microsoft.com/office/drawing/2014/main" xmlns="" id="{526F0625-2FCB-4990-A80B-C4DB9E0E3FD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67634" y="2789706"/>
                <a:ext cx="449968" cy="59030"/>
              </a:xfrm>
              <a:custGeom>
                <a:avLst/>
                <a:gdLst>
                  <a:gd name="T0" fmla="*/ 298 w 298"/>
                  <a:gd name="T1" fmla="*/ 1 h 39"/>
                  <a:gd name="T2" fmla="*/ 295 w 298"/>
                  <a:gd name="T3" fmla="*/ 0 h 39"/>
                  <a:gd name="T4" fmla="*/ 0 w 298"/>
                  <a:gd name="T5" fmla="*/ 3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8" h="39">
                    <a:moveTo>
                      <a:pt x="298" y="1"/>
                    </a:moveTo>
                    <a:cubicBezTo>
                      <a:pt x="297" y="1"/>
                      <a:pt x="296" y="0"/>
                      <a:pt x="295" y="0"/>
                    </a:cubicBezTo>
                    <a:cubicBezTo>
                      <a:pt x="201" y="31"/>
                      <a:pt x="101" y="39"/>
                      <a:pt x="0" y="3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4" name="Freeform 57">
                <a:extLst>
                  <a:ext uri="{FF2B5EF4-FFF2-40B4-BE49-F238E27FC236}">
                    <a16:creationId xmlns:a16="http://schemas.microsoft.com/office/drawing/2014/main" xmlns="" id="{4304464E-8E80-4785-8567-4D2A34D827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94268" y="2629177"/>
                <a:ext cx="437717" cy="116947"/>
              </a:xfrm>
              <a:custGeom>
                <a:avLst/>
                <a:gdLst>
                  <a:gd name="T0" fmla="*/ 0 w 289"/>
                  <a:gd name="T1" fmla="*/ 68 h 77"/>
                  <a:gd name="T2" fmla="*/ 1 w 289"/>
                  <a:gd name="T3" fmla="*/ 71 h 77"/>
                  <a:gd name="T4" fmla="*/ 289 w 289"/>
                  <a:gd name="T5" fmla="*/ 1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9" h="77">
                    <a:moveTo>
                      <a:pt x="0" y="68"/>
                    </a:moveTo>
                    <a:cubicBezTo>
                      <a:pt x="0" y="69"/>
                      <a:pt x="1" y="70"/>
                      <a:pt x="1" y="71"/>
                    </a:cubicBezTo>
                    <a:cubicBezTo>
                      <a:pt x="99" y="77"/>
                      <a:pt x="186" y="0"/>
                      <a:pt x="289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5" name="Freeform 58">
                <a:extLst>
                  <a:ext uri="{FF2B5EF4-FFF2-40B4-BE49-F238E27FC236}">
                    <a16:creationId xmlns:a16="http://schemas.microsoft.com/office/drawing/2014/main" xmlns="" id="{02384B2A-8A43-49EB-955E-5B180B6773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975427" y="2039859"/>
                <a:ext cx="363093" cy="171523"/>
              </a:xfrm>
              <a:custGeom>
                <a:avLst/>
                <a:gdLst>
                  <a:gd name="T0" fmla="*/ 0 w 240"/>
                  <a:gd name="T1" fmla="*/ 114 h 114"/>
                  <a:gd name="T2" fmla="*/ 124 w 240"/>
                  <a:gd name="T3" fmla="*/ 74 h 114"/>
                  <a:gd name="T4" fmla="*/ 240 w 240"/>
                  <a:gd name="T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114">
                    <a:moveTo>
                      <a:pt x="0" y="114"/>
                    </a:moveTo>
                    <a:cubicBezTo>
                      <a:pt x="40" y="106"/>
                      <a:pt x="84" y="89"/>
                      <a:pt x="124" y="74"/>
                    </a:cubicBezTo>
                    <a:cubicBezTo>
                      <a:pt x="178" y="52"/>
                      <a:pt x="233" y="46"/>
                      <a:pt x="24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6" name="Freeform 59">
                <a:extLst>
                  <a:ext uri="{FF2B5EF4-FFF2-40B4-BE49-F238E27FC236}">
                    <a16:creationId xmlns:a16="http://schemas.microsoft.com/office/drawing/2014/main" xmlns="" id="{D6E467B0-3EBE-4BD1-8477-D353479CF54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08084" y="1985734"/>
                <a:ext cx="13365" cy="28958"/>
              </a:xfrm>
              <a:custGeom>
                <a:avLst/>
                <a:gdLst>
                  <a:gd name="T0" fmla="*/ 9 w 9"/>
                  <a:gd name="T1" fmla="*/ 19 h 19"/>
                  <a:gd name="T2" fmla="*/ 0 w 9"/>
                  <a:gd name="T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19">
                    <a:moveTo>
                      <a:pt x="9" y="19"/>
                    </a:moveTo>
                    <a:cubicBezTo>
                      <a:pt x="7" y="12"/>
                      <a:pt x="3" y="6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7" name="Freeform 60">
                <a:extLst>
                  <a:ext uri="{FF2B5EF4-FFF2-40B4-BE49-F238E27FC236}">
                    <a16:creationId xmlns:a16="http://schemas.microsoft.com/office/drawing/2014/main" xmlns="" id="{6F705C4E-C438-4597-B3CF-0AB2C666E5E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24744" y="2008124"/>
                <a:ext cx="70168" cy="21162"/>
              </a:xfrm>
              <a:custGeom>
                <a:avLst/>
                <a:gdLst>
                  <a:gd name="T0" fmla="*/ 0 w 47"/>
                  <a:gd name="T1" fmla="*/ 0 h 14"/>
                  <a:gd name="T2" fmla="*/ 47 w 47"/>
                  <a:gd name="T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7" h="14">
                    <a:moveTo>
                      <a:pt x="0" y="0"/>
                    </a:moveTo>
                    <a:cubicBezTo>
                      <a:pt x="17" y="2"/>
                      <a:pt x="30" y="14"/>
                      <a:pt x="47" y="1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8" name="Freeform 61">
                <a:extLst>
                  <a:ext uri="{FF2B5EF4-FFF2-40B4-BE49-F238E27FC236}">
                    <a16:creationId xmlns:a16="http://schemas.microsoft.com/office/drawing/2014/main" xmlns="" id="{630A9ECF-7C87-4E30-8BD1-8BE89CBE45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986966" y="2929531"/>
                <a:ext cx="230553" cy="34527"/>
              </a:xfrm>
              <a:custGeom>
                <a:avLst/>
                <a:gdLst>
                  <a:gd name="T0" fmla="*/ 0 w 152"/>
                  <a:gd name="T1" fmla="*/ 23 h 23"/>
                  <a:gd name="T2" fmla="*/ 152 w 152"/>
                  <a:gd name="T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2" h="23">
                    <a:moveTo>
                      <a:pt x="0" y="23"/>
                    </a:moveTo>
                    <a:cubicBezTo>
                      <a:pt x="51" y="20"/>
                      <a:pt x="102" y="13"/>
                      <a:pt x="15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79" name="Freeform 62">
                <a:extLst>
                  <a:ext uri="{FF2B5EF4-FFF2-40B4-BE49-F238E27FC236}">
                    <a16:creationId xmlns:a16="http://schemas.microsoft.com/office/drawing/2014/main" xmlns="" id="{7A105789-B978-495D-A8E5-6F6D711B190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08130" y="2839950"/>
                <a:ext cx="182660" cy="59030"/>
              </a:xfrm>
              <a:custGeom>
                <a:avLst/>
                <a:gdLst>
                  <a:gd name="T0" fmla="*/ 0 w 121"/>
                  <a:gd name="T1" fmla="*/ 39 h 39"/>
                  <a:gd name="T2" fmla="*/ 121 w 121"/>
                  <a:gd name="T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1" h="39">
                    <a:moveTo>
                      <a:pt x="0" y="39"/>
                    </a:moveTo>
                    <a:cubicBezTo>
                      <a:pt x="39" y="20"/>
                      <a:pt x="80" y="8"/>
                      <a:pt x="121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0" name="Freeform 63">
                <a:extLst>
                  <a:ext uri="{FF2B5EF4-FFF2-40B4-BE49-F238E27FC236}">
                    <a16:creationId xmlns:a16="http://schemas.microsoft.com/office/drawing/2014/main" xmlns="" id="{F09561CC-9A33-4195-BA60-30B2C63DA4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74012" y="2677203"/>
                <a:ext cx="262853" cy="130313"/>
              </a:xfrm>
              <a:custGeom>
                <a:avLst/>
                <a:gdLst>
                  <a:gd name="T0" fmla="*/ 0 w 174"/>
                  <a:gd name="T1" fmla="*/ 86 h 86"/>
                  <a:gd name="T2" fmla="*/ 1 w 174"/>
                  <a:gd name="T3" fmla="*/ 85 h 86"/>
                  <a:gd name="T4" fmla="*/ 174 w 174"/>
                  <a:gd name="T5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4" h="86">
                    <a:moveTo>
                      <a:pt x="0" y="86"/>
                    </a:moveTo>
                    <a:cubicBezTo>
                      <a:pt x="0" y="86"/>
                      <a:pt x="1" y="85"/>
                      <a:pt x="1" y="85"/>
                    </a:cubicBezTo>
                    <a:cubicBezTo>
                      <a:pt x="64" y="73"/>
                      <a:pt x="128" y="49"/>
                      <a:pt x="17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1" name="Freeform 64">
                <a:extLst>
                  <a:ext uri="{FF2B5EF4-FFF2-40B4-BE49-F238E27FC236}">
                    <a16:creationId xmlns:a16="http://schemas.microsoft.com/office/drawing/2014/main" xmlns="" id="{8C1C0C04-FD4B-4250-9294-548B9984E43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85448" y="2651183"/>
                <a:ext cx="40096" cy="16707"/>
              </a:xfrm>
              <a:custGeom>
                <a:avLst/>
                <a:gdLst>
                  <a:gd name="T0" fmla="*/ 27 w 27"/>
                  <a:gd name="T1" fmla="*/ 7 h 11"/>
                  <a:gd name="T2" fmla="*/ 0 w 27"/>
                  <a:gd name="T3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7" h="11">
                    <a:moveTo>
                      <a:pt x="27" y="7"/>
                    </a:moveTo>
                    <a:cubicBezTo>
                      <a:pt x="18" y="0"/>
                      <a:pt x="9" y="11"/>
                      <a:pt x="0" y="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2" name="Freeform 65">
                <a:extLst>
                  <a:ext uri="{FF2B5EF4-FFF2-40B4-BE49-F238E27FC236}">
                    <a16:creationId xmlns:a16="http://schemas.microsoft.com/office/drawing/2014/main" xmlns="" id="{9BB178A3-E111-4A24-86B7-50E40B4A65C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23917" y="2636366"/>
                <a:ext cx="69055" cy="16707"/>
              </a:xfrm>
              <a:custGeom>
                <a:avLst/>
                <a:gdLst>
                  <a:gd name="T0" fmla="*/ 0 w 45"/>
                  <a:gd name="T1" fmla="*/ 11 h 11"/>
                  <a:gd name="T2" fmla="*/ 45 w 45"/>
                  <a:gd name="T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5" h="11">
                    <a:moveTo>
                      <a:pt x="0" y="11"/>
                    </a:moveTo>
                    <a:cubicBezTo>
                      <a:pt x="14" y="4"/>
                      <a:pt x="30" y="5"/>
                      <a:pt x="45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3" name="Freeform 66">
                <a:extLst>
                  <a:ext uri="{FF2B5EF4-FFF2-40B4-BE49-F238E27FC236}">
                    <a16:creationId xmlns:a16="http://schemas.microsoft.com/office/drawing/2014/main" xmlns="" id="{84C45353-AF79-4E67-AABA-FC0EB4DE42F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82438" y="2780785"/>
                <a:ext cx="224984" cy="36755"/>
              </a:xfrm>
              <a:custGeom>
                <a:avLst/>
                <a:gdLst>
                  <a:gd name="T0" fmla="*/ 0 w 149"/>
                  <a:gd name="T1" fmla="*/ 19 h 24"/>
                  <a:gd name="T2" fmla="*/ 149 w 149"/>
                  <a:gd name="T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9" h="24">
                    <a:moveTo>
                      <a:pt x="0" y="19"/>
                    </a:moveTo>
                    <a:cubicBezTo>
                      <a:pt x="49" y="24"/>
                      <a:pt x="102" y="15"/>
                      <a:pt x="14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4" name="Freeform 67">
                <a:extLst>
                  <a:ext uri="{FF2B5EF4-FFF2-40B4-BE49-F238E27FC236}">
                    <a16:creationId xmlns:a16="http://schemas.microsoft.com/office/drawing/2014/main" xmlns="" id="{33BEA6FC-F48F-4B3D-A31F-D038D08A2DD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92373" y="2618614"/>
                <a:ext cx="373117" cy="118061"/>
              </a:xfrm>
              <a:custGeom>
                <a:avLst/>
                <a:gdLst>
                  <a:gd name="T0" fmla="*/ 0 w 246"/>
                  <a:gd name="T1" fmla="*/ 78 h 78"/>
                  <a:gd name="T2" fmla="*/ 246 w 246"/>
                  <a:gd name="T3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46" h="78">
                    <a:moveTo>
                      <a:pt x="0" y="78"/>
                    </a:moveTo>
                    <a:cubicBezTo>
                      <a:pt x="82" y="51"/>
                      <a:pt x="159" y="9"/>
                      <a:pt x="24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5" name="Freeform 68">
                <a:extLst>
                  <a:ext uri="{FF2B5EF4-FFF2-40B4-BE49-F238E27FC236}">
                    <a16:creationId xmlns:a16="http://schemas.microsoft.com/office/drawing/2014/main" xmlns="" id="{C133142F-4677-44A9-9D69-E4052EDB82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71146" y="2547593"/>
                <a:ext cx="480040" cy="80192"/>
              </a:xfrm>
              <a:custGeom>
                <a:avLst/>
                <a:gdLst>
                  <a:gd name="T0" fmla="*/ 317 w 317"/>
                  <a:gd name="T1" fmla="*/ 53 h 53"/>
                  <a:gd name="T2" fmla="*/ 0 w 317"/>
                  <a:gd name="T3" fmla="*/ 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17" h="53">
                    <a:moveTo>
                      <a:pt x="317" y="53"/>
                    </a:moveTo>
                    <a:cubicBezTo>
                      <a:pt x="219" y="14"/>
                      <a:pt x="110" y="0"/>
                      <a:pt x="0" y="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6" name="Freeform 69">
                <a:extLst>
                  <a:ext uri="{FF2B5EF4-FFF2-40B4-BE49-F238E27FC236}">
                    <a16:creationId xmlns:a16="http://schemas.microsoft.com/office/drawing/2014/main" xmlns="" id="{22982E4A-DAF0-4050-9828-BEBDD488291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994394" y="2624432"/>
                <a:ext cx="490064" cy="174864"/>
              </a:xfrm>
              <a:custGeom>
                <a:avLst/>
                <a:gdLst>
                  <a:gd name="T0" fmla="*/ 324 w 324"/>
                  <a:gd name="T1" fmla="*/ 0 h 115"/>
                  <a:gd name="T2" fmla="*/ 323 w 324"/>
                  <a:gd name="T3" fmla="*/ 2 h 115"/>
                  <a:gd name="T4" fmla="*/ 0 w 324"/>
                  <a:gd name="T5" fmla="*/ 7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4" h="115">
                    <a:moveTo>
                      <a:pt x="324" y="0"/>
                    </a:moveTo>
                    <a:cubicBezTo>
                      <a:pt x="324" y="1"/>
                      <a:pt x="324" y="1"/>
                      <a:pt x="323" y="2"/>
                    </a:cubicBezTo>
                    <a:cubicBezTo>
                      <a:pt x="214" y="16"/>
                      <a:pt x="120" y="115"/>
                      <a:pt x="0" y="7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7" name="Freeform 70">
                <a:extLst>
                  <a:ext uri="{FF2B5EF4-FFF2-40B4-BE49-F238E27FC236}">
                    <a16:creationId xmlns:a16="http://schemas.microsoft.com/office/drawing/2014/main" xmlns="" id="{35274C1A-E4EA-4EAD-A7C6-7D96D41388F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61569" y="2790499"/>
                <a:ext cx="246146" cy="73510"/>
              </a:xfrm>
              <a:custGeom>
                <a:avLst/>
                <a:gdLst>
                  <a:gd name="T0" fmla="*/ 163 w 163"/>
                  <a:gd name="T1" fmla="*/ 2 h 49"/>
                  <a:gd name="T2" fmla="*/ 0 w 163"/>
                  <a:gd name="T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3" h="49">
                    <a:moveTo>
                      <a:pt x="163" y="2"/>
                    </a:moveTo>
                    <a:cubicBezTo>
                      <a:pt x="103" y="0"/>
                      <a:pt x="57" y="42"/>
                      <a:pt x="0" y="4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8" name="Freeform 71">
                <a:extLst>
                  <a:ext uri="{FF2B5EF4-FFF2-40B4-BE49-F238E27FC236}">
                    <a16:creationId xmlns:a16="http://schemas.microsoft.com/office/drawing/2014/main" xmlns="" id="{09739CF0-44A9-4EDA-A02D-61B5428D0A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859794" y="2717354"/>
                <a:ext cx="136995" cy="67941"/>
              </a:xfrm>
              <a:custGeom>
                <a:avLst/>
                <a:gdLst>
                  <a:gd name="T0" fmla="*/ 91 w 91"/>
                  <a:gd name="T1" fmla="*/ 45 h 45"/>
                  <a:gd name="T2" fmla="*/ 0 w 91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1" h="45">
                    <a:moveTo>
                      <a:pt x="91" y="45"/>
                    </a:moveTo>
                    <a:cubicBezTo>
                      <a:pt x="65" y="25"/>
                      <a:pt x="32" y="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89" name="Freeform 72">
                <a:extLst>
                  <a:ext uri="{FF2B5EF4-FFF2-40B4-BE49-F238E27FC236}">
                    <a16:creationId xmlns:a16="http://schemas.microsoft.com/office/drawing/2014/main" xmlns="" id="{F19377D0-734E-40F1-B007-8BD2B0B64E3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42471" y="2571368"/>
                <a:ext cx="124744" cy="26731"/>
              </a:xfrm>
              <a:custGeom>
                <a:avLst/>
                <a:gdLst>
                  <a:gd name="T0" fmla="*/ 83 w 83"/>
                  <a:gd name="T1" fmla="*/ 18 h 18"/>
                  <a:gd name="T2" fmla="*/ 82 w 83"/>
                  <a:gd name="T3" fmla="*/ 16 h 18"/>
                  <a:gd name="T4" fmla="*/ 0 w 83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3" h="18">
                    <a:moveTo>
                      <a:pt x="83" y="18"/>
                    </a:moveTo>
                    <a:cubicBezTo>
                      <a:pt x="83" y="17"/>
                      <a:pt x="83" y="17"/>
                      <a:pt x="82" y="16"/>
                    </a:cubicBezTo>
                    <a:cubicBezTo>
                      <a:pt x="57" y="9"/>
                      <a:pt x="29" y="0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0" name="Freeform 73">
                <a:extLst>
                  <a:ext uri="{FF2B5EF4-FFF2-40B4-BE49-F238E27FC236}">
                    <a16:creationId xmlns:a16="http://schemas.microsoft.com/office/drawing/2014/main" xmlns="" id="{D3461FC7-CF12-4068-A9F9-364FC8E7BE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955420" y="2586852"/>
                <a:ext cx="56803" cy="16707"/>
              </a:xfrm>
              <a:custGeom>
                <a:avLst/>
                <a:gdLst>
                  <a:gd name="T0" fmla="*/ 0 w 38"/>
                  <a:gd name="T1" fmla="*/ 0 h 11"/>
                  <a:gd name="T2" fmla="*/ 38 w 38"/>
                  <a:gd name="T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8" h="11">
                    <a:moveTo>
                      <a:pt x="0" y="0"/>
                    </a:moveTo>
                    <a:cubicBezTo>
                      <a:pt x="13" y="2"/>
                      <a:pt x="26" y="4"/>
                      <a:pt x="38" y="1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1" name="Freeform 74">
                <a:extLst>
                  <a:ext uri="{FF2B5EF4-FFF2-40B4-BE49-F238E27FC236}">
                    <a16:creationId xmlns:a16="http://schemas.microsoft.com/office/drawing/2014/main" xmlns="" id="{F44FC4DB-8ADA-4E2F-8BD9-440E165CB88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3053291" y="2387918"/>
                <a:ext cx="173750" cy="122516"/>
              </a:xfrm>
              <a:custGeom>
                <a:avLst/>
                <a:gdLst>
                  <a:gd name="T0" fmla="*/ 115 w 115"/>
                  <a:gd name="T1" fmla="*/ 0 h 81"/>
                  <a:gd name="T2" fmla="*/ 0 w 115"/>
                  <a:gd name="T3" fmla="*/ 6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5" h="81">
                    <a:moveTo>
                      <a:pt x="115" y="0"/>
                    </a:moveTo>
                    <a:cubicBezTo>
                      <a:pt x="90" y="37"/>
                      <a:pt x="52" y="81"/>
                      <a:pt x="0" y="6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2" name="Freeform 75">
                <a:extLst>
                  <a:ext uri="{FF2B5EF4-FFF2-40B4-BE49-F238E27FC236}">
                    <a16:creationId xmlns:a16="http://schemas.microsoft.com/office/drawing/2014/main" xmlns="" id="{FBD663A6-0363-4C68-B26F-108FE2763AA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962569" y="2512622"/>
                <a:ext cx="100240" cy="18934"/>
              </a:xfrm>
              <a:custGeom>
                <a:avLst/>
                <a:gdLst>
                  <a:gd name="T0" fmla="*/ 66 w 66"/>
                  <a:gd name="T1" fmla="*/ 0 h 13"/>
                  <a:gd name="T2" fmla="*/ 0 w 66"/>
                  <a:gd name="T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6" h="13">
                    <a:moveTo>
                      <a:pt x="66" y="0"/>
                    </a:moveTo>
                    <a:cubicBezTo>
                      <a:pt x="45" y="5"/>
                      <a:pt x="20" y="13"/>
                      <a:pt x="0" y="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3" name="Freeform 76">
                <a:extLst>
                  <a:ext uri="{FF2B5EF4-FFF2-40B4-BE49-F238E27FC236}">
                    <a16:creationId xmlns:a16="http://schemas.microsoft.com/office/drawing/2014/main" xmlns="" id="{A77EC5CE-9232-498E-A735-BACF38EF4C1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3056600" y="2449471"/>
                <a:ext cx="63486" cy="51234"/>
              </a:xfrm>
              <a:custGeom>
                <a:avLst/>
                <a:gdLst>
                  <a:gd name="T0" fmla="*/ 0 w 42"/>
                  <a:gd name="T1" fmla="*/ 34 h 34"/>
                  <a:gd name="T2" fmla="*/ 42 w 42"/>
                  <a:gd name="T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2" h="34">
                    <a:moveTo>
                      <a:pt x="0" y="34"/>
                    </a:moveTo>
                    <a:cubicBezTo>
                      <a:pt x="10" y="19"/>
                      <a:pt x="31" y="15"/>
                      <a:pt x="4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4" name="Freeform 77">
                <a:extLst>
                  <a:ext uri="{FF2B5EF4-FFF2-40B4-BE49-F238E27FC236}">
                    <a16:creationId xmlns:a16="http://schemas.microsoft.com/office/drawing/2014/main" xmlns="" id="{1532FC39-726A-4FD0-8429-B9BADC3DF21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3126775" y="2046128"/>
                <a:ext cx="10024" cy="22276"/>
              </a:xfrm>
              <a:custGeom>
                <a:avLst/>
                <a:gdLst>
                  <a:gd name="T0" fmla="*/ 7 w 7"/>
                  <a:gd name="T1" fmla="*/ 0 h 15"/>
                  <a:gd name="T2" fmla="*/ 2 w 7"/>
                  <a:gd name="T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0" y="1"/>
                      <a:pt x="3" y="10"/>
                      <a:pt x="2" y="1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5" name="Freeform 78">
                <a:extLst>
                  <a:ext uri="{FF2B5EF4-FFF2-40B4-BE49-F238E27FC236}">
                    <a16:creationId xmlns:a16="http://schemas.microsoft.com/office/drawing/2014/main" xmlns="" id="{326124B5-6CEB-452B-8F72-2B3594A6884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990455" y="1854447"/>
                <a:ext cx="3341" cy="21162"/>
              </a:xfrm>
              <a:custGeom>
                <a:avLst/>
                <a:gdLst>
                  <a:gd name="T0" fmla="*/ 2 w 2"/>
                  <a:gd name="T1" fmla="*/ 0 h 14"/>
                  <a:gd name="T2" fmla="*/ 0 w 2"/>
                  <a:gd name="T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" h="14">
                    <a:moveTo>
                      <a:pt x="2" y="0"/>
                    </a:moveTo>
                    <a:cubicBezTo>
                      <a:pt x="0" y="4"/>
                      <a:pt x="0" y="9"/>
                      <a:pt x="0" y="1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6" name="Freeform 79">
                <a:extLst>
                  <a:ext uri="{FF2B5EF4-FFF2-40B4-BE49-F238E27FC236}">
                    <a16:creationId xmlns:a16="http://schemas.microsoft.com/office/drawing/2014/main" xmlns="" id="{CA7811D7-803A-465E-A5FF-EBFA9C45930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58594" y="3000631"/>
                <a:ext cx="340817" cy="85761"/>
              </a:xfrm>
              <a:custGeom>
                <a:avLst/>
                <a:gdLst>
                  <a:gd name="T0" fmla="*/ 225 w 225"/>
                  <a:gd name="T1" fmla="*/ 36 h 56"/>
                  <a:gd name="T2" fmla="*/ 0 w 225"/>
                  <a:gd name="T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5" h="56">
                    <a:moveTo>
                      <a:pt x="225" y="36"/>
                    </a:moveTo>
                    <a:cubicBezTo>
                      <a:pt x="211" y="40"/>
                      <a:pt x="60" y="56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7" name="Line 80">
                <a:extLst>
                  <a:ext uri="{FF2B5EF4-FFF2-40B4-BE49-F238E27FC236}">
                    <a16:creationId xmlns:a16="http://schemas.microsoft.com/office/drawing/2014/main" xmlns="" id="{6C15F15D-896E-478B-BCB9-5AD1BE4C88A8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3013156" y="2599191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8" name="Freeform 81">
                <a:extLst>
                  <a:ext uri="{FF2B5EF4-FFF2-40B4-BE49-F238E27FC236}">
                    <a16:creationId xmlns:a16="http://schemas.microsoft.com/office/drawing/2014/main" xmlns="" id="{B8910221-785A-4E92-88EB-722A7E5C4FD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62524" y="1601410"/>
                <a:ext cx="10024" cy="33413"/>
              </a:xfrm>
              <a:custGeom>
                <a:avLst/>
                <a:gdLst>
                  <a:gd name="T0" fmla="*/ 6 w 6"/>
                  <a:gd name="T1" fmla="*/ 0 h 22"/>
                  <a:gd name="T2" fmla="*/ 0 w 6"/>
                  <a:gd name="T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22">
                    <a:moveTo>
                      <a:pt x="6" y="0"/>
                    </a:moveTo>
                    <a:cubicBezTo>
                      <a:pt x="3" y="7"/>
                      <a:pt x="5" y="16"/>
                      <a:pt x="0" y="2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899" name="Freeform 82">
                <a:extLst>
                  <a:ext uri="{FF2B5EF4-FFF2-40B4-BE49-F238E27FC236}">
                    <a16:creationId xmlns:a16="http://schemas.microsoft.com/office/drawing/2014/main" xmlns="" id="{9C8BE5DD-DE23-4F33-B050-19F246C6297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7524" y="1447238"/>
                <a:ext cx="40096" cy="51234"/>
              </a:xfrm>
              <a:custGeom>
                <a:avLst/>
                <a:gdLst>
                  <a:gd name="T0" fmla="*/ 0 w 26"/>
                  <a:gd name="T1" fmla="*/ 0 h 34"/>
                  <a:gd name="T2" fmla="*/ 26 w 26"/>
                  <a:gd name="T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" h="34">
                    <a:moveTo>
                      <a:pt x="0" y="0"/>
                    </a:moveTo>
                    <a:cubicBezTo>
                      <a:pt x="9" y="11"/>
                      <a:pt x="17" y="23"/>
                      <a:pt x="26" y="3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0" name="Freeform 83">
                <a:extLst>
                  <a:ext uri="{FF2B5EF4-FFF2-40B4-BE49-F238E27FC236}">
                    <a16:creationId xmlns:a16="http://schemas.microsoft.com/office/drawing/2014/main" xmlns="" id="{1DAC4BE4-04E1-4960-82FD-368720D13A4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00384" y="2889779"/>
                <a:ext cx="258398" cy="26731"/>
              </a:xfrm>
              <a:custGeom>
                <a:avLst/>
                <a:gdLst>
                  <a:gd name="T0" fmla="*/ 0 w 171"/>
                  <a:gd name="T1" fmla="*/ 7 h 17"/>
                  <a:gd name="T2" fmla="*/ 171 w 171"/>
                  <a:gd name="T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1" h="17">
                    <a:moveTo>
                      <a:pt x="0" y="7"/>
                    </a:moveTo>
                    <a:cubicBezTo>
                      <a:pt x="50" y="17"/>
                      <a:pt x="121" y="8"/>
                      <a:pt x="171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1" name="Freeform 84">
                <a:extLst>
                  <a:ext uri="{FF2B5EF4-FFF2-40B4-BE49-F238E27FC236}">
                    <a16:creationId xmlns:a16="http://schemas.microsoft.com/office/drawing/2014/main" xmlns="" id="{0FED9CE0-A4AD-4D35-9596-22B7B844ACD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71157" y="2414303"/>
                <a:ext cx="28958" cy="4455"/>
              </a:xfrm>
              <a:custGeom>
                <a:avLst/>
                <a:gdLst>
                  <a:gd name="T0" fmla="*/ 19 w 19"/>
                  <a:gd name="T1" fmla="*/ 0 h 3"/>
                  <a:gd name="T2" fmla="*/ 0 w 19"/>
                  <a:gd name="T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3">
                    <a:moveTo>
                      <a:pt x="19" y="0"/>
                    </a:moveTo>
                    <a:cubicBezTo>
                      <a:pt x="12" y="0"/>
                      <a:pt x="5" y="0"/>
                      <a:pt x="0" y="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2" name="Freeform 85">
                <a:extLst>
                  <a:ext uri="{FF2B5EF4-FFF2-40B4-BE49-F238E27FC236}">
                    <a16:creationId xmlns:a16="http://schemas.microsoft.com/office/drawing/2014/main" xmlns="" id="{D6DF3D47-DF4A-4E72-8EAD-383F79C3096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61972" y="1497663"/>
                <a:ext cx="191571" cy="32300"/>
              </a:xfrm>
              <a:custGeom>
                <a:avLst/>
                <a:gdLst>
                  <a:gd name="T0" fmla="*/ 0 w 126"/>
                  <a:gd name="T1" fmla="*/ 21 h 21"/>
                  <a:gd name="T2" fmla="*/ 126 w 126"/>
                  <a:gd name="T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6" h="21">
                    <a:moveTo>
                      <a:pt x="0" y="21"/>
                    </a:moveTo>
                    <a:cubicBezTo>
                      <a:pt x="41" y="10"/>
                      <a:pt x="85" y="11"/>
                      <a:pt x="12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3" name="Freeform 86">
                <a:extLst>
                  <a:ext uri="{FF2B5EF4-FFF2-40B4-BE49-F238E27FC236}">
                    <a16:creationId xmlns:a16="http://schemas.microsoft.com/office/drawing/2014/main" xmlns="" id="{E76E4EAA-C791-4E36-A7B5-63FFC6E7D8A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823508" y="1978519"/>
                <a:ext cx="61258" cy="87989"/>
              </a:xfrm>
              <a:custGeom>
                <a:avLst/>
                <a:gdLst>
                  <a:gd name="T0" fmla="*/ 0 w 40"/>
                  <a:gd name="T1" fmla="*/ 58 h 58"/>
                  <a:gd name="T2" fmla="*/ 40 w 40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0" h="58">
                    <a:moveTo>
                      <a:pt x="0" y="58"/>
                    </a:moveTo>
                    <a:cubicBezTo>
                      <a:pt x="9" y="36"/>
                      <a:pt x="37" y="24"/>
                      <a:pt x="4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4" name="Freeform 87">
                <a:extLst>
                  <a:ext uri="{FF2B5EF4-FFF2-40B4-BE49-F238E27FC236}">
                    <a16:creationId xmlns:a16="http://schemas.microsoft.com/office/drawing/2014/main" xmlns="" id="{DD32A762-4F9D-49F1-9121-76FF54C2D17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830663" y="1977978"/>
                <a:ext cx="49006" cy="21162"/>
              </a:xfrm>
              <a:custGeom>
                <a:avLst/>
                <a:gdLst>
                  <a:gd name="T0" fmla="*/ 32 w 32"/>
                  <a:gd name="T1" fmla="*/ 0 h 14"/>
                  <a:gd name="T2" fmla="*/ 0 w 32"/>
                  <a:gd name="T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14">
                    <a:moveTo>
                      <a:pt x="32" y="0"/>
                    </a:moveTo>
                    <a:cubicBezTo>
                      <a:pt x="20" y="3"/>
                      <a:pt x="12" y="12"/>
                      <a:pt x="0" y="1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5" name="Freeform 88">
                <a:extLst>
                  <a:ext uri="{FF2B5EF4-FFF2-40B4-BE49-F238E27FC236}">
                    <a16:creationId xmlns:a16="http://schemas.microsoft.com/office/drawing/2014/main" xmlns="" id="{549276E8-ADC0-4AEF-9A21-A64F3382D6F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862749" y="1775477"/>
                <a:ext cx="186002" cy="186002"/>
              </a:xfrm>
              <a:custGeom>
                <a:avLst/>
                <a:gdLst>
                  <a:gd name="T0" fmla="*/ 0 w 123"/>
                  <a:gd name="T1" fmla="*/ 123 h 123"/>
                  <a:gd name="T2" fmla="*/ 119 w 123"/>
                  <a:gd name="T3" fmla="*/ 8 h 123"/>
                  <a:gd name="T4" fmla="*/ 123 w 12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3" h="123">
                    <a:moveTo>
                      <a:pt x="0" y="123"/>
                    </a:moveTo>
                    <a:cubicBezTo>
                      <a:pt x="28" y="70"/>
                      <a:pt x="74" y="40"/>
                      <a:pt x="119" y="8"/>
                    </a:cubicBezTo>
                    <a:cubicBezTo>
                      <a:pt x="122" y="6"/>
                      <a:pt x="121" y="1"/>
                      <a:pt x="123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6" name="Freeform 89">
                <a:extLst>
                  <a:ext uri="{FF2B5EF4-FFF2-40B4-BE49-F238E27FC236}">
                    <a16:creationId xmlns:a16="http://schemas.microsoft.com/office/drawing/2014/main" xmlns="" id="{F80183A7-88C1-4A9C-9676-F1ACB713982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92055" y="1753443"/>
                <a:ext cx="41210" cy="15593"/>
              </a:xfrm>
              <a:custGeom>
                <a:avLst/>
                <a:gdLst>
                  <a:gd name="T0" fmla="*/ 27 w 27"/>
                  <a:gd name="T1" fmla="*/ 8 h 10"/>
                  <a:gd name="T2" fmla="*/ 0 w 27"/>
                  <a:gd name="T3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7" h="10">
                    <a:moveTo>
                      <a:pt x="27" y="8"/>
                    </a:moveTo>
                    <a:cubicBezTo>
                      <a:pt x="18" y="0"/>
                      <a:pt x="9" y="10"/>
                      <a:pt x="0" y="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7" name="Freeform 90">
                <a:extLst>
                  <a:ext uri="{FF2B5EF4-FFF2-40B4-BE49-F238E27FC236}">
                    <a16:creationId xmlns:a16="http://schemas.microsoft.com/office/drawing/2014/main" xmlns="" id="{7228CDD5-ABC2-4BAD-AEBE-37E198D8800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19164" y="1570390"/>
                <a:ext cx="360866" cy="165954"/>
              </a:xfrm>
              <a:custGeom>
                <a:avLst/>
                <a:gdLst>
                  <a:gd name="T0" fmla="*/ 0 w 239"/>
                  <a:gd name="T1" fmla="*/ 110 h 110"/>
                  <a:gd name="T2" fmla="*/ 146 w 239"/>
                  <a:gd name="T3" fmla="*/ 44 h 110"/>
                  <a:gd name="T4" fmla="*/ 239 w 239"/>
                  <a:gd name="T5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10">
                    <a:moveTo>
                      <a:pt x="0" y="110"/>
                    </a:moveTo>
                    <a:cubicBezTo>
                      <a:pt x="40" y="90"/>
                      <a:pt x="83" y="57"/>
                      <a:pt x="146" y="44"/>
                    </a:cubicBezTo>
                    <a:cubicBezTo>
                      <a:pt x="185" y="35"/>
                      <a:pt x="210" y="16"/>
                      <a:pt x="23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8" name="Freeform 91">
                <a:extLst>
                  <a:ext uri="{FF2B5EF4-FFF2-40B4-BE49-F238E27FC236}">
                    <a16:creationId xmlns:a16="http://schemas.microsoft.com/office/drawing/2014/main" xmlns="" id="{89DA34E9-23B7-46BE-AE6C-18ACC28FB1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60052" y="1472279"/>
                <a:ext cx="57917" cy="67941"/>
              </a:xfrm>
              <a:custGeom>
                <a:avLst/>
                <a:gdLst>
                  <a:gd name="T0" fmla="*/ 0 w 38"/>
                  <a:gd name="T1" fmla="*/ 45 h 45"/>
                  <a:gd name="T2" fmla="*/ 38 w 38"/>
                  <a:gd name="T3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8" h="45">
                    <a:moveTo>
                      <a:pt x="0" y="45"/>
                    </a:moveTo>
                    <a:cubicBezTo>
                      <a:pt x="7" y="26"/>
                      <a:pt x="28" y="17"/>
                      <a:pt x="38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09" name="Freeform 92">
                <a:extLst>
                  <a:ext uri="{FF2B5EF4-FFF2-40B4-BE49-F238E27FC236}">
                    <a16:creationId xmlns:a16="http://schemas.microsoft.com/office/drawing/2014/main" xmlns="" id="{43C46D0E-939C-48D0-820F-EB9C15FE461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46946" y="1516660"/>
                <a:ext cx="62372" cy="59030"/>
              </a:xfrm>
              <a:custGeom>
                <a:avLst/>
                <a:gdLst>
                  <a:gd name="T0" fmla="*/ 0 w 41"/>
                  <a:gd name="T1" fmla="*/ 39 h 39"/>
                  <a:gd name="T2" fmla="*/ 41 w 41"/>
                  <a:gd name="T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1" h="39">
                    <a:moveTo>
                      <a:pt x="0" y="39"/>
                    </a:moveTo>
                    <a:cubicBezTo>
                      <a:pt x="15" y="30"/>
                      <a:pt x="30" y="14"/>
                      <a:pt x="41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0" name="Freeform 93">
                <a:extLst>
                  <a:ext uri="{FF2B5EF4-FFF2-40B4-BE49-F238E27FC236}">
                    <a16:creationId xmlns:a16="http://schemas.microsoft.com/office/drawing/2014/main" xmlns="" id="{30F3C937-B508-441D-9AB9-5DC93535313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609067" y="2091690"/>
                <a:ext cx="90216" cy="189343"/>
              </a:xfrm>
              <a:custGeom>
                <a:avLst/>
                <a:gdLst>
                  <a:gd name="T0" fmla="*/ 0 w 59"/>
                  <a:gd name="T1" fmla="*/ 0 h 125"/>
                  <a:gd name="T2" fmla="*/ 59 w 59"/>
                  <a:gd name="T3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9" h="125">
                    <a:moveTo>
                      <a:pt x="0" y="0"/>
                    </a:moveTo>
                    <a:cubicBezTo>
                      <a:pt x="34" y="35"/>
                      <a:pt x="37" y="83"/>
                      <a:pt x="59" y="12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1" name="Freeform 94">
                <a:extLst>
                  <a:ext uri="{FF2B5EF4-FFF2-40B4-BE49-F238E27FC236}">
                    <a16:creationId xmlns:a16="http://schemas.microsoft.com/office/drawing/2014/main" xmlns="" id="{6D301475-2C45-4EDD-9A89-3C5719ABA0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327791" y="2060764"/>
                <a:ext cx="267308" cy="94672"/>
              </a:xfrm>
              <a:custGeom>
                <a:avLst/>
                <a:gdLst>
                  <a:gd name="T0" fmla="*/ 0 w 177"/>
                  <a:gd name="T1" fmla="*/ 32 h 63"/>
                  <a:gd name="T2" fmla="*/ 177 w 177"/>
                  <a:gd name="T3" fmla="*/ 3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7" h="63">
                    <a:moveTo>
                      <a:pt x="0" y="32"/>
                    </a:moveTo>
                    <a:cubicBezTo>
                      <a:pt x="59" y="63"/>
                      <a:pt x="122" y="0"/>
                      <a:pt x="177" y="3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2" name="Freeform 95">
                <a:extLst>
                  <a:ext uri="{FF2B5EF4-FFF2-40B4-BE49-F238E27FC236}">
                    <a16:creationId xmlns:a16="http://schemas.microsoft.com/office/drawing/2014/main" xmlns="" id="{D73FD4CA-ADFB-40B9-984C-FD50F88D43E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576676" y="1852889"/>
                <a:ext cx="99127" cy="240577"/>
              </a:xfrm>
              <a:custGeom>
                <a:avLst/>
                <a:gdLst>
                  <a:gd name="T0" fmla="*/ 0 w 65"/>
                  <a:gd name="T1" fmla="*/ 159 h 159"/>
                  <a:gd name="T2" fmla="*/ 55 w 65"/>
                  <a:gd name="T3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5" h="159">
                    <a:moveTo>
                      <a:pt x="0" y="159"/>
                    </a:moveTo>
                    <a:cubicBezTo>
                      <a:pt x="40" y="115"/>
                      <a:pt x="65" y="60"/>
                      <a:pt x="55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3" name="Freeform 96">
                <a:extLst>
                  <a:ext uri="{FF2B5EF4-FFF2-40B4-BE49-F238E27FC236}">
                    <a16:creationId xmlns:a16="http://schemas.microsoft.com/office/drawing/2014/main" xmlns="" id="{C6467322-53BE-4326-A96C-A843C038675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450882" y="1791190"/>
                <a:ext cx="188229" cy="95785"/>
              </a:xfrm>
              <a:custGeom>
                <a:avLst/>
                <a:gdLst>
                  <a:gd name="T0" fmla="*/ 124 w 124"/>
                  <a:gd name="T1" fmla="*/ 48 h 63"/>
                  <a:gd name="T2" fmla="*/ 0 w 124"/>
                  <a:gd name="T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4" h="63">
                    <a:moveTo>
                      <a:pt x="124" y="48"/>
                    </a:moveTo>
                    <a:cubicBezTo>
                      <a:pt x="75" y="63"/>
                      <a:pt x="36" y="2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4" name="Freeform 97">
                <a:extLst>
                  <a:ext uri="{FF2B5EF4-FFF2-40B4-BE49-F238E27FC236}">
                    <a16:creationId xmlns:a16="http://schemas.microsoft.com/office/drawing/2014/main" xmlns="" id="{8381DBA0-A17F-4556-B44E-17550135505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622111" y="1589854"/>
                <a:ext cx="149247" cy="249487"/>
              </a:xfrm>
              <a:custGeom>
                <a:avLst/>
                <a:gdLst>
                  <a:gd name="T0" fmla="*/ 0 w 99"/>
                  <a:gd name="T1" fmla="*/ 165 h 165"/>
                  <a:gd name="T2" fmla="*/ 99 w 99"/>
                  <a:gd name="T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9" h="165">
                    <a:moveTo>
                      <a:pt x="0" y="165"/>
                    </a:moveTo>
                    <a:cubicBezTo>
                      <a:pt x="44" y="116"/>
                      <a:pt x="82" y="64"/>
                      <a:pt x="9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5" name="Freeform 98">
                <a:extLst>
                  <a:ext uri="{FF2B5EF4-FFF2-40B4-BE49-F238E27FC236}">
                    <a16:creationId xmlns:a16="http://schemas.microsoft.com/office/drawing/2014/main" xmlns="" id="{37916261-5B06-4130-B175-7366A2B6D0C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35478" y="1497575"/>
                <a:ext cx="12252" cy="83534"/>
              </a:xfrm>
              <a:custGeom>
                <a:avLst/>
                <a:gdLst>
                  <a:gd name="T0" fmla="*/ 7 w 8"/>
                  <a:gd name="T1" fmla="*/ 55 h 55"/>
                  <a:gd name="T2" fmla="*/ 0 w 8"/>
                  <a:gd name="T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55">
                    <a:moveTo>
                      <a:pt x="7" y="55"/>
                    </a:moveTo>
                    <a:cubicBezTo>
                      <a:pt x="1" y="38"/>
                      <a:pt x="8" y="17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6" name="Freeform 99">
                <a:extLst>
                  <a:ext uri="{FF2B5EF4-FFF2-40B4-BE49-F238E27FC236}">
                    <a16:creationId xmlns:a16="http://schemas.microsoft.com/office/drawing/2014/main" xmlns="" id="{C0194801-C6CF-45F3-9A10-D8BA7A90F55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371191" y="1544715"/>
                <a:ext cx="245032" cy="168181"/>
              </a:xfrm>
              <a:custGeom>
                <a:avLst/>
                <a:gdLst>
                  <a:gd name="T0" fmla="*/ 0 w 162"/>
                  <a:gd name="T1" fmla="*/ 0 h 111"/>
                  <a:gd name="T2" fmla="*/ 162 w 162"/>
                  <a:gd name="T3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62" h="111">
                    <a:moveTo>
                      <a:pt x="0" y="0"/>
                    </a:moveTo>
                    <a:cubicBezTo>
                      <a:pt x="66" y="17"/>
                      <a:pt x="105" y="79"/>
                      <a:pt x="162" y="11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7" name="Freeform 100">
                <a:extLst>
                  <a:ext uri="{FF2B5EF4-FFF2-40B4-BE49-F238E27FC236}">
                    <a16:creationId xmlns:a16="http://schemas.microsoft.com/office/drawing/2014/main" xmlns="" id="{4C6192A5-FA36-4703-ADE6-9DAAC67CAB4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169724" y="1562900"/>
                <a:ext cx="190457" cy="20048"/>
              </a:xfrm>
              <a:custGeom>
                <a:avLst/>
                <a:gdLst>
                  <a:gd name="T0" fmla="*/ 0 w 126"/>
                  <a:gd name="T1" fmla="*/ 1 h 13"/>
                  <a:gd name="T2" fmla="*/ 126 w 126"/>
                  <a:gd name="T3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6" h="13">
                    <a:moveTo>
                      <a:pt x="0" y="1"/>
                    </a:moveTo>
                    <a:cubicBezTo>
                      <a:pt x="42" y="0"/>
                      <a:pt x="83" y="13"/>
                      <a:pt x="126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8" name="Freeform 101">
                <a:extLst>
                  <a:ext uri="{FF2B5EF4-FFF2-40B4-BE49-F238E27FC236}">
                    <a16:creationId xmlns:a16="http://schemas.microsoft.com/office/drawing/2014/main" xmlns="" id="{BAE95937-8D1E-4C01-B637-6F5071A7615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28714" y="1463766"/>
                <a:ext cx="123630" cy="110265"/>
              </a:xfrm>
              <a:custGeom>
                <a:avLst/>
                <a:gdLst>
                  <a:gd name="T0" fmla="*/ 82 w 82"/>
                  <a:gd name="T1" fmla="*/ 73 h 73"/>
                  <a:gd name="T2" fmla="*/ 0 w 82"/>
                  <a:gd name="T3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2" h="73">
                    <a:moveTo>
                      <a:pt x="82" y="73"/>
                    </a:moveTo>
                    <a:cubicBezTo>
                      <a:pt x="59" y="47"/>
                      <a:pt x="32" y="18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19" name="Freeform 102">
                <a:extLst>
                  <a:ext uri="{FF2B5EF4-FFF2-40B4-BE49-F238E27FC236}">
                    <a16:creationId xmlns:a16="http://schemas.microsoft.com/office/drawing/2014/main" xmlns="" id="{97E06D27-9B61-45C1-9714-94FA9313776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78093" y="1890231"/>
                <a:ext cx="102468" cy="271763"/>
              </a:xfrm>
              <a:custGeom>
                <a:avLst/>
                <a:gdLst>
                  <a:gd name="T0" fmla="*/ 0 w 68"/>
                  <a:gd name="T1" fmla="*/ 0 h 180"/>
                  <a:gd name="T2" fmla="*/ 4 w 68"/>
                  <a:gd name="T3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8" h="180">
                    <a:moveTo>
                      <a:pt x="0" y="0"/>
                    </a:moveTo>
                    <a:cubicBezTo>
                      <a:pt x="68" y="39"/>
                      <a:pt x="40" y="128"/>
                      <a:pt x="4" y="18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0" name="Freeform 103">
                <a:extLst>
                  <a:ext uri="{FF2B5EF4-FFF2-40B4-BE49-F238E27FC236}">
                    <a16:creationId xmlns:a16="http://schemas.microsoft.com/office/drawing/2014/main" xmlns="" id="{BE38EA60-74CD-4679-8AC2-045B6085A80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912292" y="2162861"/>
                <a:ext cx="51234" cy="105809"/>
              </a:xfrm>
              <a:custGeom>
                <a:avLst/>
                <a:gdLst>
                  <a:gd name="T0" fmla="*/ 0 w 34"/>
                  <a:gd name="T1" fmla="*/ 0 h 70"/>
                  <a:gd name="T2" fmla="*/ 30 w 34"/>
                  <a:gd name="T3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4" h="70">
                    <a:moveTo>
                      <a:pt x="0" y="0"/>
                    </a:moveTo>
                    <a:cubicBezTo>
                      <a:pt x="15" y="21"/>
                      <a:pt x="34" y="41"/>
                      <a:pt x="30" y="7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1" name="Freeform 104">
                <a:extLst>
                  <a:ext uri="{FF2B5EF4-FFF2-40B4-BE49-F238E27FC236}">
                    <a16:creationId xmlns:a16="http://schemas.microsoft.com/office/drawing/2014/main" xmlns="" id="{B9660527-A068-4174-A9B7-B3AD858EED2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48210" y="2171585"/>
                <a:ext cx="57917" cy="15593"/>
              </a:xfrm>
              <a:custGeom>
                <a:avLst/>
                <a:gdLst>
                  <a:gd name="T0" fmla="*/ 38 w 38"/>
                  <a:gd name="T1" fmla="*/ 0 h 10"/>
                  <a:gd name="T2" fmla="*/ 0 w 38"/>
                  <a:gd name="T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8" h="10">
                    <a:moveTo>
                      <a:pt x="38" y="0"/>
                    </a:moveTo>
                    <a:cubicBezTo>
                      <a:pt x="25" y="4"/>
                      <a:pt x="13" y="8"/>
                      <a:pt x="0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2" name="Freeform 105">
                <a:extLst>
                  <a:ext uri="{FF2B5EF4-FFF2-40B4-BE49-F238E27FC236}">
                    <a16:creationId xmlns:a16="http://schemas.microsoft.com/office/drawing/2014/main" xmlns="" id="{8E654940-BEED-49B9-87BD-83CF5FAD2A7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853228" y="1899864"/>
                <a:ext cx="8910" cy="51234"/>
              </a:xfrm>
              <a:custGeom>
                <a:avLst/>
                <a:gdLst>
                  <a:gd name="T0" fmla="*/ 6 w 6"/>
                  <a:gd name="T1" fmla="*/ 0 h 34"/>
                  <a:gd name="T2" fmla="*/ 0 w 6"/>
                  <a:gd name="T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34">
                    <a:moveTo>
                      <a:pt x="6" y="0"/>
                    </a:moveTo>
                    <a:cubicBezTo>
                      <a:pt x="4" y="11"/>
                      <a:pt x="3" y="23"/>
                      <a:pt x="0" y="3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3" name="Freeform 106">
                <a:extLst>
                  <a:ext uri="{FF2B5EF4-FFF2-40B4-BE49-F238E27FC236}">
                    <a16:creationId xmlns:a16="http://schemas.microsoft.com/office/drawing/2014/main" xmlns="" id="{FE90A0DC-0915-4DC1-9A91-17948FC8BD9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53160" y="1665281"/>
                <a:ext cx="287356" cy="257284"/>
              </a:xfrm>
              <a:custGeom>
                <a:avLst/>
                <a:gdLst>
                  <a:gd name="T0" fmla="*/ 0 w 190"/>
                  <a:gd name="T1" fmla="*/ 0 h 170"/>
                  <a:gd name="T2" fmla="*/ 74 w 190"/>
                  <a:gd name="T3" fmla="*/ 26 h 170"/>
                  <a:gd name="T4" fmla="*/ 149 w 190"/>
                  <a:gd name="T5" fmla="*/ 127 h 170"/>
                  <a:gd name="T6" fmla="*/ 190 w 190"/>
                  <a:gd name="T7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0" h="170">
                    <a:moveTo>
                      <a:pt x="0" y="0"/>
                    </a:moveTo>
                    <a:cubicBezTo>
                      <a:pt x="19" y="17"/>
                      <a:pt x="52" y="12"/>
                      <a:pt x="74" y="26"/>
                    </a:cubicBezTo>
                    <a:cubicBezTo>
                      <a:pt x="104" y="44"/>
                      <a:pt x="118" y="98"/>
                      <a:pt x="149" y="127"/>
                    </a:cubicBezTo>
                    <a:cubicBezTo>
                      <a:pt x="166" y="143"/>
                      <a:pt x="188" y="148"/>
                      <a:pt x="190" y="17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4" name="Freeform 107">
                <a:extLst>
                  <a:ext uri="{FF2B5EF4-FFF2-40B4-BE49-F238E27FC236}">
                    <a16:creationId xmlns:a16="http://schemas.microsoft.com/office/drawing/2014/main" xmlns="" id="{3924609C-8E27-4ECA-9CC4-5750489C6B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506194" y="1640268"/>
                <a:ext cx="59030" cy="53462"/>
              </a:xfrm>
              <a:custGeom>
                <a:avLst/>
                <a:gdLst>
                  <a:gd name="T0" fmla="*/ 0 w 39"/>
                  <a:gd name="T1" fmla="*/ 0 h 35"/>
                  <a:gd name="T2" fmla="*/ 39 w 39"/>
                  <a:gd name="T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cubicBezTo>
                      <a:pt x="12" y="13"/>
                      <a:pt x="26" y="24"/>
                      <a:pt x="39" y="3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5" name="Freeform 108">
                <a:extLst>
                  <a:ext uri="{FF2B5EF4-FFF2-40B4-BE49-F238E27FC236}">
                    <a16:creationId xmlns:a16="http://schemas.microsoft.com/office/drawing/2014/main" xmlns="" id="{4CEF0812-D6CB-45FE-AB78-3E7C2E6C8E0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488195" y="1644981"/>
                <a:ext cx="14479" cy="3341"/>
              </a:xfrm>
              <a:custGeom>
                <a:avLst/>
                <a:gdLst>
                  <a:gd name="T0" fmla="*/ 0 w 9"/>
                  <a:gd name="T1" fmla="*/ 0 h 2"/>
                  <a:gd name="T2" fmla="*/ 9 w 9"/>
                  <a:gd name="T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cubicBezTo>
                      <a:pt x="3" y="2"/>
                      <a:pt x="7" y="2"/>
                      <a:pt x="9" y="1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6" name="Freeform 109">
                <a:extLst>
                  <a:ext uri="{FF2B5EF4-FFF2-40B4-BE49-F238E27FC236}">
                    <a16:creationId xmlns:a16="http://schemas.microsoft.com/office/drawing/2014/main" xmlns="" id="{CA222138-F18D-4547-BEAF-D8A6BF2840C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499082" y="1599728"/>
                <a:ext cx="27845" cy="43438"/>
              </a:xfrm>
              <a:custGeom>
                <a:avLst/>
                <a:gdLst>
                  <a:gd name="T0" fmla="*/ 0 w 19"/>
                  <a:gd name="T1" fmla="*/ 29 h 29"/>
                  <a:gd name="T2" fmla="*/ 19 w 19"/>
                  <a:gd name="T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9">
                    <a:moveTo>
                      <a:pt x="0" y="29"/>
                    </a:moveTo>
                    <a:cubicBezTo>
                      <a:pt x="4" y="18"/>
                      <a:pt x="10" y="8"/>
                      <a:pt x="1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7" name="Freeform 110">
                <a:extLst>
                  <a:ext uri="{FF2B5EF4-FFF2-40B4-BE49-F238E27FC236}">
                    <a16:creationId xmlns:a16="http://schemas.microsoft.com/office/drawing/2014/main" xmlns="" id="{70B1F263-796E-458D-9827-FDBDBB3748E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03349" y="1983574"/>
                <a:ext cx="0" cy="17821"/>
              </a:xfrm>
              <a:custGeom>
                <a:avLst/>
                <a:gdLst>
                  <a:gd name="T0" fmla="*/ 0 h 12"/>
                  <a:gd name="T1" fmla="*/ 12 h 1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12">
                    <a:moveTo>
                      <a:pt x="0" y="0"/>
                    </a:moveTo>
                    <a:cubicBezTo>
                      <a:pt x="0" y="4"/>
                      <a:pt x="0" y="8"/>
                      <a:pt x="0" y="1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8" name="Freeform 111">
                <a:extLst>
                  <a:ext uri="{FF2B5EF4-FFF2-40B4-BE49-F238E27FC236}">
                    <a16:creationId xmlns:a16="http://schemas.microsoft.com/office/drawing/2014/main" xmlns="" id="{89DFDAF1-3D2B-45A0-A831-807E52CC91C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56883" y="1987089"/>
                <a:ext cx="49006" cy="47893"/>
              </a:xfrm>
              <a:custGeom>
                <a:avLst/>
                <a:gdLst>
                  <a:gd name="T0" fmla="*/ 0 w 32"/>
                  <a:gd name="T1" fmla="*/ 32 h 32"/>
                  <a:gd name="T2" fmla="*/ 32 w 32"/>
                  <a:gd name="T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32">
                    <a:moveTo>
                      <a:pt x="0" y="32"/>
                    </a:moveTo>
                    <a:cubicBezTo>
                      <a:pt x="6" y="19"/>
                      <a:pt x="17" y="2"/>
                      <a:pt x="3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29" name="Freeform 112">
                <a:extLst>
                  <a:ext uri="{FF2B5EF4-FFF2-40B4-BE49-F238E27FC236}">
                    <a16:creationId xmlns:a16="http://schemas.microsoft.com/office/drawing/2014/main" xmlns="" id="{68819372-093E-45C5-9B69-0B545BB2BA0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85661" y="1767587"/>
                <a:ext cx="296266" cy="194912"/>
              </a:xfrm>
              <a:custGeom>
                <a:avLst/>
                <a:gdLst>
                  <a:gd name="T0" fmla="*/ 0 w 196"/>
                  <a:gd name="T1" fmla="*/ 128 h 128"/>
                  <a:gd name="T2" fmla="*/ 49 w 196"/>
                  <a:gd name="T3" fmla="*/ 69 h 128"/>
                  <a:gd name="T4" fmla="*/ 113 w 196"/>
                  <a:gd name="T5" fmla="*/ 21 h 128"/>
                  <a:gd name="T6" fmla="*/ 196 w 196"/>
                  <a:gd name="T7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6" h="128">
                    <a:moveTo>
                      <a:pt x="0" y="128"/>
                    </a:moveTo>
                    <a:cubicBezTo>
                      <a:pt x="8" y="106"/>
                      <a:pt x="27" y="81"/>
                      <a:pt x="49" y="69"/>
                    </a:cubicBezTo>
                    <a:cubicBezTo>
                      <a:pt x="75" y="55"/>
                      <a:pt x="93" y="32"/>
                      <a:pt x="113" y="21"/>
                    </a:cubicBezTo>
                    <a:cubicBezTo>
                      <a:pt x="138" y="7"/>
                      <a:pt x="171" y="13"/>
                      <a:pt x="19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0" name="Freeform 113">
                <a:extLst>
                  <a:ext uri="{FF2B5EF4-FFF2-40B4-BE49-F238E27FC236}">
                    <a16:creationId xmlns:a16="http://schemas.microsoft.com/office/drawing/2014/main" xmlns="" id="{7EA71C0E-1CD8-4788-AA0F-577E4B8BB2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010937" y="2159296"/>
                <a:ext cx="0" cy="17821"/>
              </a:xfrm>
              <a:custGeom>
                <a:avLst/>
                <a:gdLst>
                  <a:gd name="T0" fmla="*/ 0 h 12"/>
                  <a:gd name="T1" fmla="*/ 12 h 1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</a:cxnLst>
                <a:rect l="0" t="0" r="r" b="b"/>
                <a:pathLst>
                  <a:path h="12">
                    <a:moveTo>
                      <a:pt x="0" y="0"/>
                    </a:moveTo>
                    <a:cubicBezTo>
                      <a:pt x="0" y="4"/>
                      <a:pt x="0" y="8"/>
                      <a:pt x="0" y="1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1" name="Freeform 114">
                <a:extLst>
                  <a:ext uri="{FF2B5EF4-FFF2-40B4-BE49-F238E27FC236}">
                    <a16:creationId xmlns:a16="http://schemas.microsoft.com/office/drawing/2014/main" xmlns="" id="{BBE2A827-262F-45E6-B23B-62A8A829C1B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34060" y="2165112"/>
                <a:ext cx="84647" cy="114720"/>
              </a:xfrm>
              <a:custGeom>
                <a:avLst/>
                <a:gdLst>
                  <a:gd name="T0" fmla="*/ 0 w 56"/>
                  <a:gd name="T1" fmla="*/ 76 h 76"/>
                  <a:gd name="T2" fmla="*/ 56 w 56"/>
                  <a:gd name="T3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6" h="76">
                    <a:moveTo>
                      <a:pt x="0" y="76"/>
                    </a:moveTo>
                    <a:cubicBezTo>
                      <a:pt x="3" y="43"/>
                      <a:pt x="28" y="16"/>
                      <a:pt x="5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2" name="Freeform 115">
                <a:extLst>
                  <a:ext uri="{FF2B5EF4-FFF2-40B4-BE49-F238E27FC236}">
                    <a16:creationId xmlns:a16="http://schemas.microsoft.com/office/drawing/2014/main" xmlns="" id="{DDF166E9-D279-4E7D-A3B8-485D2AD82C8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987730" y="1870364"/>
                <a:ext cx="412100" cy="259511"/>
              </a:xfrm>
              <a:custGeom>
                <a:avLst/>
                <a:gdLst>
                  <a:gd name="T0" fmla="*/ 0 w 272"/>
                  <a:gd name="T1" fmla="*/ 172 h 172"/>
                  <a:gd name="T2" fmla="*/ 49 w 272"/>
                  <a:gd name="T3" fmla="*/ 117 h 172"/>
                  <a:gd name="T4" fmla="*/ 116 w 272"/>
                  <a:gd name="T5" fmla="*/ 86 h 172"/>
                  <a:gd name="T6" fmla="*/ 205 w 272"/>
                  <a:gd name="T7" fmla="*/ 17 h 172"/>
                  <a:gd name="T8" fmla="*/ 272 w 272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" h="172">
                    <a:moveTo>
                      <a:pt x="0" y="172"/>
                    </a:moveTo>
                    <a:cubicBezTo>
                      <a:pt x="8" y="152"/>
                      <a:pt x="30" y="130"/>
                      <a:pt x="49" y="117"/>
                    </a:cubicBezTo>
                    <a:cubicBezTo>
                      <a:pt x="68" y="104"/>
                      <a:pt x="94" y="101"/>
                      <a:pt x="116" y="86"/>
                    </a:cubicBezTo>
                    <a:cubicBezTo>
                      <a:pt x="153" y="62"/>
                      <a:pt x="162" y="30"/>
                      <a:pt x="205" y="17"/>
                    </a:cubicBezTo>
                    <a:cubicBezTo>
                      <a:pt x="230" y="9"/>
                      <a:pt x="253" y="17"/>
                      <a:pt x="27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3" name="Freeform 116">
                <a:extLst>
                  <a:ext uri="{FF2B5EF4-FFF2-40B4-BE49-F238E27FC236}">
                    <a16:creationId xmlns:a16="http://schemas.microsoft.com/office/drawing/2014/main" xmlns="" id="{F9B09AC3-6E36-495E-BD53-CC18A711C0A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64838" y="1779480"/>
                <a:ext cx="192684" cy="66827"/>
              </a:xfrm>
              <a:custGeom>
                <a:avLst/>
                <a:gdLst>
                  <a:gd name="T0" fmla="*/ 0 w 128"/>
                  <a:gd name="T1" fmla="*/ 0 h 44"/>
                  <a:gd name="T2" fmla="*/ 128 w 128"/>
                  <a:gd name="T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8" h="44">
                    <a:moveTo>
                      <a:pt x="0" y="0"/>
                    </a:moveTo>
                    <a:cubicBezTo>
                      <a:pt x="31" y="44"/>
                      <a:pt x="88" y="19"/>
                      <a:pt x="128" y="4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4" name="Freeform 117">
                <a:extLst>
                  <a:ext uri="{FF2B5EF4-FFF2-40B4-BE49-F238E27FC236}">
                    <a16:creationId xmlns:a16="http://schemas.microsoft.com/office/drawing/2014/main" xmlns="" id="{8B3CF3FE-7CDF-487E-BB41-7DB93261093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57586" y="1780331"/>
                <a:ext cx="75737" cy="45665"/>
              </a:xfrm>
              <a:custGeom>
                <a:avLst/>
                <a:gdLst>
                  <a:gd name="T0" fmla="*/ 0 w 50"/>
                  <a:gd name="T1" fmla="*/ 30 h 30"/>
                  <a:gd name="T2" fmla="*/ 50 w 50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0" h="30">
                    <a:moveTo>
                      <a:pt x="0" y="30"/>
                    </a:moveTo>
                    <a:cubicBezTo>
                      <a:pt x="19" y="26"/>
                      <a:pt x="39" y="18"/>
                      <a:pt x="5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5" name="Freeform 118">
                <a:extLst>
                  <a:ext uri="{FF2B5EF4-FFF2-40B4-BE49-F238E27FC236}">
                    <a16:creationId xmlns:a16="http://schemas.microsoft.com/office/drawing/2014/main" xmlns="" id="{98A4045F-5C0C-40CC-9606-79CEAA12F14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76610" y="1825736"/>
                <a:ext cx="60144" cy="206050"/>
              </a:xfrm>
              <a:custGeom>
                <a:avLst/>
                <a:gdLst>
                  <a:gd name="T0" fmla="*/ 0 w 39"/>
                  <a:gd name="T1" fmla="*/ 0 h 136"/>
                  <a:gd name="T2" fmla="*/ 16 w 39"/>
                  <a:gd name="T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9" h="136">
                    <a:moveTo>
                      <a:pt x="0" y="0"/>
                    </a:moveTo>
                    <a:cubicBezTo>
                      <a:pt x="39" y="34"/>
                      <a:pt x="30" y="92"/>
                      <a:pt x="16" y="13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6" name="Freeform 119">
                <a:extLst>
                  <a:ext uri="{FF2B5EF4-FFF2-40B4-BE49-F238E27FC236}">
                    <a16:creationId xmlns:a16="http://schemas.microsoft.com/office/drawing/2014/main" xmlns="" id="{9AEDDE03-8DE3-41AD-9AA6-A106C3913D5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8830" y="2029856"/>
                <a:ext cx="18934" cy="30072"/>
              </a:xfrm>
              <a:custGeom>
                <a:avLst/>
                <a:gdLst>
                  <a:gd name="T0" fmla="*/ 0 w 12"/>
                  <a:gd name="T1" fmla="*/ 0 h 20"/>
                  <a:gd name="T2" fmla="*/ 12 w 12"/>
                  <a:gd name="T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" h="20">
                    <a:moveTo>
                      <a:pt x="0" y="0"/>
                    </a:moveTo>
                    <a:cubicBezTo>
                      <a:pt x="6" y="5"/>
                      <a:pt x="8" y="14"/>
                      <a:pt x="12" y="2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7" name="Freeform 120">
                <a:extLst>
                  <a:ext uri="{FF2B5EF4-FFF2-40B4-BE49-F238E27FC236}">
                    <a16:creationId xmlns:a16="http://schemas.microsoft.com/office/drawing/2014/main" xmlns="" id="{989B1593-1141-4B23-B3BD-38F0A3AFC33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39715" y="2052292"/>
                <a:ext cx="21162" cy="7796"/>
              </a:xfrm>
              <a:custGeom>
                <a:avLst/>
                <a:gdLst>
                  <a:gd name="T0" fmla="*/ 0 w 14"/>
                  <a:gd name="T1" fmla="*/ 3 h 5"/>
                  <a:gd name="T2" fmla="*/ 14 w 14"/>
                  <a:gd name="T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4" h="5">
                    <a:moveTo>
                      <a:pt x="0" y="3"/>
                    </a:moveTo>
                    <a:cubicBezTo>
                      <a:pt x="5" y="0"/>
                      <a:pt x="9" y="4"/>
                      <a:pt x="14" y="5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8" name="Freeform 121">
                <a:extLst>
                  <a:ext uri="{FF2B5EF4-FFF2-40B4-BE49-F238E27FC236}">
                    <a16:creationId xmlns:a16="http://schemas.microsoft.com/office/drawing/2014/main" xmlns="" id="{AD23D5D4-8A32-48E7-A096-F4C9426CF16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92364" y="2061930"/>
                <a:ext cx="49006" cy="15593"/>
              </a:xfrm>
              <a:custGeom>
                <a:avLst/>
                <a:gdLst>
                  <a:gd name="T0" fmla="*/ 32 w 32"/>
                  <a:gd name="T1" fmla="*/ 0 h 10"/>
                  <a:gd name="T2" fmla="*/ 0 w 32"/>
                  <a:gd name="T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2" h="10">
                    <a:moveTo>
                      <a:pt x="32" y="0"/>
                    </a:moveTo>
                    <a:cubicBezTo>
                      <a:pt x="20" y="1"/>
                      <a:pt x="12" y="10"/>
                      <a:pt x="0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39" name="Freeform 122">
                <a:extLst>
                  <a:ext uri="{FF2B5EF4-FFF2-40B4-BE49-F238E27FC236}">
                    <a16:creationId xmlns:a16="http://schemas.microsoft.com/office/drawing/2014/main" xmlns="" id="{E7288228-68A3-4BF2-9EB2-D2F4FA442F0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41172" y="2085103"/>
                <a:ext cx="57917" cy="65713"/>
              </a:xfrm>
              <a:custGeom>
                <a:avLst/>
                <a:gdLst>
                  <a:gd name="T0" fmla="*/ 38 w 38"/>
                  <a:gd name="T1" fmla="*/ 0 h 44"/>
                  <a:gd name="T2" fmla="*/ 0 w 38"/>
                  <a:gd name="T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cubicBezTo>
                      <a:pt x="22" y="11"/>
                      <a:pt x="15" y="31"/>
                      <a:pt x="0" y="4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0" name="Freeform 123">
                <a:extLst>
                  <a:ext uri="{FF2B5EF4-FFF2-40B4-BE49-F238E27FC236}">
                    <a16:creationId xmlns:a16="http://schemas.microsoft.com/office/drawing/2014/main" xmlns="" id="{13F7D00F-48EE-482E-88E5-3BB95D12B70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84723" y="1989757"/>
                <a:ext cx="81306" cy="26731"/>
              </a:xfrm>
              <a:custGeom>
                <a:avLst/>
                <a:gdLst>
                  <a:gd name="T0" fmla="*/ 0 w 54"/>
                  <a:gd name="T1" fmla="*/ 18 h 18"/>
                  <a:gd name="T2" fmla="*/ 54 w 54"/>
                  <a:gd name="T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18">
                    <a:moveTo>
                      <a:pt x="0" y="18"/>
                    </a:moveTo>
                    <a:cubicBezTo>
                      <a:pt x="15" y="3"/>
                      <a:pt x="37" y="7"/>
                      <a:pt x="5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1" name="Freeform 124">
                <a:extLst>
                  <a:ext uri="{FF2B5EF4-FFF2-40B4-BE49-F238E27FC236}">
                    <a16:creationId xmlns:a16="http://schemas.microsoft.com/office/drawing/2014/main" xmlns="" id="{66B63DF1-473A-4817-8A96-FAB07DDF58E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52374" y="2025086"/>
                <a:ext cx="38982" cy="52348"/>
              </a:xfrm>
              <a:custGeom>
                <a:avLst/>
                <a:gdLst>
                  <a:gd name="T0" fmla="*/ 0 w 26"/>
                  <a:gd name="T1" fmla="*/ 34 h 34"/>
                  <a:gd name="T2" fmla="*/ 26 w 26"/>
                  <a:gd name="T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6" h="34">
                    <a:moveTo>
                      <a:pt x="0" y="34"/>
                    </a:moveTo>
                    <a:cubicBezTo>
                      <a:pt x="7" y="22"/>
                      <a:pt x="22" y="14"/>
                      <a:pt x="2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2" name="Freeform 125">
                <a:extLst>
                  <a:ext uri="{FF2B5EF4-FFF2-40B4-BE49-F238E27FC236}">
                    <a16:creationId xmlns:a16="http://schemas.microsoft.com/office/drawing/2014/main" xmlns="" id="{69AF7E6B-6E94-464E-A7CA-38E38E33F37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37924" y="1783379"/>
                <a:ext cx="237236" cy="227212"/>
              </a:xfrm>
              <a:custGeom>
                <a:avLst/>
                <a:gdLst>
                  <a:gd name="T0" fmla="*/ 21 w 157"/>
                  <a:gd name="T1" fmla="*/ 151 h 151"/>
                  <a:gd name="T2" fmla="*/ 4 w 157"/>
                  <a:gd name="T3" fmla="*/ 74 h 151"/>
                  <a:gd name="T4" fmla="*/ 94 w 157"/>
                  <a:gd name="T5" fmla="*/ 2 h 151"/>
                  <a:gd name="T6" fmla="*/ 157 w 157"/>
                  <a:gd name="T7" fmla="*/ 19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7" h="151">
                    <a:moveTo>
                      <a:pt x="21" y="151"/>
                    </a:moveTo>
                    <a:cubicBezTo>
                      <a:pt x="18" y="128"/>
                      <a:pt x="0" y="101"/>
                      <a:pt x="4" y="74"/>
                    </a:cubicBezTo>
                    <a:cubicBezTo>
                      <a:pt x="11" y="33"/>
                      <a:pt x="42" y="0"/>
                      <a:pt x="94" y="2"/>
                    </a:cubicBezTo>
                    <a:cubicBezTo>
                      <a:pt x="111" y="3"/>
                      <a:pt x="133" y="19"/>
                      <a:pt x="157" y="1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3" name="Freeform 126">
                <a:extLst>
                  <a:ext uri="{FF2B5EF4-FFF2-40B4-BE49-F238E27FC236}">
                    <a16:creationId xmlns:a16="http://schemas.microsoft.com/office/drawing/2014/main" xmlns="" id="{B537CC0B-3311-4DF0-9084-889919900E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56922" y="1741679"/>
                <a:ext cx="111378" cy="44551"/>
              </a:xfrm>
              <a:custGeom>
                <a:avLst/>
                <a:gdLst>
                  <a:gd name="T0" fmla="*/ 0 w 74"/>
                  <a:gd name="T1" fmla="*/ 30 h 30"/>
                  <a:gd name="T2" fmla="*/ 74 w 74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4" h="30">
                    <a:moveTo>
                      <a:pt x="0" y="30"/>
                    </a:moveTo>
                    <a:cubicBezTo>
                      <a:pt x="27" y="28"/>
                      <a:pt x="53" y="18"/>
                      <a:pt x="7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4" name="Freeform 127">
                <a:extLst>
                  <a:ext uri="{FF2B5EF4-FFF2-40B4-BE49-F238E27FC236}">
                    <a16:creationId xmlns:a16="http://schemas.microsoft.com/office/drawing/2014/main" xmlns="" id="{5399890C-97B6-4733-B5F2-C131F89DA7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90210" y="2033453"/>
                <a:ext cx="30072" cy="45665"/>
              </a:xfrm>
              <a:custGeom>
                <a:avLst/>
                <a:gdLst>
                  <a:gd name="T0" fmla="*/ 20 w 20"/>
                  <a:gd name="T1" fmla="*/ 0 h 30"/>
                  <a:gd name="T2" fmla="*/ 0 w 20"/>
                  <a:gd name="T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" h="30">
                    <a:moveTo>
                      <a:pt x="20" y="0"/>
                    </a:moveTo>
                    <a:cubicBezTo>
                      <a:pt x="11" y="7"/>
                      <a:pt x="5" y="20"/>
                      <a:pt x="0" y="3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5" name="Freeform 128">
                <a:extLst>
                  <a:ext uri="{FF2B5EF4-FFF2-40B4-BE49-F238E27FC236}">
                    <a16:creationId xmlns:a16="http://schemas.microsoft.com/office/drawing/2014/main" xmlns="" id="{CA931685-B9E2-4479-AE90-779D1382969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35847" y="2037730"/>
                <a:ext cx="45665" cy="51234"/>
              </a:xfrm>
              <a:custGeom>
                <a:avLst/>
                <a:gdLst>
                  <a:gd name="T0" fmla="*/ 0 w 30"/>
                  <a:gd name="T1" fmla="*/ 0 h 34"/>
                  <a:gd name="T2" fmla="*/ 30 w 30"/>
                  <a:gd name="T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0" h="34">
                    <a:moveTo>
                      <a:pt x="0" y="0"/>
                    </a:moveTo>
                    <a:cubicBezTo>
                      <a:pt x="10" y="11"/>
                      <a:pt x="17" y="25"/>
                      <a:pt x="30" y="3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6" name="Freeform 129">
                <a:extLst>
                  <a:ext uri="{FF2B5EF4-FFF2-40B4-BE49-F238E27FC236}">
                    <a16:creationId xmlns:a16="http://schemas.microsoft.com/office/drawing/2014/main" xmlns="" id="{D170636B-1255-4530-9589-6F58E228CF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191021" y="2394442"/>
                <a:ext cx="65713" cy="126971"/>
              </a:xfrm>
              <a:custGeom>
                <a:avLst/>
                <a:gdLst>
                  <a:gd name="T0" fmla="*/ 44 w 44"/>
                  <a:gd name="T1" fmla="*/ 0 h 84"/>
                  <a:gd name="T2" fmla="*/ 0 w 44"/>
                  <a:gd name="T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4" h="84">
                    <a:moveTo>
                      <a:pt x="44" y="0"/>
                    </a:moveTo>
                    <a:cubicBezTo>
                      <a:pt x="19" y="23"/>
                      <a:pt x="14" y="55"/>
                      <a:pt x="0" y="84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7" name="Freeform 130">
                <a:extLst>
                  <a:ext uri="{FF2B5EF4-FFF2-40B4-BE49-F238E27FC236}">
                    <a16:creationId xmlns:a16="http://schemas.microsoft.com/office/drawing/2014/main" xmlns="" id="{C3E52EEF-ED7F-426C-9AB3-116F1B2C118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01601" y="2517579"/>
                <a:ext cx="105809" cy="16707"/>
              </a:xfrm>
              <a:custGeom>
                <a:avLst/>
                <a:gdLst>
                  <a:gd name="T0" fmla="*/ 0 w 70"/>
                  <a:gd name="T1" fmla="*/ 0 h 11"/>
                  <a:gd name="T2" fmla="*/ 70 w 70"/>
                  <a:gd name="T3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" h="11">
                    <a:moveTo>
                      <a:pt x="0" y="0"/>
                    </a:moveTo>
                    <a:cubicBezTo>
                      <a:pt x="23" y="6"/>
                      <a:pt x="46" y="11"/>
                      <a:pt x="70" y="1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8" name="Freeform 131">
                <a:extLst>
                  <a:ext uri="{FF2B5EF4-FFF2-40B4-BE49-F238E27FC236}">
                    <a16:creationId xmlns:a16="http://schemas.microsoft.com/office/drawing/2014/main" xmlns="" id="{87B29059-8DCB-4094-8F45-AF6AE11CE33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083215" y="2534540"/>
                <a:ext cx="123630" cy="69055"/>
              </a:xfrm>
              <a:custGeom>
                <a:avLst/>
                <a:gdLst>
                  <a:gd name="T0" fmla="*/ 82 w 82"/>
                  <a:gd name="T1" fmla="*/ 0 h 46"/>
                  <a:gd name="T2" fmla="*/ 0 w 82"/>
                  <a:gd name="T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2" h="46">
                    <a:moveTo>
                      <a:pt x="82" y="0"/>
                    </a:moveTo>
                    <a:cubicBezTo>
                      <a:pt x="50" y="5"/>
                      <a:pt x="22" y="21"/>
                      <a:pt x="0" y="4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49" name="Freeform 132">
                <a:extLst>
                  <a:ext uri="{FF2B5EF4-FFF2-40B4-BE49-F238E27FC236}">
                    <a16:creationId xmlns:a16="http://schemas.microsoft.com/office/drawing/2014/main" xmlns="" id="{2A88F7B4-026E-4104-9E02-DCD1426683B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616878" y="2772785"/>
                <a:ext cx="13365" cy="75737"/>
              </a:xfrm>
              <a:custGeom>
                <a:avLst/>
                <a:gdLst>
                  <a:gd name="T0" fmla="*/ 6 w 9"/>
                  <a:gd name="T1" fmla="*/ 0 h 50"/>
                  <a:gd name="T2" fmla="*/ 0 w 9"/>
                  <a:gd name="T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50">
                    <a:moveTo>
                      <a:pt x="6" y="0"/>
                    </a:moveTo>
                    <a:cubicBezTo>
                      <a:pt x="9" y="16"/>
                      <a:pt x="4" y="35"/>
                      <a:pt x="0" y="5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0" name="Freeform 133">
                <a:extLst>
                  <a:ext uri="{FF2B5EF4-FFF2-40B4-BE49-F238E27FC236}">
                    <a16:creationId xmlns:a16="http://schemas.microsoft.com/office/drawing/2014/main" xmlns="" id="{943B4112-E258-432E-BB6F-DCAB69B116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530056" y="2779690"/>
                <a:ext cx="93558" cy="40096"/>
              </a:xfrm>
              <a:custGeom>
                <a:avLst/>
                <a:gdLst>
                  <a:gd name="T0" fmla="*/ 0 w 62"/>
                  <a:gd name="T1" fmla="*/ 26 h 26"/>
                  <a:gd name="T2" fmla="*/ 62 w 62"/>
                  <a:gd name="T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26">
                    <a:moveTo>
                      <a:pt x="0" y="26"/>
                    </a:moveTo>
                    <a:cubicBezTo>
                      <a:pt x="22" y="20"/>
                      <a:pt x="41" y="8"/>
                      <a:pt x="6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1" name="Freeform 134">
                <a:extLst>
                  <a:ext uri="{FF2B5EF4-FFF2-40B4-BE49-F238E27FC236}">
                    <a16:creationId xmlns:a16="http://schemas.microsoft.com/office/drawing/2014/main" xmlns="" id="{DD1C4879-C250-4E76-A8F4-5FBB6ED0A6D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606711" y="2596354"/>
                <a:ext cx="256170" cy="158157"/>
              </a:xfrm>
              <a:custGeom>
                <a:avLst/>
                <a:gdLst>
                  <a:gd name="T0" fmla="*/ 0 w 169"/>
                  <a:gd name="T1" fmla="*/ 105 h 105"/>
                  <a:gd name="T2" fmla="*/ 55 w 169"/>
                  <a:gd name="T3" fmla="*/ 60 h 105"/>
                  <a:gd name="T4" fmla="*/ 169 w 169"/>
                  <a:gd name="T5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9" h="105">
                    <a:moveTo>
                      <a:pt x="0" y="105"/>
                    </a:moveTo>
                    <a:cubicBezTo>
                      <a:pt x="12" y="85"/>
                      <a:pt x="34" y="67"/>
                      <a:pt x="55" y="60"/>
                    </a:cubicBezTo>
                    <a:cubicBezTo>
                      <a:pt x="102" y="45"/>
                      <a:pt x="111" y="2"/>
                      <a:pt x="16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2" name="Freeform 135">
                <a:extLst>
                  <a:ext uri="{FF2B5EF4-FFF2-40B4-BE49-F238E27FC236}">
                    <a16:creationId xmlns:a16="http://schemas.microsoft.com/office/drawing/2014/main" xmlns="" id="{4B41FFF8-FE45-4BFF-89A2-364D2CC79DB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801710" y="2534823"/>
                <a:ext cx="44551" cy="46779"/>
              </a:xfrm>
              <a:custGeom>
                <a:avLst/>
                <a:gdLst>
                  <a:gd name="T0" fmla="*/ 29 w 29"/>
                  <a:gd name="T1" fmla="*/ 31 h 31"/>
                  <a:gd name="T2" fmla="*/ 0 w 29"/>
                  <a:gd name="T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" h="31">
                    <a:moveTo>
                      <a:pt x="29" y="31"/>
                    </a:moveTo>
                    <a:cubicBezTo>
                      <a:pt x="19" y="21"/>
                      <a:pt x="7" y="14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3" name="Freeform 136">
                <a:extLst>
                  <a:ext uri="{FF2B5EF4-FFF2-40B4-BE49-F238E27FC236}">
                    <a16:creationId xmlns:a16="http://schemas.microsoft.com/office/drawing/2014/main" xmlns="" id="{8182DE07-507D-4B1D-AEF1-8BDA337F2D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05754" y="2540998"/>
                <a:ext cx="93558" cy="13365"/>
              </a:xfrm>
              <a:custGeom>
                <a:avLst/>
                <a:gdLst>
                  <a:gd name="T0" fmla="*/ 62 w 62"/>
                  <a:gd name="T1" fmla="*/ 3 h 9"/>
                  <a:gd name="T2" fmla="*/ 0 w 62"/>
                  <a:gd name="T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2" h="9">
                    <a:moveTo>
                      <a:pt x="62" y="3"/>
                    </a:moveTo>
                    <a:cubicBezTo>
                      <a:pt x="41" y="8"/>
                      <a:pt x="20" y="0"/>
                      <a:pt x="0" y="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4" name="Freeform 137">
                <a:extLst>
                  <a:ext uri="{FF2B5EF4-FFF2-40B4-BE49-F238E27FC236}">
                    <a16:creationId xmlns:a16="http://schemas.microsoft.com/office/drawing/2014/main" xmlns="" id="{91BEC044-3FA6-41F1-83C5-20312CA6CA3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796242" y="2509330"/>
                <a:ext cx="18934" cy="27845"/>
              </a:xfrm>
              <a:custGeom>
                <a:avLst/>
                <a:gdLst>
                  <a:gd name="T0" fmla="*/ 0 w 12"/>
                  <a:gd name="T1" fmla="*/ 18 h 18"/>
                  <a:gd name="T2" fmla="*/ 10 w 12"/>
                  <a:gd name="T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" h="18">
                    <a:moveTo>
                      <a:pt x="0" y="18"/>
                    </a:moveTo>
                    <a:cubicBezTo>
                      <a:pt x="2" y="11"/>
                      <a:pt x="12" y="8"/>
                      <a:pt x="1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5" name="Freeform 138">
                <a:extLst>
                  <a:ext uri="{FF2B5EF4-FFF2-40B4-BE49-F238E27FC236}">
                    <a16:creationId xmlns:a16="http://schemas.microsoft.com/office/drawing/2014/main" xmlns="" id="{C0FA9EDB-9DB5-4699-9706-2A781F2E9EA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842290" y="2470086"/>
                <a:ext cx="285128" cy="99127"/>
              </a:xfrm>
              <a:custGeom>
                <a:avLst/>
                <a:gdLst>
                  <a:gd name="T0" fmla="*/ 0 w 189"/>
                  <a:gd name="T1" fmla="*/ 57 h 65"/>
                  <a:gd name="T2" fmla="*/ 78 w 189"/>
                  <a:gd name="T3" fmla="*/ 37 h 65"/>
                  <a:gd name="T4" fmla="*/ 189 w 189"/>
                  <a:gd name="T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9" h="65">
                    <a:moveTo>
                      <a:pt x="0" y="57"/>
                    </a:moveTo>
                    <a:cubicBezTo>
                      <a:pt x="17" y="65"/>
                      <a:pt x="57" y="44"/>
                      <a:pt x="78" y="37"/>
                    </a:cubicBezTo>
                    <a:cubicBezTo>
                      <a:pt x="126" y="20"/>
                      <a:pt x="166" y="32"/>
                      <a:pt x="18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6" name="Freeform 139">
                <a:extLst>
                  <a:ext uri="{FF2B5EF4-FFF2-40B4-BE49-F238E27FC236}">
                    <a16:creationId xmlns:a16="http://schemas.microsoft.com/office/drawing/2014/main" xmlns="" id="{02E985B1-77CE-44F0-B202-78E1041D9A7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108136" y="2314324"/>
                <a:ext cx="114720" cy="126971"/>
              </a:xfrm>
              <a:custGeom>
                <a:avLst/>
                <a:gdLst>
                  <a:gd name="T0" fmla="*/ 0 w 76"/>
                  <a:gd name="T1" fmla="*/ 84 h 84"/>
                  <a:gd name="T2" fmla="*/ 76 w 76"/>
                  <a:gd name="T3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6" h="84">
                    <a:moveTo>
                      <a:pt x="0" y="84"/>
                    </a:moveTo>
                    <a:cubicBezTo>
                      <a:pt x="15" y="48"/>
                      <a:pt x="30" y="4"/>
                      <a:pt x="76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7" name="Freeform 140">
                <a:extLst>
                  <a:ext uri="{FF2B5EF4-FFF2-40B4-BE49-F238E27FC236}">
                    <a16:creationId xmlns:a16="http://schemas.microsoft.com/office/drawing/2014/main" xmlns="" id="{270EC171-3A86-4F0F-ADB7-1B017C40C4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114885" y="2391291"/>
                <a:ext cx="135881" cy="60144"/>
              </a:xfrm>
              <a:custGeom>
                <a:avLst/>
                <a:gdLst>
                  <a:gd name="T0" fmla="*/ 0 w 90"/>
                  <a:gd name="T1" fmla="*/ 32 h 40"/>
                  <a:gd name="T2" fmla="*/ 90 w 90"/>
                  <a:gd name="T3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0" h="40">
                    <a:moveTo>
                      <a:pt x="0" y="32"/>
                    </a:moveTo>
                    <a:cubicBezTo>
                      <a:pt x="35" y="40"/>
                      <a:pt x="57" y="0"/>
                      <a:pt x="90" y="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8" name="Freeform 141">
                <a:extLst>
                  <a:ext uri="{FF2B5EF4-FFF2-40B4-BE49-F238E27FC236}">
                    <a16:creationId xmlns:a16="http://schemas.microsoft.com/office/drawing/2014/main" xmlns="" id="{77B48FE3-2AAE-42A0-9CA9-C30EBB986E0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223337" y="2079957"/>
                <a:ext cx="532388" cy="271763"/>
              </a:xfrm>
              <a:custGeom>
                <a:avLst/>
                <a:gdLst>
                  <a:gd name="T0" fmla="*/ 0 w 352"/>
                  <a:gd name="T1" fmla="*/ 180 h 180"/>
                  <a:gd name="T2" fmla="*/ 175 w 352"/>
                  <a:gd name="T3" fmla="*/ 123 h 180"/>
                  <a:gd name="T4" fmla="*/ 197 w 352"/>
                  <a:gd name="T5" fmla="*/ 113 h 180"/>
                  <a:gd name="T6" fmla="*/ 259 w 352"/>
                  <a:gd name="T7" fmla="*/ 55 h 180"/>
                  <a:gd name="T8" fmla="*/ 298 w 352"/>
                  <a:gd name="T9" fmla="*/ 46 h 180"/>
                  <a:gd name="T10" fmla="*/ 352 w 352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2" h="180">
                    <a:moveTo>
                      <a:pt x="0" y="180"/>
                    </a:moveTo>
                    <a:cubicBezTo>
                      <a:pt x="45" y="170"/>
                      <a:pt x="120" y="147"/>
                      <a:pt x="175" y="123"/>
                    </a:cubicBezTo>
                    <a:cubicBezTo>
                      <a:pt x="182" y="120"/>
                      <a:pt x="190" y="117"/>
                      <a:pt x="197" y="113"/>
                    </a:cubicBezTo>
                    <a:cubicBezTo>
                      <a:pt x="214" y="102"/>
                      <a:pt x="234" y="68"/>
                      <a:pt x="259" y="55"/>
                    </a:cubicBezTo>
                    <a:cubicBezTo>
                      <a:pt x="272" y="47"/>
                      <a:pt x="290" y="49"/>
                      <a:pt x="298" y="46"/>
                    </a:cubicBezTo>
                    <a:cubicBezTo>
                      <a:pt x="325" y="36"/>
                      <a:pt x="339" y="21"/>
                      <a:pt x="35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59" name="Freeform 142">
                <a:extLst>
                  <a:ext uri="{FF2B5EF4-FFF2-40B4-BE49-F238E27FC236}">
                    <a16:creationId xmlns:a16="http://schemas.microsoft.com/office/drawing/2014/main" xmlns="" id="{DE083758-5F53-426E-9219-837E5AC1923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723382" y="1953633"/>
                <a:ext cx="8910" cy="87989"/>
              </a:xfrm>
              <a:custGeom>
                <a:avLst/>
                <a:gdLst>
                  <a:gd name="T0" fmla="*/ 2 w 6"/>
                  <a:gd name="T1" fmla="*/ 58 h 58"/>
                  <a:gd name="T2" fmla="*/ 0 w 6"/>
                  <a:gd name="T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" h="58">
                    <a:moveTo>
                      <a:pt x="2" y="58"/>
                    </a:moveTo>
                    <a:cubicBezTo>
                      <a:pt x="6" y="39"/>
                      <a:pt x="4" y="1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0" name="Freeform 143">
                <a:extLst>
                  <a:ext uri="{FF2B5EF4-FFF2-40B4-BE49-F238E27FC236}">
                    <a16:creationId xmlns:a16="http://schemas.microsoft.com/office/drawing/2014/main" xmlns="" id="{D654407B-3AAC-4ED6-99F1-EF9F6C65096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275749" y="2412842"/>
                <a:ext cx="202708" cy="118061"/>
              </a:xfrm>
              <a:custGeom>
                <a:avLst/>
                <a:gdLst>
                  <a:gd name="T0" fmla="*/ 0 w 134"/>
                  <a:gd name="T1" fmla="*/ 0 h 78"/>
                  <a:gd name="T2" fmla="*/ 134 w 134"/>
                  <a:gd name="T3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4" h="78">
                    <a:moveTo>
                      <a:pt x="0" y="0"/>
                    </a:moveTo>
                    <a:cubicBezTo>
                      <a:pt x="32" y="40"/>
                      <a:pt x="80" y="74"/>
                      <a:pt x="134" y="7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1" name="Freeform 144">
                <a:extLst>
                  <a:ext uri="{FF2B5EF4-FFF2-40B4-BE49-F238E27FC236}">
                    <a16:creationId xmlns:a16="http://schemas.microsoft.com/office/drawing/2014/main" xmlns="" id="{46A70A52-9A4E-4397-9124-41E8E431A1E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204479" y="2424658"/>
                <a:ext cx="63486" cy="12252"/>
              </a:xfrm>
              <a:custGeom>
                <a:avLst/>
                <a:gdLst>
                  <a:gd name="T0" fmla="*/ 0 w 42"/>
                  <a:gd name="T1" fmla="*/ 0 h 8"/>
                  <a:gd name="T2" fmla="*/ 42 w 42"/>
                  <a:gd name="T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2" h="8">
                    <a:moveTo>
                      <a:pt x="0" y="0"/>
                    </a:moveTo>
                    <a:cubicBezTo>
                      <a:pt x="14" y="1"/>
                      <a:pt x="27" y="8"/>
                      <a:pt x="42" y="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2" name="Freeform 145">
                <a:extLst>
                  <a:ext uri="{FF2B5EF4-FFF2-40B4-BE49-F238E27FC236}">
                    <a16:creationId xmlns:a16="http://schemas.microsoft.com/office/drawing/2014/main" xmlns="" id="{588F6ECA-F78B-4AC4-BBBA-D5130F8BE84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1265217" y="2391684"/>
                <a:ext cx="51234" cy="33413"/>
              </a:xfrm>
              <a:custGeom>
                <a:avLst/>
                <a:gdLst>
                  <a:gd name="T0" fmla="*/ 0 w 34"/>
                  <a:gd name="T1" fmla="*/ 22 h 22"/>
                  <a:gd name="T2" fmla="*/ 34 w 34"/>
                  <a:gd name="T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4" h="22">
                    <a:moveTo>
                      <a:pt x="0" y="22"/>
                    </a:moveTo>
                    <a:cubicBezTo>
                      <a:pt x="10" y="13"/>
                      <a:pt x="24" y="10"/>
                      <a:pt x="3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3" name="Freeform 146">
                <a:extLst>
                  <a:ext uri="{FF2B5EF4-FFF2-40B4-BE49-F238E27FC236}">
                    <a16:creationId xmlns:a16="http://schemas.microsoft.com/office/drawing/2014/main" xmlns="" id="{4E4A2F3E-4492-44B5-A276-3EA4385534A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3099199" y="2220103"/>
                <a:ext cx="14479" cy="22276"/>
              </a:xfrm>
              <a:custGeom>
                <a:avLst/>
                <a:gdLst>
                  <a:gd name="T0" fmla="*/ 0 w 9"/>
                  <a:gd name="T1" fmla="*/ 15 h 15"/>
                  <a:gd name="T2" fmla="*/ 9 w 9"/>
                  <a:gd name="T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15">
                    <a:moveTo>
                      <a:pt x="0" y="15"/>
                    </a:moveTo>
                    <a:cubicBezTo>
                      <a:pt x="6" y="13"/>
                      <a:pt x="7" y="5"/>
                      <a:pt x="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4" name="Freeform 147">
                <a:extLst>
                  <a:ext uri="{FF2B5EF4-FFF2-40B4-BE49-F238E27FC236}">
                    <a16:creationId xmlns:a16="http://schemas.microsoft.com/office/drawing/2014/main" xmlns="" id="{B5067D91-F3C4-4F07-AF62-3B9FC199E7D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419470" y="2383954"/>
                <a:ext cx="258398" cy="41210"/>
              </a:xfrm>
              <a:custGeom>
                <a:avLst/>
                <a:gdLst>
                  <a:gd name="T0" fmla="*/ 0 w 171"/>
                  <a:gd name="T1" fmla="*/ 0 h 27"/>
                  <a:gd name="T2" fmla="*/ 171 w 171"/>
                  <a:gd name="T3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71" h="27">
                    <a:moveTo>
                      <a:pt x="0" y="0"/>
                    </a:moveTo>
                    <a:cubicBezTo>
                      <a:pt x="51" y="27"/>
                      <a:pt x="116" y="12"/>
                      <a:pt x="171" y="17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5" name="Freeform 148">
                <a:extLst>
                  <a:ext uri="{FF2B5EF4-FFF2-40B4-BE49-F238E27FC236}">
                    <a16:creationId xmlns:a16="http://schemas.microsoft.com/office/drawing/2014/main" xmlns="" id="{DC9E192E-4E2E-45F7-ADD8-4A05A57F3DB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52321" y="2355200"/>
                <a:ext cx="22276" cy="37869"/>
              </a:xfrm>
              <a:custGeom>
                <a:avLst/>
                <a:gdLst>
                  <a:gd name="T0" fmla="*/ 15 w 15"/>
                  <a:gd name="T1" fmla="*/ 25 h 25"/>
                  <a:gd name="T2" fmla="*/ 0 w 15"/>
                  <a:gd name="T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" h="25">
                    <a:moveTo>
                      <a:pt x="15" y="25"/>
                    </a:moveTo>
                    <a:cubicBezTo>
                      <a:pt x="12" y="16"/>
                      <a:pt x="4" y="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6" name="Freeform 149">
                <a:extLst>
                  <a:ext uri="{FF2B5EF4-FFF2-40B4-BE49-F238E27FC236}">
                    <a16:creationId xmlns:a16="http://schemas.microsoft.com/office/drawing/2014/main" xmlns="" id="{A93311E2-594A-46C1-A26D-191DD6E640D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73468" y="2275682"/>
                <a:ext cx="441058" cy="147019"/>
              </a:xfrm>
              <a:custGeom>
                <a:avLst/>
                <a:gdLst>
                  <a:gd name="T0" fmla="*/ 0 w 292"/>
                  <a:gd name="T1" fmla="*/ 54 h 97"/>
                  <a:gd name="T2" fmla="*/ 127 w 292"/>
                  <a:gd name="T3" fmla="*/ 87 h 97"/>
                  <a:gd name="T4" fmla="*/ 209 w 292"/>
                  <a:gd name="T5" fmla="*/ 89 h 97"/>
                  <a:gd name="T6" fmla="*/ 292 w 292"/>
                  <a:gd name="T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2" h="97">
                    <a:moveTo>
                      <a:pt x="0" y="54"/>
                    </a:moveTo>
                    <a:cubicBezTo>
                      <a:pt x="22" y="77"/>
                      <a:pt x="70" y="82"/>
                      <a:pt x="127" y="87"/>
                    </a:cubicBezTo>
                    <a:cubicBezTo>
                      <a:pt x="162" y="89"/>
                      <a:pt x="182" y="97"/>
                      <a:pt x="209" y="89"/>
                    </a:cubicBezTo>
                    <a:cubicBezTo>
                      <a:pt x="246" y="78"/>
                      <a:pt x="280" y="35"/>
                      <a:pt x="292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7" name="Freeform 150">
                <a:extLst>
                  <a:ext uri="{FF2B5EF4-FFF2-40B4-BE49-F238E27FC236}">
                    <a16:creationId xmlns:a16="http://schemas.microsoft.com/office/drawing/2014/main" xmlns="" id="{1DA8CC3D-7CF0-43A1-BB3F-B18F10AF9FF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3079672" y="2168101"/>
                <a:ext cx="15593" cy="76851"/>
              </a:xfrm>
              <a:custGeom>
                <a:avLst/>
                <a:gdLst>
                  <a:gd name="T0" fmla="*/ 11 w 11"/>
                  <a:gd name="T1" fmla="*/ 51 h 51"/>
                  <a:gd name="T2" fmla="*/ 0 w 11"/>
                  <a:gd name="T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" h="51">
                    <a:moveTo>
                      <a:pt x="11" y="51"/>
                    </a:moveTo>
                    <a:cubicBezTo>
                      <a:pt x="6" y="34"/>
                      <a:pt x="10" y="16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8" name="Freeform 151">
                <a:extLst>
                  <a:ext uri="{FF2B5EF4-FFF2-40B4-BE49-F238E27FC236}">
                    <a16:creationId xmlns:a16="http://schemas.microsoft.com/office/drawing/2014/main" xmlns="" id="{0A37BD4D-0FD8-4BE1-8B85-D3E7D3883FE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628910" y="2919400"/>
                <a:ext cx="308518" cy="31186"/>
              </a:xfrm>
              <a:custGeom>
                <a:avLst/>
                <a:gdLst>
                  <a:gd name="T0" fmla="*/ 0 w 204"/>
                  <a:gd name="T1" fmla="*/ 15 h 21"/>
                  <a:gd name="T2" fmla="*/ 204 w 204"/>
                  <a:gd name="T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04" h="21">
                    <a:moveTo>
                      <a:pt x="0" y="15"/>
                    </a:moveTo>
                    <a:cubicBezTo>
                      <a:pt x="59" y="16"/>
                      <a:pt x="148" y="21"/>
                      <a:pt x="20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69" name="Freeform 152">
                <a:extLst>
                  <a:ext uri="{FF2B5EF4-FFF2-40B4-BE49-F238E27FC236}">
                    <a16:creationId xmlns:a16="http://schemas.microsoft.com/office/drawing/2014/main" xmlns="" id="{D511235C-AA0A-4BBF-B0C1-3CE651B3D39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9015" y="2974256"/>
                <a:ext cx="102468" cy="17821"/>
              </a:xfrm>
              <a:custGeom>
                <a:avLst/>
                <a:gdLst>
                  <a:gd name="T0" fmla="*/ 0 w 68"/>
                  <a:gd name="T1" fmla="*/ 0 h 12"/>
                  <a:gd name="T2" fmla="*/ 68 w 68"/>
                  <a:gd name="T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8" h="12">
                    <a:moveTo>
                      <a:pt x="0" y="0"/>
                    </a:moveTo>
                    <a:cubicBezTo>
                      <a:pt x="22" y="7"/>
                      <a:pt x="45" y="10"/>
                      <a:pt x="68" y="1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70" name="Freeform 153">
                <a:extLst>
                  <a:ext uri="{FF2B5EF4-FFF2-40B4-BE49-F238E27FC236}">
                    <a16:creationId xmlns:a16="http://schemas.microsoft.com/office/drawing/2014/main" xmlns="" id="{5197E42E-BD35-48B0-B021-594BB440273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080841">
                <a:off x="2510240" y="3001277"/>
                <a:ext cx="90216" cy="12252"/>
              </a:xfrm>
              <a:custGeom>
                <a:avLst/>
                <a:gdLst>
                  <a:gd name="T0" fmla="*/ 0 w 60"/>
                  <a:gd name="T1" fmla="*/ 0 h 8"/>
                  <a:gd name="T2" fmla="*/ 60 w 60"/>
                  <a:gd name="T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0" h="8">
                    <a:moveTo>
                      <a:pt x="0" y="0"/>
                    </a:moveTo>
                    <a:cubicBezTo>
                      <a:pt x="20" y="4"/>
                      <a:pt x="40" y="6"/>
                      <a:pt x="60" y="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71" name="Line 154">
                <a:extLst>
                  <a:ext uri="{FF2B5EF4-FFF2-40B4-BE49-F238E27FC236}">
                    <a16:creationId xmlns:a16="http://schemas.microsoft.com/office/drawing/2014/main" xmlns="" id="{C3E15BEB-2297-4FA7-AA70-1B39807509F5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3013156" y="2599191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72" name="Line 155">
                <a:extLst>
                  <a:ext uri="{FF2B5EF4-FFF2-40B4-BE49-F238E27FC236}">
                    <a16:creationId xmlns:a16="http://schemas.microsoft.com/office/drawing/2014/main" xmlns="" id="{62C772E8-852C-46B2-9AE0-42016D79096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2799231" y="3029436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73" name="Line 156">
                <a:extLst>
                  <a:ext uri="{FF2B5EF4-FFF2-40B4-BE49-F238E27FC236}">
                    <a16:creationId xmlns:a16="http://schemas.microsoft.com/office/drawing/2014/main" xmlns="" id="{EC0BE32C-227D-4F65-B85E-39ECBCEA41C8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21080841">
                <a:off x="3013156" y="2599191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sp>
          <p:nvSpPr>
            <p:cNvPr id="974" name="Rectangle: Rounded Corners 973">
              <a:extLst>
                <a:ext uri="{FF2B5EF4-FFF2-40B4-BE49-F238E27FC236}">
                  <a16:creationId xmlns:a16="http://schemas.microsoft.com/office/drawing/2014/main" xmlns="" id="{B3A9467D-D4E3-43B7-9E36-BDFB924E84FA}"/>
                </a:ext>
              </a:extLst>
            </p:cNvPr>
            <p:cNvSpPr/>
            <p:nvPr/>
          </p:nvSpPr>
          <p:spPr>
            <a:xfrm>
              <a:off x="478243" y="1858577"/>
              <a:ext cx="1544683" cy="295439"/>
            </a:xfrm>
            <a:prstGeom prst="roundRect">
              <a:avLst/>
            </a:prstGeom>
            <a:solidFill>
              <a:srgbClr val="E64A0E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1219170">
                <a:defRPr/>
              </a:pP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refrontal cortex</a:t>
              </a:r>
              <a:endParaRPr lang="en-US" sz="13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975" name="Rectangle: Rounded Corners 974">
              <a:extLst>
                <a:ext uri="{FF2B5EF4-FFF2-40B4-BE49-F238E27FC236}">
                  <a16:creationId xmlns:a16="http://schemas.microsoft.com/office/drawing/2014/main" xmlns="" id="{ECD12EB2-2FF7-41F1-8636-C579ED14C898}"/>
                </a:ext>
              </a:extLst>
            </p:cNvPr>
            <p:cNvSpPr/>
            <p:nvPr/>
          </p:nvSpPr>
          <p:spPr>
            <a:xfrm>
              <a:off x="2330023" y="1858577"/>
              <a:ext cx="1544683" cy="295439"/>
            </a:xfrm>
            <a:prstGeom prst="roundRect">
              <a:avLst/>
            </a:prstGeom>
            <a:solidFill>
              <a:srgbClr val="001965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1219170">
                <a:defRPr/>
              </a:pP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Hypothalamus</a:t>
              </a:r>
              <a:endParaRPr lang="en-US" sz="13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976" name="Straight Arrow Connector 975">
              <a:extLst>
                <a:ext uri="{FF2B5EF4-FFF2-40B4-BE49-F238E27FC236}">
                  <a16:creationId xmlns:a16="http://schemas.microsoft.com/office/drawing/2014/main" xmlns="" id="{C1E03B72-61E7-41FC-BB90-B591F2733072}"/>
                </a:ext>
              </a:extLst>
            </p:cNvPr>
            <p:cNvCxnSpPr>
              <a:stCxn id="974" idx="3"/>
              <a:endCxn id="975" idx="1"/>
            </p:cNvCxnSpPr>
            <p:nvPr/>
          </p:nvCxnSpPr>
          <p:spPr>
            <a:xfrm>
              <a:off x="2022926" y="2006296"/>
              <a:ext cx="307097" cy="0"/>
            </a:xfrm>
            <a:prstGeom prst="straightConnector1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977" name="Rectangle: Rounded Corners 976">
              <a:extLst>
                <a:ext uri="{FF2B5EF4-FFF2-40B4-BE49-F238E27FC236}">
                  <a16:creationId xmlns:a16="http://schemas.microsoft.com/office/drawing/2014/main" xmlns="" id="{96CD99D1-423E-47BA-8547-6BEE225DDB93}"/>
                </a:ext>
              </a:extLst>
            </p:cNvPr>
            <p:cNvSpPr/>
            <p:nvPr/>
          </p:nvSpPr>
          <p:spPr>
            <a:xfrm>
              <a:off x="469900" y="3165041"/>
              <a:ext cx="1544683" cy="295439"/>
            </a:xfrm>
            <a:prstGeom prst="roundRect">
              <a:avLst/>
            </a:prstGeom>
            <a:solidFill>
              <a:srgbClr val="009FDA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1219170">
                <a:defRPr/>
              </a:pP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Reward system</a:t>
              </a:r>
              <a:endParaRPr lang="en-US" sz="13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978" name="Group 977">
              <a:extLst>
                <a:ext uri="{FF2B5EF4-FFF2-40B4-BE49-F238E27FC236}">
                  <a16:creationId xmlns:a16="http://schemas.microsoft.com/office/drawing/2014/main" xmlns="" id="{F4515830-9EAB-46F9-A155-99E7583FCFAF}"/>
                </a:ext>
              </a:extLst>
            </p:cNvPr>
            <p:cNvGrpSpPr/>
            <p:nvPr/>
          </p:nvGrpSpPr>
          <p:grpSpPr>
            <a:xfrm>
              <a:off x="1272877" y="2355111"/>
              <a:ext cx="808103" cy="770737"/>
              <a:chOff x="923412" y="2133730"/>
              <a:chExt cx="606077" cy="578052"/>
            </a:xfrm>
          </p:grpSpPr>
          <p:sp>
            <p:nvSpPr>
              <p:cNvPr id="979" name="Oval 978">
                <a:extLst>
                  <a:ext uri="{FF2B5EF4-FFF2-40B4-BE49-F238E27FC236}">
                    <a16:creationId xmlns:a16="http://schemas.microsoft.com/office/drawing/2014/main" xmlns="" id="{F609A749-E549-47C5-B8B2-CD8440DA1140}"/>
                  </a:ext>
                </a:extLst>
              </p:cNvPr>
              <p:cNvSpPr/>
              <p:nvPr/>
            </p:nvSpPr>
            <p:spPr>
              <a:xfrm>
                <a:off x="923412" y="2133730"/>
                <a:ext cx="593566" cy="578052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009FD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80" name="TextBox 979">
                <a:extLst>
                  <a:ext uri="{FF2B5EF4-FFF2-40B4-BE49-F238E27FC236}">
                    <a16:creationId xmlns:a16="http://schemas.microsoft.com/office/drawing/2014/main" xmlns="" id="{7EB45E47-FE7C-49B2-90CD-6E2A65218226}"/>
                  </a:ext>
                </a:extLst>
              </p:cNvPr>
              <p:cNvSpPr txBox="1"/>
              <p:nvPr/>
            </p:nvSpPr>
            <p:spPr>
              <a:xfrm>
                <a:off x="967521" y="2148549"/>
                <a:ext cx="494896" cy="176923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 err="1">
                    <a:solidFill>
                      <a:srgbClr val="009FDA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NAcc</a:t>
                </a:r>
                <a:endParaRPr lang="en-US" sz="933" kern="0" dirty="0">
                  <a:solidFill>
                    <a:srgbClr val="009FDA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81" name="TextBox 980">
                <a:extLst>
                  <a:ext uri="{FF2B5EF4-FFF2-40B4-BE49-F238E27FC236}">
                    <a16:creationId xmlns:a16="http://schemas.microsoft.com/office/drawing/2014/main" xmlns="" id="{2AF8E3E6-33CC-4F8F-93B3-BB829E05DE5E}"/>
                  </a:ext>
                </a:extLst>
              </p:cNvPr>
              <p:cNvSpPr txBox="1"/>
              <p:nvPr/>
            </p:nvSpPr>
            <p:spPr>
              <a:xfrm>
                <a:off x="967132" y="2334320"/>
                <a:ext cx="562357" cy="176923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9FDA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Amygdala</a:t>
                </a:r>
                <a:endParaRPr lang="en-US" sz="933" kern="0" dirty="0">
                  <a:solidFill>
                    <a:srgbClr val="009FDA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82" name="TextBox 981">
                <a:extLst>
                  <a:ext uri="{FF2B5EF4-FFF2-40B4-BE49-F238E27FC236}">
                    <a16:creationId xmlns:a16="http://schemas.microsoft.com/office/drawing/2014/main" xmlns="" id="{D68782AD-3538-4B22-97AF-CCD2CBAA59B7}"/>
                  </a:ext>
                </a:extLst>
              </p:cNvPr>
              <p:cNvSpPr txBox="1"/>
              <p:nvPr/>
            </p:nvSpPr>
            <p:spPr>
              <a:xfrm>
                <a:off x="933791" y="2524854"/>
                <a:ext cx="562357" cy="176923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9FDA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VTA</a:t>
                </a:r>
                <a:endParaRPr lang="en-US" sz="933" kern="0" dirty="0">
                  <a:solidFill>
                    <a:srgbClr val="009FDA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cxnSp>
            <p:nvCxnSpPr>
              <p:cNvPr id="983" name="Straight Connector 982">
                <a:extLst>
                  <a:ext uri="{FF2B5EF4-FFF2-40B4-BE49-F238E27FC236}">
                    <a16:creationId xmlns:a16="http://schemas.microsoft.com/office/drawing/2014/main" xmlns="" id="{CE097848-C556-47C4-A7F6-33E49AA284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2558" y="2339453"/>
                <a:ext cx="568571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009FDA"/>
                </a:solidFill>
                <a:prstDash val="solid"/>
              </a:ln>
              <a:effectLst/>
            </p:spPr>
          </p:cxnSp>
          <p:cxnSp>
            <p:nvCxnSpPr>
              <p:cNvPr id="984" name="Straight Connector 983">
                <a:extLst>
                  <a:ext uri="{FF2B5EF4-FFF2-40B4-BE49-F238E27FC236}">
                    <a16:creationId xmlns:a16="http://schemas.microsoft.com/office/drawing/2014/main" xmlns="" id="{2DE187EE-6109-4A93-A686-D0292BFF82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5415" y="2517992"/>
                <a:ext cx="568571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009FDA"/>
                </a:solidFill>
                <a:prstDash val="solid"/>
              </a:ln>
              <a:effectLst/>
            </p:spPr>
          </p:cxnSp>
        </p:grpSp>
        <p:cxnSp>
          <p:nvCxnSpPr>
            <p:cNvPr id="985" name="Connector: Curved 984">
              <a:extLst>
                <a:ext uri="{FF2B5EF4-FFF2-40B4-BE49-F238E27FC236}">
                  <a16:creationId xmlns:a16="http://schemas.microsoft.com/office/drawing/2014/main" xmlns="" id="{B1C4221A-38D1-4D09-80D3-AB63FE8E450F}"/>
                </a:ext>
              </a:extLst>
            </p:cNvPr>
            <p:cNvCxnSpPr>
              <a:stCxn id="979" idx="0"/>
              <a:endCxn id="974" idx="2"/>
            </p:cNvCxnSpPr>
            <p:nvPr/>
          </p:nvCxnSpPr>
          <p:spPr>
            <a:xfrm rot="16200000" flipV="1">
              <a:off x="1359039" y="2045560"/>
              <a:ext cx="201093" cy="418003"/>
            </a:xfrm>
            <a:prstGeom prst="curvedConnector3">
              <a:avLst/>
            </a:prstGeom>
            <a:noFill/>
            <a:ln w="15875" cap="flat" cmpd="sng" algn="ctr">
              <a:solidFill>
                <a:srgbClr val="009FDA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986" name="Straight Connector 985">
              <a:extLst>
                <a:ext uri="{FF2B5EF4-FFF2-40B4-BE49-F238E27FC236}">
                  <a16:creationId xmlns:a16="http://schemas.microsoft.com/office/drawing/2014/main" xmlns="" id="{2B98B87E-A337-4CB6-A0CA-11C112816C8D}"/>
                </a:ext>
              </a:extLst>
            </p:cNvPr>
            <p:cNvCxnSpPr/>
            <p:nvPr/>
          </p:nvCxnSpPr>
          <p:spPr>
            <a:xfrm>
              <a:off x="1364756" y="2626186"/>
              <a:ext cx="0" cy="226501"/>
            </a:xfrm>
            <a:prstGeom prst="line">
              <a:avLst/>
            </a:prstGeom>
            <a:noFill/>
            <a:ln w="15875" cap="flat" cmpd="sng" algn="ctr">
              <a:solidFill>
                <a:srgbClr val="009FDA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987" name="Straight Connector 986">
              <a:extLst>
                <a:ext uri="{FF2B5EF4-FFF2-40B4-BE49-F238E27FC236}">
                  <a16:creationId xmlns:a16="http://schemas.microsoft.com/office/drawing/2014/main" xmlns="" id="{989C5847-BD2E-47F2-B225-753774D1D3C4}"/>
                </a:ext>
              </a:extLst>
            </p:cNvPr>
            <p:cNvCxnSpPr>
              <a:cxnSpLocks/>
            </p:cNvCxnSpPr>
            <p:nvPr/>
          </p:nvCxnSpPr>
          <p:spPr>
            <a:xfrm>
              <a:off x="1891125" y="2854638"/>
              <a:ext cx="0" cy="112895"/>
            </a:xfrm>
            <a:prstGeom prst="line">
              <a:avLst/>
            </a:prstGeom>
            <a:noFill/>
            <a:ln w="15875" cap="flat" cmpd="sng" algn="ctr">
              <a:solidFill>
                <a:srgbClr val="009FDA"/>
              </a:solidFill>
              <a:prstDash val="solid"/>
              <a:headEnd type="oval"/>
              <a:tailEnd type="oval"/>
            </a:ln>
            <a:effectLst/>
          </p:spPr>
        </p:cxnSp>
        <p:grpSp>
          <p:nvGrpSpPr>
            <p:cNvPr id="988" name="Group 987">
              <a:extLst>
                <a:ext uri="{FF2B5EF4-FFF2-40B4-BE49-F238E27FC236}">
                  <a16:creationId xmlns:a16="http://schemas.microsoft.com/office/drawing/2014/main" xmlns="" id="{F2EF59A1-A35D-4EA5-A238-6C538D431EDD}"/>
                </a:ext>
              </a:extLst>
            </p:cNvPr>
            <p:cNvGrpSpPr/>
            <p:nvPr/>
          </p:nvGrpSpPr>
          <p:grpSpPr>
            <a:xfrm>
              <a:off x="2511859" y="2192983"/>
              <a:ext cx="1158984" cy="1128692"/>
              <a:chOff x="1852649" y="2012136"/>
              <a:chExt cx="869238" cy="846519"/>
            </a:xfrm>
          </p:grpSpPr>
          <p:sp>
            <p:nvSpPr>
              <p:cNvPr id="989" name="Oval 988">
                <a:extLst>
                  <a:ext uri="{FF2B5EF4-FFF2-40B4-BE49-F238E27FC236}">
                    <a16:creationId xmlns:a16="http://schemas.microsoft.com/office/drawing/2014/main" xmlns="" id="{73A53A7F-D8B8-4FAD-BFF6-D897BD0F79BB}"/>
                  </a:ext>
                </a:extLst>
              </p:cNvPr>
              <p:cNvSpPr/>
              <p:nvPr/>
            </p:nvSpPr>
            <p:spPr>
              <a:xfrm>
                <a:off x="1852649" y="2012136"/>
                <a:ext cx="869238" cy="846519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90" name="TextBox 989">
                <a:extLst>
                  <a:ext uri="{FF2B5EF4-FFF2-40B4-BE49-F238E27FC236}">
                    <a16:creationId xmlns:a16="http://schemas.microsoft.com/office/drawing/2014/main" xmlns="" id="{AB5FE604-9197-4CB5-82D7-7A605309BD19}"/>
                  </a:ext>
                </a:extLst>
              </p:cNvPr>
              <p:cNvSpPr txBox="1"/>
              <p:nvPr/>
            </p:nvSpPr>
            <p:spPr>
              <a:xfrm>
                <a:off x="1956840" y="2148654"/>
                <a:ext cx="315258" cy="17692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LH</a:t>
                </a:r>
                <a:endParaRPr lang="en-US" sz="9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91" name="TextBox 990">
                <a:extLst>
                  <a:ext uri="{FF2B5EF4-FFF2-40B4-BE49-F238E27FC236}">
                    <a16:creationId xmlns:a16="http://schemas.microsoft.com/office/drawing/2014/main" xmlns="" id="{161ACC2E-9BCD-4832-9D6A-6F4564BBE833}"/>
                  </a:ext>
                </a:extLst>
              </p:cNvPr>
              <p:cNvSpPr txBox="1"/>
              <p:nvPr/>
            </p:nvSpPr>
            <p:spPr>
              <a:xfrm>
                <a:off x="2188321" y="2081973"/>
                <a:ext cx="494896" cy="17692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VMH</a:t>
                </a:r>
                <a:endParaRPr lang="en-US" sz="9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92" name="TextBox 991">
                <a:extLst>
                  <a:ext uri="{FF2B5EF4-FFF2-40B4-BE49-F238E27FC236}">
                    <a16:creationId xmlns:a16="http://schemas.microsoft.com/office/drawing/2014/main" xmlns="" id="{20FDCBE6-627D-4836-B805-9E7932A34380}"/>
                  </a:ext>
                </a:extLst>
              </p:cNvPr>
              <p:cNvSpPr txBox="1"/>
              <p:nvPr/>
            </p:nvSpPr>
            <p:spPr>
              <a:xfrm>
                <a:off x="2212131" y="2262749"/>
                <a:ext cx="494896" cy="17692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DMH</a:t>
                </a:r>
                <a:endParaRPr lang="en-US" sz="9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93" name="TextBox 992">
                <a:extLst>
                  <a:ext uri="{FF2B5EF4-FFF2-40B4-BE49-F238E27FC236}">
                    <a16:creationId xmlns:a16="http://schemas.microsoft.com/office/drawing/2014/main" xmlns="" id="{2BA55063-9A68-479C-9E38-723319F48856}"/>
                  </a:ext>
                </a:extLst>
              </p:cNvPr>
              <p:cNvSpPr txBox="1"/>
              <p:nvPr/>
            </p:nvSpPr>
            <p:spPr>
              <a:xfrm>
                <a:off x="2188321" y="2486956"/>
                <a:ext cx="494896" cy="17692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PVN</a:t>
                </a:r>
                <a:endParaRPr lang="en-US" sz="9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994" name="TextBox 993">
                <a:extLst>
                  <a:ext uri="{FF2B5EF4-FFF2-40B4-BE49-F238E27FC236}">
                    <a16:creationId xmlns:a16="http://schemas.microsoft.com/office/drawing/2014/main" xmlns="" id="{4809764D-50CF-4226-BBCB-01B1DDB416FC}"/>
                  </a:ext>
                </a:extLst>
              </p:cNvPr>
              <p:cNvSpPr txBox="1"/>
              <p:nvPr/>
            </p:nvSpPr>
            <p:spPr>
              <a:xfrm>
                <a:off x="1935374" y="2486956"/>
                <a:ext cx="354520" cy="176924"/>
              </a:xfrm>
              <a:prstGeom prst="rect">
                <a:avLst/>
              </a:prstGeom>
              <a:noFill/>
            </p:spPr>
            <p:txBody>
              <a:bodyPr wrap="square" lIns="0" rIns="0" rtlCol="0" anchor="ctr" anchorCtr="0">
                <a:spAutoFit/>
              </a:bodyPr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ARC</a:t>
                </a:r>
                <a:endParaRPr lang="en-US" sz="9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cxnSp>
            <p:nvCxnSpPr>
              <p:cNvPr id="995" name="Straight Connector 994">
                <a:extLst>
                  <a:ext uri="{FF2B5EF4-FFF2-40B4-BE49-F238E27FC236}">
                    <a16:creationId xmlns:a16="http://schemas.microsoft.com/office/drawing/2014/main" xmlns="" id="{25694248-D2F0-4EB7-937D-96B8874254F2}"/>
                  </a:ext>
                </a:extLst>
              </p:cNvPr>
              <p:cNvCxnSpPr>
                <a:stCxn id="989" idx="2"/>
                <a:endCxn id="989" idx="6"/>
              </p:cNvCxnSpPr>
              <p:nvPr/>
            </p:nvCxnSpPr>
            <p:spPr>
              <a:xfrm>
                <a:off x="1852649" y="2435396"/>
                <a:ext cx="869238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</p:cxnSp>
          <p:cxnSp>
            <p:nvCxnSpPr>
              <p:cNvPr id="996" name="Straight Connector 995">
                <a:extLst>
                  <a:ext uri="{FF2B5EF4-FFF2-40B4-BE49-F238E27FC236}">
                    <a16:creationId xmlns:a16="http://schemas.microsoft.com/office/drawing/2014/main" xmlns="" id="{58DF5732-BCA7-45BD-805F-10028154693D}"/>
                  </a:ext>
                </a:extLst>
              </p:cNvPr>
              <p:cNvCxnSpPr>
                <a:cxnSpLocks/>
                <a:stCxn id="989" idx="0"/>
                <a:endCxn id="989" idx="4"/>
              </p:cNvCxnSpPr>
              <p:nvPr/>
            </p:nvCxnSpPr>
            <p:spPr>
              <a:xfrm>
                <a:off x="2287268" y="2012136"/>
                <a:ext cx="0" cy="846519"/>
              </a:xfrm>
              <a:prstGeom prst="line">
                <a:avLst/>
              </a:prstGeom>
              <a:noFill/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</p:cxnSp>
          <p:cxnSp>
            <p:nvCxnSpPr>
              <p:cNvPr id="997" name="Straight Connector 996">
                <a:extLst>
                  <a:ext uri="{FF2B5EF4-FFF2-40B4-BE49-F238E27FC236}">
                    <a16:creationId xmlns:a16="http://schemas.microsoft.com/office/drawing/2014/main" xmlns="" id="{A6FD56D7-5754-4A4B-8A0C-B4FCB1048E5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86940" y="2253869"/>
                <a:ext cx="389733" cy="0"/>
              </a:xfrm>
              <a:prstGeom prst="line">
                <a:avLst/>
              </a:prstGeom>
              <a:noFill/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</p:cxnSp>
        </p:grpSp>
        <p:cxnSp>
          <p:nvCxnSpPr>
            <p:cNvPr id="998" name="Connector: Curved 997">
              <a:extLst>
                <a:ext uri="{FF2B5EF4-FFF2-40B4-BE49-F238E27FC236}">
                  <a16:creationId xmlns:a16="http://schemas.microsoft.com/office/drawing/2014/main" xmlns="" id="{4C360C96-6FBD-427A-81BB-D62ABBDE55A6}"/>
                </a:ext>
              </a:extLst>
            </p:cNvPr>
            <p:cNvCxnSpPr>
              <a:cxnSpLocks/>
              <a:stCxn id="990" idx="0"/>
            </p:cNvCxnSpPr>
            <p:nvPr/>
          </p:nvCxnSpPr>
          <p:spPr>
            <a:xfrm rot="16200000" flipH="1" flipV="1">
              <a:off x="2350680" y="1886494"/>
              <a:ext cx="21759" cy="998784"/>
            </a:xfrm>
            <a:prstGeom prst="curvedConnector4">
              <a:avLst>
                <a:gd name="adj1" fmla="val -1050600"/>
                <a:gd name="adj2" fmla="val 60521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999" name="Connector: Curved 998">
              <a:extLst>
                <a:ext uri="{FF2B5EF4-FFF2-40B4-BE49-F238E27FC236}">
                  <a16:creationId xmlns:a16="http://schemas.microsoft.com/office/drawing/2014/main" xmlns="" id="{6F74C167-5248-4014-BC92-0A1113CAC63C}"/>
                </a:ext>
              </a:extLst>
            </p:cNvPr>
            <p:cNvCxnSpPr>
              <a:cxnSpLocks/>
              <a:stCxn id="990" idx="0"/>
            </p:cNvCxnSpPr>
            <p:nvPr/>
          </p:nvCxnSpPr>
          <p:spPr>
            <a:xfrm rot="16200000" flipH="1" flipV="1">
              <a:off x="2080109" y="2187352"/>
              <a:ext cx="593188" cy="968498"/>
            </a:xfrm>
            <a:prstGeom prst="curvedConnector4">
              <a:avLst>
                <a:gd name="adj1" fmla="val -38538"/>
                <a:gd name="adj2" fmla="val 60850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0" name="Connector: Curved 999">
              <a:extLst>
                <a:ext uri="{FF2B5EF4-FFF2-40B4-BE49-F238E27FC236}">
                  <a16:creationId xmlns:a16="http://schemas.microsoft.com/office/drawing/2014/main" xmlns="" id="{BDF60965-E153-4B9A-A5FA-692720584FD7}"/>
                </a:ext>
              </a:extLst>
            </p:cNvPr>
            <p:cNvCxnSpPr>
              <a:cxnSpLocks/>
              <a:stCxn id="994" idx="1"/>
              <a:endCxn id="980" idx="3"/>
            </p:cNvCxnSpPr>
            <p:nvPr/>
          </p:nvCxnSpPr>
          <p:spPr>
            <a:xfrm rot="10800000">
              <a:off x="1991551" y="2492820"/>
              <a:ext cx="630608" cy="451207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1" name="Connector: Curved 1000">
              <a:extLst>
                <a:ext uri="{FF2B5EF4-FFF2-40B4-BE49-F238E27FC236}">
                  <a16:creationId xmlns:a16="http://schemas.microsoft.com/office/drawing/2014/main" xmlns="" id="{4C29E217-A24E-45FE-B5BA-EBFD7AD9720A}"/>
                </a:ext>
              </a:extLst>
            </p:cNvPr>
            <p:cNvCxnSpPr>
              <a:cxnSpLocks/>
              <a:stCxn id="994" idx="1"/>
              <a:endCxn id="981" idx="3"/>
            </p:cNvCxnSpPr>
            <p:nvPr/>
          </p:nvCxnSpPr>
          <p:spPr>
            <a:xfrm rot="10800000">
              <a:off x="2080981" y="2740514"/>
              <a:ext cx="541179" cy="203512"/>
            </a:xfrm>
            <a:prstGeom prst="curved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2" name="Straight Connector 1001">
              <a:extLst>
                <a:ext uri="{FF2B5EF4-FFF2-40B4-BE49-F238E27FC236}">
                  <a16:creationId xmlns:a16="http://schemas.microsoft.com/office/drawing/2014/main" xmlns="" id="{B89D1050-7DD7-4C3A-A6CF-C33588884193}"/>
                </a:ext>
              </a:extLst>
            </p:cNvPr>
            <p:cNvCxnSpPr>
              <a:cxnSpLocks/>
              <a:stCxn id="990" idx="2"/>
              <a:endCxn id="994" idx="0"/>
            </p:cNvCxnSpPr>
            <p:nvPr/>
          </p:nvCxnSpPr>
          <p:spPr>
            <a:xfrm flipH="1">
              <a:off x="2858506" y="2610906"/>
              <a:ext cx="2446" cy="215170"/>
            </a:xfrm>
            <a:prstGeom prst="line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3" name="Straight Connector 1002">
              <a:extLst>
                <a:ext uri="{FF2B5EF4-FFF2-40B4-BE49-F238E27FC236}">
                  <a16:creationId xmlns:a16="http://schemas.microsoft.com/office/drawing/2014/main" xmlns="" id="{FF279DB3-E8C7-48AA-B5DE-E65B84E1919C}"/>
                </a:ext>
              </a:extLst>
            </p:cNvPr>
            <p:cNvCxnSpPr>
              <a:cxnSpLocks/>
              <a:endCxn id="994" idx="0"/>
            </p:cNvCxnSpPr>
            <p:nvPr/>
          </p:nvCxnSpPr>
          <p:spPr>
            <a:xfrm flipH="1">
              <a:off x="2858506" y="2475170"/>
              <a:ext cx="264827" cy="350906"/>
            </a:xfrm>
            <a:prstGeom prst="line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4" name="Straight Connector 1003">
              <a:extLst>
                <a:ext uri="{FF2B5EF4-FFF2-40B4-BE49-F238E27FC236}">
                  <a16:creationId xmlns:a16="http://schemas.microsoft.com/office/drawing/2014/main" xmlns="" id="{719F5811-1EA3-45D3-83EC-104E7C28F64C}"/>
                </a:ext>
              </a:extLst>
            </p:cNvPr>
            <p:cNvCxnSpPr>
              <a:cxnSpLocks/>
              <a:endCxn id="994" idx="0"/>
            </p:cNvCxnSpPr>
            <p:nvPr/>
          </p:nvCxnSpPr>
          <p:spPr>
            <a:xfrm flipH="1">
              <a:off x="2858506" y="2726293"/>
              <a:ext cx="239163" cy="99783"/>
            </a:xfrm>
            <a:prstGeom prst="line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05" name="Straight Connector 1004">
              <a:extLst>
                <a:ext uri="{FF2B5EF4-FFF2-40B4-BE49-F238E27FC236}">
                  <a16:creationId xmlns:a16="http://schemas.microsoft.com/office/drawing/2014/main" xmlns="" id="{E7F693F4-3329-4220-BA27-94BDAC2E442B}"/>
                </a:ext>
              </a:extLst>
            </p:cNvPr>
            <p:cNvCxnSpPr>
              <a:cxnSpLocks/>
              <a:stCxn id="993" idx="0"/>
              <a:endCxn id="994" idx="0"/>
            </p:cNvCxnSpPr>
            <p:nvPr/>
          </p:nvCxnSpPr>
          <p:spPr>
            <a:xfrm flipH="1">
              <a:off x="2858506" y="2826076"/>
              <a:ext cx="430847" cy="0"/>
            </a:xfrm>
            <a:prstGeom prst="line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grpSp>
          <p:nvGrpSpPr>
            <p:cNvPr id="1006" name="Group 1005">
              <a:extLst>
                <a:ext uri="{FF2B5EF4-FFF2-40B4-BE49-F238E27FC236}">
                  <a16:creationId xmlns:a16="http://schemas.microsoft.com/office/drawing/2014/main" xmlns="" id="{6C01847B-CBDD-43F2-9026-10B4E63B04F8}"/>
                </a:ext>
              </a:extLst>
            </p:cNvPr>
            <p:cNvGrpSpPr/>
            <p:nvPr/>
          </p:nvGrpSpPr>
          <p:grpSpPr>
            <a:xfrm>
              <a:off x="3520523" y="3160913"/>
              <a:ext cx="791421" cy="770736"/>
              <a:chOff x="2381500" y="2834028"/>
              <a:chExt cx="593566" cy="578052"/>
            </a:xfrm>
          </p:grpSpPr>
          <p:sp>
            <p:nvSpPr>
              <p:cNvPr id="1007" name="Oval 1006">
                <a:extLst>
                  <a:ext uri="{FF2B5EF4-FFF2-40B4-BE49-F238E27FC236}">
                    <a16:creationId xmlns:a16="http://schemas.microsoft.com/office/drawing/2014/main" xmlns="" id="{4F1D26A3-8114-41F9-8ADD-FDB5A6F32C3D}"/>
                  </a:ext>
                </a:extLst>
              </p:cNvPr>
              <p:cNvSpPr/>
              <p:nvPr/>
            </p:nvSpPr>
            <p:spPr>
              <a:xfrm>
                <a:off x="2381500" y="2834028"/>
                <a:ext cx="593566" cy="578052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82786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08" name="Freeform: Shape 1007">
                <a:extLst>
                  <a:ext uri="{FF2B5EF4-FFF2-40B4-BE49-F238E27FC236}">
                    <a16:creationId xmlns:a16="http://schemas.microsoft.com/office/drawing/2014/main" xmlns="" id="{4667EA0F-C0B7-4313-8958-90B7EAB211C9}"/>
                  </a:ext>
                </a:extLst>
              </p:cNvPr>
              <p:cNvSpPr/>
              <p:nvPr/>
            </p:nvSpPr>
            <p:spPr>
              <a:xfrm>
                <a:off x="2381500" y="2921193"/>
                <a:ext cx="593566" cy="207645"/>
              </a:xfrm>
              <a:custGeom>
                <a:avLst/>
                <a:gdLst>
                  <a:gd name="connsiteX0" fmla="*/ 84798 w 593566"/>
                  <a:gd name="connsiteY0" fmla="*/ 0 h 207645"/>
                  <a:gd name="connsiteX1" fmla="*/ 508768 w 593566"/>
                  <a:gd name="connsiteY1" fmla="*/ 0 h 207645"/>
                  <a:gd name="connsiteX2" fmla="*/ 542880 w 593566"/>
                  <a:gd name="connsiteY2" fmla="*/ 40264 h 207645"/>
                  <a:gd name="connsiteX3" fmla="*/ 593566 w 593566"/>
                  <a:gd name="connsiteY3" fmla="*/ 201861 h 207645"/>
                  <a:gd name="connsiteX4" fmla="*/ 592967 w 593566"/>
                  <a:gd name="connsiteY4" fmla="*/ 207645 h 207645"/>
                  <a:gd name="connsiteX5" fmla="*/ 599 w 593566"/>
                  <a:gd name="connsiteY5" fmla="*/ 207645 h 207645"/>
                  <a:gd name="connsiteX6" fmla="*/ 0 w 593566"/>
                  <a:gd name="connsiteY6" fmla="*/ 201861 h 207645"/>
                  <a:gd name="connsiteX7" fmla="*/ 50686 w 593566"/>
                  <a:gd name="connsiteY7" fmla="*/ 40264 h 207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3566" h="207645">
                    <a:moveTo>
                      <a:pt x="84798" y="0"/>
                    </a:moveTo>
                    <a:lnTo>
                      <a:pt x="508768" y="0"/>
                    </a:lnTo>
                    <a:lnTo>
                      <a:pt x="542880" y="40264"/>
                    </a:lnTo>
                    <a:cubicBezTo>
                      <a:pt x="574881" y="86393"/>
                      <a:pt x="593566" y="142002"/>
                      <a:pt x="593566" y="201861"/>
                    </a:cubicBezTo>
                    <a:lnTo>
                      <a:pt x="592967" y="207645"/>
                    </a:lnTo>
                    <a:lnTo>
                      <a:pt x="599" y="207645"/>
                    </a:lnTo>
                    <a:lnTo>
                      <a:pt x="0" y="201861"/>
                    </a:lnTo>
                    <a:cubicBezTo>
                      <a:pt x="0" y="142002"/>
                      <a:pt x="18686" y="86393"/>
                      <a:pt x="50686" y="40264"/>
                    </a:cubicBezTo>
                    <a:close/>
                  </a:path>
                </a:pathLst>
              </a:custGeom>
              <a:solidFill>
                <a:srgbClr val="82786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FFFFFF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Brainstem</a:t>
                </a:r>
                <a:endParaRPr lang="en-US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09" name="Oval 1008">
                <a:extLst>
                  <a:ext uri="{FF2B5EF4-FFF2-40B4-BE49-F238E27FC236}">
                    <a16:creationId xmlns:a16="http://schemas.microsoft.com/office/drawing/2014/main" xmlns="" id="{CEBC597F-DE72-4064-B87C-3481C5DCC907}"/>
                  </a:ext>
                </a:extLst>
              </p:cNvPr>
              <p:cNvSpPr/>
              <p:nvPr/>
            </p:nvSpPr>
            <p:spPr>
              <a:xfrm>
                <a:off x="2523740" y="3085293"/>
                <a:ext cx="297392" cy="289619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82786F"/>
                </a:solidFill>
                <a:prstDash val="solid"/>
              </a:ln>
              <a:effectLst/>
            </p:spPr>
            <p:txBody>
              <a:bodyPr wrap="none" rtlCol="0" anchor="ctr"/>
              <a:lstStyle/>
              <a:p>
                <a:pPr algn="ctr" defTabSz="1219170">
                  <a:defRPr/>
                </a:pPr>
                <a:r>
                  <a:rPr lang="en-CA" sz="933" kern="0" dirty="0">
                    <a:solidFill>
                      <a:srgbClr val="82786F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>NTS</a:t>
                </a:r>
                <a:endParaRPr lang="en-US" sz="933" kern="0" dirty="0">
                  <a:solidFill>
                    <a:srgbClr val="82786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cxnSp>
          <p:nvCxnSpPr>
            <p:cNvPr id="1010" name="Straight Connector 1009">
              <a:extLst>
                <a:ext uri="{FF2B5EF4-FFF2-40B4-BE49-F238E27FC236}">
                  <a16:creationId xmlns:a16="http://schemas.microsoft.com/office/drawing/2014/main" xmlns="" id="{4A3BDCD4-F77F-4ECE-B894-A9FD00DB81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22175" y="2473636"/>
              <a:ext cx="2447" cy="184329"/>
            </a:xfrm>
            <a:prstGeom prst="line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11" name="Connector: Elbow 1010">
              <a:extLst>
                <a:ext uri="{FF2B5EF4-FFF2-40B4-BE49-F238E27FC236}">
                  <a16:creationId xmlns:a16="http://schemas.microsoft.com/office/drawing/2014/main" xmlns="" id="{E7F340F9-514F-4B83-9C25-B16D5CF4F4C9}"/>
                </a:ext>
              </a:extLst>
            </p:cNvPr>
            <p:cNvCxnSpPr>
              <a:stCxn id="989" idx="6"/>
              <a:endCxn id="1007" idx="0"/>
            </p:cNvCxnSpPr>
            <p:nvPr/>
          </p:nvCxnSpPr>
          <p:spPr>
            <a:xfrm>
              <a:off x="3670843" y="2757329"/>
              <a:ext cx="245391" cy="403584"/>
            </a:xfrm>
            <a:prstGeom prst="bentConnector2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1012" name="TextBox 1011">
              <a:extLst>
                <a:ext uri="{FF2B5EF4-FFF2-40B4-BE49-F238E27FC236}">
                  <a16:creationId xmlns:a16="http://schemas.microsoft.com/office/drawing/2014/main" xmlns="" id="{152F70F9-922A-4BEB-BACB-0A4E4D7F9992}"/>
                </a:ext>
              </a:extLst>
            </p:cNvPr>
            <p:cNvSpPr txBox="1"/>
            <p:nvPr/>
          </p:nvSpPr>
          <p:spPr>
            <a:xfrm>
              <a:off x="574529" y="3926855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7030A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Leptin</a:t>
              </a:r>
              <a:endParaRPr lang="en-US" sz="933" dirty="0">
                <a:solidFill>
                  <a:srgbClr val="7030A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3" name="TextBox 1012">
              <a:extLst>
                <a:ext uri="{FF2B5EF4-FFF2-40B4-BE49-F238E27FC236}">
                  <a16:creationId xmlns:a16="http://schemas.microsoft.com/office/drawing/2014/main" xmlns="" id="{BB0845BE-7BB4-4103-B735-EB52D11449B5}"/>
                </a:ext>
              </a:extLst>
            </p:cNvPr>
            <p:cNvSpPr txBox="1"/>
            <p:nvPr/>
          </p:nvSpPr>
          <p:spPr>
            <a:xfrm>
              <a:off x="574529" y="4092420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D47600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Ghrelin</a:t>
              </a:r>
              <a:endParaRPr lang="en-US" sz="933" dirty="0">
                <a:solidFill>
                  <a:srgbClr val="D4760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4" name="TextBox 1013">
              <a:extLst>
                <a:ext uri="{FF2B5EF4-FFF2-40B4-BE49-F238E27FC236}">
                  <a16:creationId xmlns:a16="http://schemas.microsoft.com/office/drawing/2014/main" xmlns="" id="{FD3652A4-62C5-4B9F-AAD4-315840A3EA4E}"/>
                </a:ext>
              </a:extLst>
            </p:cNvPr>
            <p:cNvSpPr txBox="1"/>
            <p:nvPr/>
          </p:nvSpPr>
          <p:spPr>
            <a:xfrm>
              <a:off x="574529" y="4257985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E64A0E">
                      <a:lumMod val="50000"/>
                    </a:srgbClr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YY</a:t>
              </a:r>
              <a:endParaRPr lang="en-US" sz="933" dirty="0">
                <a:solidFill>
                  <a:srgbClr val="E64A0E">
                    <a:lumMod val="50000"/>
                  </a:srgb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5" name="TextBox 1014">
              <a:extLst>
                <a:ext uri="{FF2B5EF4-FFF2-40B4-BE49-F238E27FC236}">
                  <a16:creationId xmlns:a16="http://schemas.microsoft.com/office/drawing/2014/main" xmlns="" id="{F4706FD8-D358-454B-AB3C-E3879C11CD18}"/>
                </a:ext>
              </a:extLst>
            </p:cNvPr>
            <p:cNvSpPr txBox="1"/>
            <p:nvPr/>
          </p:nvSpPr>
          <p:spPr>
            <a:xfrm>
              <a:off x="574529" y="4423551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82786F">
                      <a:lumMod val="50000"/>
                    </a:srgbClr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Insulin</a:t>
              </a:r>
              <a:endParaRPr lang="en-US" sz="933" dirty="0">
                <a:solidFill>
                  <a:srgbClr val="82786F">
                    <a:lumMod val="50000"/>
                  </a:srgb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6" name="TextBox 1015">
              <a:extLst>
                <a:ext uri="{FF2B5EF4-FFF2-40B4-BE49-F238E27FC236}">
                  <a16:creationId xmlns:a16="http://schemas.microsoft.com/office/drawing/2014/main" xmlns="" id="{513EB57D-E35B-4D41-9E98-781C8D30FA39}"/>
                </a:ext>
              </a:extLst>
            </p:cNvPr>
            <p:cNvSpPr txBox="1"/>
            <p:nvPr/>
          </p:nvSpPr>
          <p:spPr>
            <a:xfrm>
              <a:off x="574529" y="4589116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007C92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P</a:t>
              </a:r>
              <a:endParaRPr lang="en-US" sz="933" dirty="0">
                <a:solidFill>
                  <a:srgbClr val="007C9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7" name="TextBox 1016">
              <a:extLst>
                <a:ext uri="{FF2B5EF4-FFF2-40B4-BE49-F238E27FC236}">
                  <a16:creationId xmlns:a16="http://schemas.microsoft.com/office/drawing/2014/main" xmlns="" id="{FD0F36F4-F362-4465-9A57-F9BA9D8596EF}"/>
                </a:ext>
              </a:extLst>
            </p:cNvPr>
            <p:cNvSpPr txBox="1"/>
            <p:nvPr/>
          </p:nvSpPr>
          <p:spPr>
            <a:xfrm>
              <a:off x="574529" y="4754681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96820C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Amylin</a:t>
              </a:r>
              <a:endParaRPr lang="en-US" sz="933" dirty="0">
                <a:solidFill>
                  <a:srgbClr val="96820C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8" name="TextBox 1017">
              <a:extLst>
                <a:ext uri="{FF2B5EF4-FFF2-40B4-BE49-F238E27FC236}">
                  <a16:creationId xmlns:a16="http://schemas.microsoft.com/office/drawing/2014/main" xmlns="" id="{0C2979A1-D813-478A-9441-055D0E1EACF9}"/>
                </a:ext>
              </a:extLst>
            </p:cNvPr>
            <p:cNvSpPr txBox="1"/>
            <p:nvPr/>
          </p:nvSpPr>
          <p:spPr>
            <a:xfrm>
              <a:off x="574529" y="4920247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72B5CC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OXM</a:t>
              </a:r>
              <a:endParaRPr lang="en-US" sz="933" dirty="0">
                <a:solidFill>
                  <a:srgbClr val="72B5CC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19" name="TextBox 1018">
              <a:extLst>
                <a:ext uri="{FF2B5EF4-FFF2-40B4-BE49-F238E27FC236}">
                  <a16:creationId xmlns:a16="http://schemas.microsoft.com/office/drawing/2014/main" xmlns="" id="{42537CD6-D063-469D-8251-16B15D35902C}"/>
                </a:ext>
              </a:extLst>
            </p:cNvPr>
            <p:cNvSpPr txBox="1"/>
            <p:nvPr/>
          </p:nvSpPr>
          <p:spPr>
            <a:xfrm>
              <a:off x="574529" y="5085812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F69069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CK</a:t>
              </a:r>
              <a:endParaRPr lang="en-US" sz="933" dirty="0">
                <a:solidFill>
                  <a:srgbClr val="F69069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20" name="TextBox 1019">
              <a:extLst>
                <a:ext uri="{FF2B5EF4-FFF2-40B4-BE49-F238E27FC236}">
                  <a16:creationId xmlns:a16="http://schemas.microsoft.com/office/drawing/2014/main" xmlns="" id="{D9377DB2-B830-4BBD-8B7F-E044835524E5}"/>
                </a:ext>
              </a:extLst>
            </p:cNvPr>
            <p:cNvSpPr txBox="1"/>
            <p:nvPr/>
          </p:nvSpPr>
          <p:spPr>
            <a:xfrm>
              <a:off x="574529" y="5251377"/>
              <a:ext cx="875495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GLP-1</a:t>
              </a:r>
              <a:endParaRPr lang="en-US" sz="933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21" name="TextBox 1020">
              <a:extLst>
                <a:ext uri="{FF2B5EF4-FFF2-40B4-BE49-F238E27FC236}">
                  <a16:creationId xmlns:a16="http://schemas.microsoft.com/office/drawing/2014/main" xmlns="" id="{7B8CA8CF-EE9B-45AE-8D62-92E9E8E27F99}"/>
                </a:ext>
              </a:extLst>
            </p:cNvPr>
            <p:cNvSpPr txBox="1"/>
            <p:nvPr/>
          </p:nvSpPr>
          <p:spPr>
            <a:xfrm>
              <a:off x="479059" y="5416943"/>
              <a:ext cx="970964" cy="2358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933" dirty="0">
                  <a:solidFill>
                    <a:srgbClr val="009FDA">
                      <a:lumMod val="60000"/>
                      <a:lumOff val="40000"/>
                    </a:srgbClr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Adiponectin</a:t>
              </a:r>
              <a:endParaRPr lang="en-US" sz="933" dirty="0">
                <a:solidFill>
                  <a:srgbClr val="009FDA">
                    <a:lumMod val="60000"/>
                    <a:lumOff val="40000"/>
                  </a:srgbClr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022" name="Connector: Elbow 1021">
              <a:extLst>
                <a:ext uri="{FF2B5EF4-FFF2-40B4-BE49-F238E27FC236}">
                  <a16:creationId xmlns:a16="http://schemas.microsoft.com/office/drawing/2014/main" xmlns="" id="{2BB78BF3-DC3A-49F0-A1DA-F86BDB5C9F5B}"/>
                </a:ext>
              </a:extLst>
            </p:cNvPr>
            <p:cNvCxnSpPr>
              <a:cxnSpLocks/>
              <a:stCxn id="1012" idx="3"/>
              <a:endCxn id="994" idx="2"/>
            </p:cNvCxnSpPr>
            <p:nvPr/>
          </p:nvCxnSpPr>
          <p:spPr>
            <a:xfrm flipV="1">
              <a:off x="1450024" y="3061975"/>
              <a:ext cx="1408482" cy="982829"/>
            </a:xfrm>
            <a:prstGeom prst="bentConnector2">
              <a:avLst/>
            </a:prstGeom>
            <a:noFill/>
            <a:ln w="19050" cap="flat" cmpd="sng" algn="ctr">
              <a:solidFill>
                <a:srgbClr val="7030A0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24" name="Connector: Elbow 1023">
              <a:extLst>
                <a:ext uri="{FF2B5EF4-FFF2-40B4-BE49-F238E27FC236}">
                  <a16:creationId xmlns:a16="http://schemas.microsoft.com/office/drawing/2014/main" xmlns="" id="{69B69402-A1C9-4272-8519-409D09A48B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50024" y="3684250"/>
              <a:ext cx="2260152" cy="355791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7030A0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25" name="Connector: Elbow 1024">
              <a:extLst>
                <a:ext uri="{FF2B5EF4-FFF2-40B4-BE49-F238E27FC236}">
                  <a16:creationId xmlns:a16="http://schemas.microsoft.com/office/drawing/2014/main" xmlns="" id="{062AEA19-9133-462B-9700-9CE883AFEC63}"/>
                </a:ext>
              </a:extLst>
            </p:cNvPr>
            <p:cNvCxnSpPr>
              <a:cxnSpLocks/>
              <a:endCxn id="994" idx="2"/>
            </p:cNvCxnSpPr>
            <p:nvPr/>
          </p:nvCxnSpPr>
          <p:spPr>
            <a:xfrm flipV="1">
              <a:off x="1450343" y="3061975"/>
              <a:ext cx="1408163" cy="1164440"/>
            </a:xfrm>
            <a:prstGeom prst="bentConnector2">
              <a:avLst/>
            </a:prstGeom>
            <a:noFill/>
            <a:ln w="19050" cap="flat" cmpd="sng" algn="ctr">
              <a:solidFill>
                <a:srgbClr val="D47600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26" name="Connector: Elbow 1025">
              <a:extLst>
                <a:ext uri="{FF2B5EF4-FFF2-40B4-BE49-F238E27FC236}">
                  <a16:creationId xmlns:a16="http://schemas.microsoft.com/office/drawing/2014/main" xmlns="" id="{5014A6EB-D3E3-4B7A-A87F-5ADDC7BB1ABC}"/>
                </a:ext>
              </a:extLst>
            </p:cNvPr>
            <p:cNvCxnSpPr>
              <a:cxnSpLocks/>
              <a:stCxn id="1014" idx="3"/>
              <a:endCxn id="993" idx="2"/>
            </p:cNvCxnSpPr>
            <p:nvPr/>
          </p:nvCxnSpPr>
          <p:spPr>
            <a:xfrm flipV="1">
              <a:off x="1450024" y="3061975"/>
              <a:ext cx="1839329" cy="1313959"/>
            </a:xfrm>
            <a:prstGeom prst="bentConnector2">
              <a:avLst/>
            </a:prstGeom>
            <a:noFill/>
            <a:ln w="19050" cap="flat" cmpd="sng" algn="ctr">
              <a:solidFill>
                <a:srgbClr val="E64A0E">
                  <a:lumMod val="50000"/>
                </a:srgbClr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27" name="Connector: Elbow 1026">
              <a:extLst>
                <a:ext uri="{FF2B5EF4-FFF2-40B4-BE49-F238E27FC236}">
                  <a16:creationId xmlns:a16="http://schemas.microsoft.com/office/drawing/2014/main" xmlns="" id="{CC097FD4-D787-4DB6-85AF-AC7BD42145CA}"/>
                </a:ext>
              </a:extLst>
            </p:cNvPr>
            <p:cNvCxnSpPr>
              <a:cxnSpLocks/>
              <a:stCxn id="1015" idx="3"/>
              <a:endCxn id="994" idx="2"/>
            </p:cNvCxnSpPr>
            <p:nvPr/>
          </p:nvCxnSpPr>
          <p:spPr>
            <a:xfrm flipV="1">
              <a:off x="1450024" y="3061975"/>
              <a:ext cx="1408482" cy="1479525"/>
            </a:xfrm>
            <a:prstGeom prst="bentConnector2">
              <a:avLst/>
            </a:prstGeom>
            <a:noFill/>
            <a:ln w="19050" cap="flat" cmpd="sng" algn="ctr">
              <a:solidFill>
                <a:srgbClr val="82786F">
                  <a:lumMod val="50000"/>
                </a:srgbClr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29" name="Connector: Elbow 1028">
              <a:extLst>
                <a:ext uri="{FF2B5EF4-FFF2-40B4-BE49-F238E27FC236}">
                  <a16:creationId xmlns:a16="http://schemas.microsoft.com/office/drawing/2014/main" xmlns="" id="{067A4B50-DA26-49F4-A22C-16E73753E9F9}"/>
                </a:ext>
              </a:extLst>
            </p:cNvPr>
            <p:cNvCxnSpPr>
              <a:cxnSpLocks/>
              <a:stCxn id="1017" idx="3"/>
              <a:endCxn id="994" idx="2"/>
            </p:cNvCxnSpPr>
            <p:nvPr/>
          </p:nvCxnSpPr>
          <p:spPr>
            <a:xfrm flipV="1">
              <a:off x="1450024" y="3061975"/>
              <a:ext cx="1408482" cy="1810655"/>
            </a:xfrm>
            <a:prstGeom prst="bentConnector2">
              <a:avLst/>
            </a:prstGeom>
            <a:noFill/>
            <a:ln w="19050" cap="flat" cmpd="sng" algn="ctr">
              <a:solidFill>
                <a:srgbClr val="96820C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30" name="Connector: Elbow 1029">
              <a:extLst>
                <a:ext uri="{FF2B5EF4-FFF2-40B4-BE49-F238E27FC236}">
                  <a16:creationId xmlns:a16="http://schemas.microsoft.com/office/drawing/2014/main" xmlns="" id="{F55A0DF7-53FC-44A2-97F9-BD7B23CE2568}"/>
                </a:ext>
              </a:extLst>
            </p:cNvPr>
            <p:cNvCxnSpPr>
              <a:cxnSpLocks/>
              <a:stCxn id="1018" idx="3"/>
              <a:endCxn id="994" idx="2"/>
            </p:cNvCxnSpPr>
            <p:nvPr/>
          </p:nvCxnSpPr>
          <p:spPr>
            <a:xfrm flipV="1">
              <a:off x="1450024" y="3061975"/>
              <a:ext cx="1408482" cy="1976221"/>
            </a:xfrm>
            <a:prstGeom prst="bentConnector2">
              <a:avLst/>
            </a:prstGeom>
            <a:noFill/>
            <a:ln w="19050" cap="flat" cmpd="sng" algn="ctr">
              <a:solidFill>
                <a:srgbClr val="72B5CC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31" name="Connector: Elbow 1030">
              <a:extLst>
                <a:ext uri="{FF2B5EF4-FFF2-40B4-BE49-F238E27FC236}">
                  <a16:creationId xmlns:a16="http://schemas.microsoft.com/office/drawing/2014/main" xmlns="" id="{E091DBF0-B48C-4CAC-AD13-F86165F188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9399" y="3063108"/>
              <a:ext cx="1839329" cy="1976223"/>
            </a:xfrm>
            <a:prstGeom prst="bentConnector2">
              <a:avLst/>
            </a:prstGeom>
            <a:noFill/>
            <a:ln w="19050" cap="flat" cmpd="sng" algn="ctr">
              <a:solidFill>
                <a:srgbClr val="72B5CC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32" name="Connector: Elbow 1031">
              <a:extLst>
                <a:ext uri="{FF2B5EF4-FFF2-40B4-BE49-F238E27FC236}">
                  <a16:creationId xmlns:a16="http://schemas.microsoft.com/office/drawing/2014/main" xmlns="" id="{43517013-AED0-4EDC-B646-6DFA057C9420}"/>
                </a:ext>
              </a:extLst>
            </p:cNvPr>
            <p:cNvCxnSpPr>
              <a:cxnSpLocks/>
              <a:stCxn id="1019" idx="3"/>
              <a:endCxn id="993" idx="2"/>
            </p:cNvCxnSpPr>
            <p:nvPr/>
          </p:nvCxnSpPr>
          <p:spPr>
            <a:xfrm flipV="1">
              <a:off x="1450024" y="3061975"/>
              <a:ext cx="1839329" cy="2141786"/>
            </a:xfrm>
            <a:prstGeom prst="bentConnector2">
              <a:avLst/>
            </a:prstGeom>
            <a:noFill/>
            <a:ln w="19050" cap="flat" cmpd="sng" algn="ctr">
              <a:solidFill>
                <a:srgbClr val="F69069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33" name="Connector: Elbow 1032">
              <a:extLst>
                <a:ext uri="{FF2B5EF4-FFF2-40B4-BE49-F238E27FC236}">
                  <a16:creationId xmlns:a16="http://schemas.microsoft.com/office/drawing/2014/main" xmlns="" id="{B6A533AF-1234-4722-B0E8-C92BF48CEDE9}"/>
                </a:ext>
              </a:extLst>
            </p:cNvPr>
            <p:cNvCxnSpPr>
              <a:cxnSpLocks/>
              <a:stCxn id="1019" idx="3"/>
            </p:cNvCxnSpPr>
            <p:nvPr/>
          </p:nvCxnSpPr>
          <p:spPr>
            <a:xfrm flipV="1">
              <a:off x="1450024" y="2728712"/>
              <a:ext cx="1689495" cy="2475049"/>
            </a:xfrm>
            <a:prstGeom prst="bentConnector2">
              <a:avLst/>
            </a:prstGeom>
            <a:noFill/>
            <a:ln w="19050" cap="flat" cmpd="sng" algn="ctr">
              <a:solidFill>
                <a:srgbClr val="F69069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034" name="Connector: Elbow 1033">
              <a:extLst>
                <a:ext uri="{FF2B5EF4-FFF2-40B4-BE49-F238E27FC236}">
                  <a16:creationId xmlns:a16="http://schemas.microsoft.com/office/drawing/2014/main" xmlns="" id="{BB9C2FFA-6E8D-49AF-8916-248E4CABB381}"/>
                </a:ext>
              </a:extLst>
            </p:cNvPr>
            <p:cNvCxnSpPr>
              <a:cxnSpLocks/>
              <a:stCxn id="1020" idx="3"/>
              <a:endCxn id="993" idx="2"/>
            </p:cNvCxnSpPr>
            <p:nvPr/>
          </p:nvCxnSpPr>
          <p:spPr>
            <a:xfrm flipV="1">
              <a:off x="1450024" y="3061975"/>
              <a:ext cx="1839329" cy="2307351"/>
            </a:xfrm>
            <a:prstGeom prst="bentConnector2">
              <a:avLst/>
            </a:prstGeom>
            <a:noFill/>
            <a:ln w="19050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1035" name="Right Bracket 1034">
              <a:extLst>
                <a:ext uri="{FF2B5EF4-FFF2-40B4-BE49-F238E27FC236}">
                  <a16:creationId xmlns:a16="http://schemas.microsoft.com/office/drawing/2014/main" xmlns="" id="{5EA3635C-B526-475A-BE15-A20794776CC0}"/>
                </a:ext>
              </a:extLst>
            </p:cNvPr>
            <p:cNvSpPr/>
            <p:nvPr/>
          </p:nvSpPr>
          <p:spPr>
            <a:xfrm>
              <a:off x="4517505" y="1313062"/>
              <a:ext cx="497692" cy="2573573"/>
            </a:xfrm>
            <a:prstGeom prst="rightBracket">
              <a:avLst>
                <a:gd name="adj" fmla="val 0"/>
              </a:avLst>
            </a:prstGeom>
            <a:noFill/>
            <a:ln w="19050" cap="flat" cmpd="sng" algn="ctr">
              <a:solidFill>
                <a:srgbClr val="00196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36" name="Rectangle 1035">
              <a:extLst>
                <a:ext uri="{FF2B5EF4-FFF2-40B4-BE49-F238E27FC236}">
                  <a16:creationId xmlns:a16="http://schemas.microsoft.com/office/drawing/2014/main" xmlns="" id="{4B4876A1-7406-4981-ACFE-A927E524C37E}"/>
                </a:ext>
              </a:extLst>
            </p:cNvPr>
            <p:cNvSpPr/>
            <p:nvPr/>
          </p:nvSpPr>
          <p:spPr>
            <a:xfrm>
              <a:off x="5015196" y="1481504"/>
              <a:ext cx="2680331" cy="537585"/>
            </a:xfrm>
            <a:prstGeom prst="rect">
              <a:avLst/>
            </a:prstGeom>
            <a:solidFill>
              <a:srgbClr val="00196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Total energy expenditure </a:t>
              </a:r>
              <a:b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(REE, TEF, PA)</a:t>
              </a:r>
              <a:endParaRPr lang="en-US" sz="13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037" name="Connector: Elbow 1036">
              <a:extLst>
                <a:ext uri="{FF2B5EF4-FFF2-40B4-BE49-F238E27FC236}">
                  <a16:creationId xmlns:a16="http://schemas.microsoft.com/office/drawing/2014/main" xmlns="" id="{366D9724-543B-4FD6-ACB6-6D8D82BAF576}"/>
                </a:ext>
              </a:extLst>
            </p:cNvPr>
            <p:cNvCxnSpPr>
              <a:cxnSpLocks/>
              <a:stCxn id="1021" idx="3"/>
              <a:endCxn id="994" idx="2"/>
            </p:cNvCxnSpPr>
            <p:nvPr/>
          </p:nvCxnSpPr>
          <p:spPr>
            <a:xfrm flipV="1">
              <a:off x="1450023" y="3061975"/>
              <a:ext cx="1408483" cy="2472917"/>
            </a:xfrm>
            <a:prstGeom prst="bentConnector2">
              <a:avLst/>
            </a:prstGeom>
            <a:noFill/>
            <a:ln w="19050" cap="flat" cmpd="sng" algn="ctr">
              <a:solidFill>
                <a:srgbClr val="009FDA">
                  <a:lumMod val="60000"/>
                  <a:lumOff val="40000"/>
                </a:srgbClr>
              </a:solidFill>
              <a:prstDash val="solid"/>
              <a:headEnd type="oval"/>
              <a:tailEnd type="oval"/>
            </a:ln>
            <a:effectLst/>
          </p:spPr>
        </p:cxnSp>
        <p:grpSp>
          <p:nvGrpSpPr>
            <p:cNvPr id="1038" name="Group 1037">
              <a:extLst>
                <a:ext uri="{FF2B5EF4-FFF2-40B4-BE49-F238E27FC236}">
                  <a16:creationId xmlns:a16="http://schemas.microsoft.com/office/drawing/2014/main" xmlns="" id="{E3C2DD49-76B6-42D8-A879-3BFABB7B7628}"/>
                </a:ext>
              </a:extLst>
            </p:cNvPr>
            <p:cNvGrpSpPr/>
            <p:nvPr/>
          </p:nvGrpSpPr>
          <p:grpSpPr>
            <a:xfrm>
              <a:off x="4824893" y="1569803"/>
              <a:ext cx="368632" cy="373072"/>
              <a:chOff x="3596021" y="1518035"/>
              <a:chExt cx="276474" cy="279804"/>
            </a:xfrm>
          </p:grpSpPr>
          <p:sp>
            <p:nvSpPr>
              <p:cNvPr id="1039" name="Oval 1038">
                <a:extLst>
                  <a:ext uri="{FF2B5EF4-FFF2-40B4-BE49-F238E27FC236}">
                    <a16:creationId xmlns:a16="http://schemas.microsoft.com/office/drawing/2014/main" xmlns="" id="{F74FD258-02D6-43DE-8508-24FFAD2CE98B}"/>
                  </a:ext>
                </a:extLst>
              </p:cNvPr>
              <p:cNvSpPr/>
              <p:nvPr/>
            </p:nvSpPr>
            <p:spPr>
              <a:xfrm>
                <a:off x="3596021" y="1518035"/>
                <a:ext cx="276474" cy="279804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lnSpc>
                    <a:spcPts val="1333"/>
                  </a:lnSpc>
                  <a:defRPr/>
                </a:pPr>
                <a:r>
                  <a:rPr lang="en-CA" sz="13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/>
                </a:r>
                <a:br>
                  <a:rPr lang="en-CA" sz="13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</a:br>
                <a:endParaRPr lang="en-US" sz="13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40" name="Plus Sign 1039">
                <a:extLst>
                  <a:ext uri="{FF2B5EF4-FFF2-40B4-BE49-F238E27FC236}">
                    <a16:creationId xmlns:a16="http://schemas.microsoft.com/office/drawing/2014/main" xmlns="" id="{EEE1BF7C-2682-43B5-B35A-4285228D9352}"/>
                  </a:ext>
                </a:extLst>
              </p:cNvPr>
              <p:cNvSpPr/>
              <p:nvPr/>
            </p:nvSpPr>
            <p:spPr>
              <a:xfrm>
                <a:off x="3673222" y="1551911"/>
                <a:ext cx="122072" cy="126206"/>
              </a:xfrm>
              <a:prstGeom prst="mathPlus">
                <a:avLst/>
              </a:prstGeom>
              <a:solidFill>
                <a:srgbClr val="001965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41" name="Minus Sign 1040">
                <a:extLst>
                  <a:ext uri="{FF2B5EF4-FFF2-40B4-BE49-F238E27FC236}">
                    <a16:creationId xmlns:a16="http://schemas.microsoft.com/office/drawing/2014/main" xmlns="" id="{B201E14D-4BCC-4A59-A339-A1843DBBBD20}"/>
                  </a:ext>
                </a:extLst>
              </p:cNvPr>
              <p:cNvSpPr/>
              <p:nvPr/>
            </p:nvSpPr>
            <p:spPr>
              <a:xfrm>
                <a:off x="3673222" y="1651834"/>
                <a:ext cx="122072" cy="126206"/>
              </a:xfrm>
              <a:prstGeom prst="mathMinus">
                <a:avLst/>
              </a:prstGeom>
              <a:solidFill>
                <a:srgbClr val="001965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sp>
          <p:nvSpPr>
            <p:cNvPr id="1042" name="Arrow: Right 1041">
              <a:extLst>
                <a:ext uri="{FF2B5EF4-FFF2-40B4-BE49-F238E27FC236}">
                  <a16:creationId xmlns:a16="http://schemas.microsoft.com/office/drawing/2014/main" xmlns="" id="{9DC76F5D-F1BF-463C-9FA6-B0E7E8F1094F}"/>
                </a:ext>
              </a:extLst>
            </p:cNvPr>
            <p:cNvSpPr/>
            <p:nvPr/>
          </p:nvSpPr>
          <p:spPr>
            <a:xfrm>
              <a:off x="5015196" y="2307217"/>
              <a:ext cx="4469213" cy="313760"/>
            </a:xfrm>
            <a:prstGeom prst="rightArrow">
              <a:avLst/>
            </a:prstGeom>
            <a:solidFill>
              <a:srgbClr val="00196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43" name="Rectangle 1042">
              <a:extLst>
                <a:ext uri="{FF2B5EF4-FFF2-40B4-BE49-F238E27FC236}">
                  <a16:creationId xmlns:a16="http://schemas.microsoft.com/office/drawing/2014/main" xmlns="" id="{95C9B093-7804-459B-81F6-D79C1BB491A7}"/>
                </a:ext>
              </a:extLst>
            </p:cNvPr>
            <p:cNvSpPr/>
            <p:nvPr/>
          </p:nvSpPr>
          <p:spPr>
            <a:xfrm>
              <a:off x="9693021" y="2176545"/>
              <a:ext cx="1683480" cy="537585"/>
            </a:xfrm>
            <a:prstGeom prst="rect">
              <a:avLst/>
            </a:prstGeom>
            <a:solidFill>
              <a:srgbClr val="00196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CA" sz="13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Food intake</a:t>
              </a:r>
              <a:endParaRPr lang="en-US" sz="13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xmlns="" id="{A5D32F95-D30E-4A27-842A-D8499FE47BE4}"/>
                </a:ext>
              </a:extLst>
            </p:cNvPr>
            <p:cNvGrpSpPr/>
            <p:nvPr/>
          </p:nvGrpSpPr>
          <p:grpSpPr>
            <a:xfrm>
              <a:off x="9469407" y="2257040"/>
              <a:ext cx="368632" cy="373072"/>
              <a:chOff x="3596021" y="1518035"/>
              <a:chExt cx="276474" cy="279804"/>
            </a:xfrm>
          </p:grpSpPr>
          <p:sp>
            <p:nvSpPr>
              <p:cNvPr id="1045" name="Oval 1044">
                <a:extLst>
                  <a:ext uri="{FF2B5EF4-FFF2-40B4-BE49-F238E27FC236}">
                    <a16:creationId xmlns:a16="http://schemas.microsoft.com/office/drawing/2014/main" xmlns="" id="{FE126A93-6B64-4232-B012-0938C18004E5}"/>
                  </a:ext>
                </a:extLst>
              </p:cNvPr>
              <p:cNvSpPr/>
              <p:nvPr/>
            </p:nvSpPr>
            <p:spPr>
              <a:xfrm>
                <a:off x="3596021" y="1518035"/>
                <a:ext cx="276474" cy="279804"/>
              </a:xfrm>
              <a:prstGeom prst="ellipse">
                <a:avLst/>
              </a:prstGeom>
              <a:solidFill>
                <a:srgbClr val="FFFFFF"/>
              </a:solidFill>
              <a:ln w="15875" cap="flat" cmpd="sng" algn="ctr">
                <a:solidFill>
                  <a:srgbClr val="00196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lnSpc>
                    <a:spcPts val="1333"/>
                  </a:lnSpc>
                  <a:defRPr/>
                </a:pPr>
                <a:r>
                  <a:rPr lang="en-CA" sz="13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  <a:t/>
                </a:r>
                <a:br>
                  <a:rPr lang="en-CA" sz="1333" kern="0" dirty="0">
                    <a:solidFill>
                      <a:srgbClr val="001965"/>
                    </a:solidFill>
                    <a:latin typeface="Apis For Office" panose="020B0504010101010104" pitchFamily="34" charset="0"/>
                    <a:ea typeface="Apis For Office" panose="020B0504010101010104" pitchFamily="34" charset="0"/>
                    <a:cs typeface="Apis For Office" panose="020B0504010101010104" pitchFamily="34" charset="0"/>
                  </a:rPr>
                </a:br>
                <a:endParaRPr lang="en-US" sz="1333" kern="0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46" name="Plus Sign 1045">
                <a:extLst>
                  <a:ext uri="{FF2B5EF4-FFF2-40B4-BE49-F238E27FC236}">
                    <a16:creationId xmlns:a16="http://schemas.microsoft.com/office/drawing/2014/main" xmlns="" id="{562B9306-31C7-49CE-BFF7-3772245A7409}"/>
                  </a:ext>
                </a:extLst>
              </p:cNvPr>
              <p:cNvSpPr/>
              <p:nvPr/>
            </p:nvSpPr>
            <p:spPr>
              <a:xfrm>
                <a:off x="3673222" y="1551911"/>
                <a:ext cx="122072" cy="126206"/>
              </a:xfrm>
              <a:prstGeom prst="mathPlus">
                <a:avLst/>
              </a:prstGeom>
              <a:solidFill>
                <a:srgbClr val="001965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47" name="Minus Sign 1046">
                <a:extLst>
                  <a:ext uri="{FF2B5EF4-FFF2-40B4-BE49-F238E27FC236}">
                    <a16:creationId xmlns:a16="http://schemas.microsoft.com/office/drawing/2014/main" xmlns="" id="{1B9496BD-4AE9-43B4-997C-F442EE9EEFE3}"/>
                  </a:ext>
                </a:extLst>
              </p:cNvPr>
              <p:cNvSpPr/>
              <p:nvPr/>
            </p:nvSpPr>
            <p:spPr>
              <a:xfrm>
                <a:off x="3673222" y="1651834"/>
                <a:ext cx="122072" cy="126206"/>
              </a:xfrm>
              <a:prstGeom prst="mathMinus">
                <a:avLst/>
              </a:prstGeom>
              <a:solidFill>
                <a:srgbClr val="001965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sp>
          <p:nvSpPr>
            <p:cNvPr id="1048" name="Rectangle: Rounded Corners 1047">
              <a:extLst>
                <a:ext uri="{FF2B5EF4-FFF2-40B4-BE49-F238E27FC236}">
                  <a16:creationId xmlns:a16="http://schemas.microsoft.com/office/drawing/2014/main" xmlns="" id="{A8B1902C-A5C9-4BE9-BB3F-E58E5AB7263A}"/>
                </a:ext>
              </a:extLst>
            </p:cNvPr>
            <p:cNvSpPr/>
            <p:nvPr/>
          </p:nvSpPr>
          <p:spPr>
            <a:xfrm>
              <a:off x="9563876" y="2897714"/>
              <a:ext cx="604521" cy="237181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HO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49" name="Rectangle: Rounded Corners 1048">
              <a:extLst>
                <a:ext uri="{FF2B5EF4-FFF2-40B4-BE49-F238E27FC236}">
                  <a16:creationId xmlns:a16="http://schemas.microsoft.com/office/drawing/2014/main" xmlns="" id="{45112872-D589-4291-B540-A2415321638E}"/>
                </a:ext>
              </a:extLst>
            </p:cNvPr>
            <p:cNvSpPr/>
            <p:nvPr/>
          </p:nvSpPr>
          <p:spPr>
            <a:xfrm>
              <a:off x="10232502" y="2897714"/>
              <a:ext cx="604521" cy="237181"/>
            </a:xfrm>
            <a:prstGeom prst="roundRect">
              <a:avLst/>
            </a:prstGeom>
            <a:solidFill>
              <a:srgbClr val="EAAB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Fat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50" name="Rectangle: Rounded Corners 1049">
              <a:extLst>
                <a:ext uri="{FF2B5EF4-FFF2-40B4-BE49-F238E27FC236}">
                  <a16:creationId xmlns:a16="http://schemas.microsoft.com/office/drawing/2014/main" xmlns="" id="{E1BA42BD-3E26-414F-B027-90E24316FDEE}"/>
                </a:ext>
              </a:extLst>
            </p:cNvPr>
            <p:cNvSpPr/>
            <p:nvPr/>
          </p:nvSpPr>
          <p:spPr>
            <a:xfrm>
              <a:off x="10908445" y="2897714"/>
              <a:ext cx="604521" cy="237181"/>
            </a:xfrm>
            <a:prstGeom prst="roundRect">
              <a:avLst/>
            </a:prstGeom>
            <a:solidFill>
              <a:srgbClr val="3F9C35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rotein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051" name="Connector: Elbow 1050">
              <a:extLst>
                <a:ext uri="{FF2B5EF4-FFF2-40B4-BE49-F238E27FC236}">
                  <a16:creationId xmlns:a16="http://schemas.microsoft.com/office/drawing/2014/main" xmlns="" id="{E30F484D-F180-489B-B2FF-651810CECD70}"/>
                </a:ext>
              </a:extLst>
            </p:cNvPr>
            <p:cNvCxnSpPr>
              <a:stCxn id="1043" idx="2"/>
              <a:endCxn id="1048" idx="0"/>
            </p:cNvCxnSpPr>
            <p:nvPr/>
          </p:nvCxnSpPr>
          <p:spPr>
            <a:xfrm rot="5400000">
              <a:off x="10108657" y="2471610"/>
              <a:ext cx="183584" cy="668625"/>
            </a:xfrm>
            <a:prstGeom prst="bentConnector3">
              <a:avLst/>
            </a:prstGeom>
            <a:noFill/>
            <a:ln w="15875" cap="flat" cmpd="sng" algn="ctr">
              <a:solidFill>
                <a:srgbClr val="001965"/>
              </a:solidFill>
              <a:prstDash val="solid"/>
            </a:ln>
            <a:effectLst/>
          </p:spPr>
        </p:cxnSp>
        <p:cxnSp>
          <p:nvCxnSpPr>
            <p:cNvPr id="1052" name="Connector: Elbow 1051">
              <a:extLst>
                <a:ext uri="{FF2B5EF4-FFF2-40B4-BE49-F238E27FC236}">
                  <a16:creationId xmlns:a16="http://schemas.microsoft.com/office/drawing/2014/main" xmlns="" id="{FA767903-ED35-4216-94BC-B2FE7BE98473}"/>
                </a:ext>
              </a:extLst>
            </p:cNvPr>
            <p:cNvCxnSpPr>
              <a:cxnSpLocks/>
              <a:stCxn id="1043" idx="2"/>
              <a:endCxn id="1049" idx="0"/>
            </p:cNvCxnSpPr>
            <p:nvPr/>
          </p:nvCxnSpPr>
          <p:spPr>
            <a:xfrm rot="16200000" flipH="1">
              <a:off x="10442969" y="2805921"/>
              <a:ext cx="183584" cy="1"/>
            </a:xfrm>
            <a:prstGeom prst="bent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</a:ln>
            <a:effectLst/>
          </p:spPr>
        </p:cxnSp>
        <p:cxnSp>
          <p:nvCxnSpPr>
            <p:cNvPr id="1053" name="Connector: Elbow 1052">
              <a:extLst>
                <a:ext uri="{FF2B5EF4-FFF2-40B4-BE49-F238E27FC236}">
                  <a16:creationId xmlns:a16="http://schemas.microsoft.com/office/drawing/2014/main" xmlns="" id="{3BB77D9D-66BF-41E4-9043-8DE07C12F0FE}"/>
                </a:ext>
              </a:extLst>
            </p:cNvPr>
            <p:cNvCxnSpPr>
              <a:cxnSpLocks/>
              <a:stCxn id="1043" idx="2"/>
              <a:endCxn id="1050" idx="0"/>
            </p:cNvCxnSpPr>
            <p:nvPr/>
          </p:nvCxnSpPr>
          <p:spPr>
            <a:xfrm rot="16200000" flipH="1">
              <a:off x="10780941" y="2467949"/>
              <a:ext cx="183584" cy="675944"/>
            </a:xfrm>
            <a:prstGeom prst="bent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001965"/>
              </a:solidFill>
              <a:prstDash val="solid"/>
            </a:ln>
            <a:effectLst/>
          </p:spPr>
        </p:cxnSp>
        <p:grpSp>
          <p:nvGrpSpPr>
            <p:cNvPr id="1054" name="Group 8">
              <a:extLst>
                <a:ext uri="{FF2B5EF4-FFF2-40B4-BE49-F238E27FC236}">
                  <a16:creationId xmlns:a16="http://schemas.microsoft.com/office/drawing/2014/main" xmlns="" id="{370B0AC2-4AC1-4A23-BC41-C5536373AE3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58750" y="5256809"/>
              <a:ext cx="1192495" cy="796607"/>
              <a:chOff x="1440" y="1200"/>
              <a:chExt cx="2879" cy="1923"/>
            </a:xfrm>
          </p:grpSpPr>
          <p:sp>
            <p:nvSpPr>
              <p:cNvPr id="1055" name="Freeform 6">
                <a:extLst>
                  <a:ext uri="{FF2B5EF4-FFF2-40B4-BE49-F238E27FC236}">
                    <a16:creationId xmlns:a16="http://schemas.microsoft.com/office/drawing/2014/main" xmlns="" id="{45CAB63E-9A8C-40F1-A478-C2B0818D152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013" y="1378"/>
                <a:ext cx="327" cy="1051"/>
              </a:xfrm>
              <a:custGeom>
                <a:avLst/>
                <a:gdLst>
                  <a:gd name="T0" fmla="*/ 49 w 72"/>
                  <a:gd name="T1" fmla="*/ 34 h 230"/>
                  <a:gd name="T2" fmla="*/ 72 w 72"/>
                  <a:gd name="T3" fmla="*/ 23 h 230"/>
                  <a:gd name="T4" fmla="*/ 30 w 72"/>
                  <a:gd name="T5" fmla="*/ 13 h 230"/>
                  <a:gd name="T6" fmla="*/ 0 w 72"/>
                  <a:gd name="T7" fmla="*/ 0 h 230"/>
                  <a:gd name="T8" fmla="*/ 1 w 72"/>
                  <a:gd name="T9" fmla="*/ 2 h 230"/>
                  <a:gd name="T10" fmla="*/ 21 w 72"/>
                  <a:gd name="T11" fmla="*/ 51 h 230"/>
                  <a:gd name="T12" fmla="*/ 15 w 72"/>
                  <a:gd name="T13" fmla="*/ 138 h 230"/>
                  <a:gd name="T14" fmla="*/ 18 w 72"/>
                  <a:gd name="T15" fmla="*/ 185 h 230"/>
                  <a:gd name="T16" fmla="*/ 13 w 72"/>
                  <a:gd name="T17" fmla="*/ 226 h 230"/>
                  <a:gd name="T18" fmla="*/ 9 w 72"/>
                  <a:gd name="T19" fmla="*/ 230 h 230"/>
                  <a:gd name="T20" fmla="*/ 27 w 72"/>
                  <a:gd name="T21" fmla="*/ 223 h 230"/>
                  <a:gd name="T22" fmla="*/ 40 w 72"/>
                  <a:gd name="T23" fmla="*/ 225 h 230"/>
                  <a:gd name="T24" fmla="*/ 33 w 72"/>
                  <a:gd name="T25" fmla="*/ 207 h 230"/>
                  <a:gd name="T26" fmla="*/ 29 w 72"/>
                  <a:gd name="T27" fmla="*/ 165 h 230"/>
                  <a:gd name="T28" fmla="*/ 32 w 72"/>
                  <a:gd name="T29" fmla="*/ 72 h 230"/>
                  <a:gd name="T30" fmla="*/ 49 w 72"/>
                  <a:gd name="T31" fmla="*/ 34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2" h="230">
                    <a:moveTo>
                      <a:pt x="49" y="34"/>
                    </a:moveTo>
                    <a:cubicBezTo>
                      <a:pt x="55" y="28"/>
                      <a:pt x="63" y="25"/>
                      <a:pt x="72" y="23"/>
                    </a:cubicBezTo>
                    <a:cubicBezTo>
                      <a:pt x="58" y="21"/>
                      <a:pt x="43" y="18"/>
                      <a:pt x="30" y="13"/>
                    </a:cubicBezTo>
                    <a:cubicBezTo>
                      <a:pt x="16" y="8"/>
                      <a:pt x="7" y="4"/>
                      <a:pt x="0" y="0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11" y="15"/>
                      <a:pt x="19" y="29"/>
                      <a:pt x="21" y="51"/>
                    </a:cubicBezTo>
                    <a:cubicBezTo>
                      <a:pt x="23" y="74"/>
                      <a:pt x="16" y="116"/>
                      <a:pt x="15" y="138"/>
                    </a:cubicBezTo>
                    <a:cubicBezTo>
                      <a:pt x="15" y="161"/>
                      <a:pt x="18" y="170"/>
                      <a:pt x="18" y="185"/>
                    </a:cubicBezTo>
                    <a:cubicBezTo>
                      <a:pt x="17" y="199"/>
                      <a:pt x="25" y="214"/>
                      <a:pt x="13" y="226"/>
                    </a:cubicBezTo>
                    <a:cubicBezTo>
                      <a:pt x="12" y="227"/>
                      <a:pt x="10" y="229"/>
                      <a:pt x="9" y="230"/>
                    </a:cubicBezTo>
                    <a:cubicBezTo>
                      <a:pt x="16" y="226"/>
                      <a:pt x="22" y="223"/>
                      <a:pt x="27" y="223"/>
                    </a:cubicBezTo>
                    <a:cubicBezTo>
                      <a:pt x="30" y="223"/>
                      <a:pt x="35" y="224"/>
                      <a:pt x="40" y="225"/>
                    </a:cubicBezTo>
                    <a:cubicBezTo>
                      <a:pt x="35" y="220"/>
                      <a:pt x="35" y="214"/>
                      <a:pt x="33" y="207"/>
                    </a:cubicBezTo>
                    <a:cubicBezTo>
                      <a:pt x="29" y="196"/>
                      <a:pt x="29" y="188"/>
                      <a:pt x="29" y="165"/>
                    </a:cubicBezTo>
                    <a:cubicBezTo>
                      <a:pt x="29" y="143"/>
                      <a:pt x="29" y="94"/>
                      <a:pt x="32" y="72"/>
                    </a:cubicBezTo>
                    <a:cubicBezTo>
                      <a:pt x="35" y="50"/>
                      <a:pt x="40" y="43"/>
                      <a:pt x="49" y="34"/>
                    </a:cubicBez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FF66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56" name="Freeform 4">
                <a:extLst>
                  <a:ext uri="{FF2B5EF4-FFF2-40B4-BE49-F238E27FC236}">
                    <a16:creationId xmlns:a16="http://schemas.microsoft.com/office/drawing/2014/main" xmlns="" id="{49A1BE2A-BBD8-4D69-A64D-D87C0951DAC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440" y="1200"/>
                <a:ext cx="1687" cy="1923"/>
              </a:xfrm>
              <a:custGeom>
                <a:avLst/>
                <a:gdLst>
                  <a:gd name="T0" fmla="*/ 309 w 369"/>
                  <a:gd name="T1" fmla="*/ 17 h 421"/>
                  <a:gd name="T2" fmla="*/ 226 w 369"/>
                  <a:gd name="T3" fmla="*/ 2 h 421"/>
                  <a:gd name="T4" fmla="*/ 138 w 369"/>
                  <a:gd name="T5" fmla="*/ 27 h 421"/>
                  <a:gd name="T6" fmla="*/ 80 w 369"/>
                  <a:gd name="T7" fmla="*/ 72 h 421"/>
                  <a:gd name="T8" fmla="*/ 31 w 369"/>
                  <a:gd name="T9" fmla="*/ 147 h 421"/>
                  <a:gd name="T10" fmla="*/ 7 w 369"/>
                  <a:gd name="T11" fmla="*/ 238 h 421"/>
                  <a:gd name="T12" fmla="*/ 5 w 369"/>
                  <a:gd name="T13" fmla="*/ 365 h 421"/>
                  <a:gd name="T14" fmla="*/ 4 w 369"/>
                  <a:gd name="T15" fmla="*/ 407 h 421"/>
                  <a:gd name="T16" fmla="*/ 28 w 369"/>
                  <a:gd name="T17" fmla="*/ 421 h 421"/>
                  <a:gd name="T18" fmla="*/ 79 w 369"/>
                  <a:gd name="T19" fmla="*/ 407 h 421"/>
                  <a:gd name="T20" fmla="*/ 138 w 369"/>
                  <a:gd name="T21" fmla="*/ 365 h 421"/>
                  <a:gd name="T22" fmla="*/ 211 w 369"/>
                  <a:gd name="T23" fmla="*/ 324 h 421"/>
                  <a:gd name="T24" fmla="*/ 290 w 369"/>
                  <a:gd name="T25" fmla="*/ 298 h 421"/>
                  <a:gd name="T26" fmla="*/ 357 w 369"/>
                  <a:gd name="T27" fmla="*/ 265 h 421"/>
                  <a:gd name="T28" fmla="*/ 362 w 369"/>
                  <a:gd name="T29" fmla="*/ 224 h 421"/>
                  <a:gd name="T30" fmla="*/ 359 w 369"/>
                  <a:gd name="T31" fmla="*/ 177 h 421"/>
                  <a:gd name="T32" fmla="*/ 365 w 369"/>
                  <a:gd name="T33" fmla="*/ 90 h 421"/>
                  <a:gd name="T34" fmla="*/ 345 w 369"/>
                  <a:gd name="T35" fmla="*/ 41 h 421"/>
                  <a:gd name="T36" fmla="*/ 309 w 369"/>
                  <a:gd name="T37" fmla="*/ 17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9" h="421">
                    <a:moveTo>
                      <a:pt x="309" y="17"/>
                    </a:moveTo>
                    <a:cubicBezTo>
                      <a:pt x="289" y="11"/>
                      <a:pt x="254" y="0"/>
                      <a:pt x="226" y="2"/>
                    </a:cubicBezTo>
                    <a:cubicBezTo>
                      <a:pt x="198" y="3"/>
                      <a:pt x="163" y="15"/>
                      <a:pt x="138" y="27"/>
                    </a:cubicBezTo>
                    <a:cubicBezTo>
                      <a:pt x="114" y="39"/>
                      <a:pt x="98" y="52"/>
                      <a:pt x="80" y="72"/>
                    </a:cubicBezTo>
                    <a:cubicBezTo>
                      <a:pt x="61" y="92"/>
                      <a:pt x="43" y="120"/>
                      <a:pt x="31" y="147"/>
                    </a:cubicBezTo>
                    <a:cubicBezTo>
                      <a:pt x="18" y="175"/>
                      <a:pt x="11" y="202"/>
                      <a:pt x="7" y="238"/>
                    </a:cubicBezTo>
                    <a:cubicBezTo>
                      <a:pt x="3" y="274"/>
                      <a:pt x="6" y="336"/>
                      <a:pt x="5" y="365"/>
                    </a:cubicBezTo>
                    <a:cubicBezTo>
                      <a:pt x="5" y="393"/>
                      <a:pt x="0" y="397"/>
                      <a:pt x="4" y="407"/>
                    </a:cubicBezTo>
                    <a:cubicBezTo>
                      <a:pt x="7" y="416"/>
                      <a:pt x="16" y="421"/>
                      <a:pt x="28" y="421"/>
                    </a:cubicBezTo>
                    <a:cubicBezTo>
                      <a:pt x="40" y="421"/>
                      <a:pt x="61" y="416"/>
                      <a:pt x="79" y="407"/>
                    </a:cubicBezTo>
                    <a:cubicBezTo>
                      <a:pt x="97" y="398"/>
                      <a:pt x="116" y="379"/>
                      <a:pt x="138" y="365"/>
                    </a:cubicBezTo>
                    <a:cubicBezTo>
                      <a:pt x="160" y="352"/>
                      <a:pt x="186" y="335"/>
                      <a:pt x="211" y="324"/>
                    </a:cubicBezTo>
                    <a:cubicBezTo>
                      <a:pt x="237" y="312"/>
                      <a:pt x="266" y="307"/>
                      <a:pt x="290" y="298"/>
                    </a:cubicBezTo>
                    <a:cubicBezTo>
                      <a:pt x="314" y="288"/>
                      <a:pt x="345" y="278"/>
                      <a:pt x="357" y="265"/>
                    </a:cubicBezTo>
                    <a:cubicBezTo>
                      <a:pt x="369" y="253"/>
                      <a:pt x="361" y="238"/>
                      <a:pt x="362" y="224"/>
                    </a:cubicBezTo>
                    <a:cubicBezTo>
                      <a:pt x="362" y="209"/>
                      <a:pt x="359" y="200"/>
                      <a:pt x="359" y="177"/>
                    </a:cubicBezTo>
                    <a:cubicBezTo>
                      <a:pt x="360" y="155"/>
                      <a:pt x="367" y="113"/>
                      <a:pt x="365" y="90"/>
                    </a:cubicBezTo>
                    <a:cubicBezTo>
                      <a:pt x="363" y="68"/>
                      <a:pt x="355" y="54"/>
                      <a:pt x="345" y="41"/>
                    </a:cubicBezTo>
                    <a:cubicBezTo>
                      <a:pt x="336" y="29"/>
                      <a:pt x="317" y="22"/>
                      <a:pt x="309" y="17"/>
                    </a:cubicBezTo>
                  </a:path>
                </a:pathLst>
              </a:custGeom>
              <a:solidFill>
                <a:srgbClr val="FFF5EE"/>
              </a:solidFill>
              <a:ln w="635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57" name="Freeform 5">
                <a:extLst>
                  <a:ext uri="{FF2B5EF4-FFF2-40B4-BE49-F238E27FC236}">
                    <a16:creationId xmlns:a16="http://schemas.microsoft.com/office/drawing/2014/main" xmlns="" id="{FEDDC1D7-9E19-47DF-8430-2271BC4CF5D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145" y="1468"/>
                <a:ext cx="1174" cy="974"/>
              </a:xfrm>
              <a:custGeom>
                <a:avLst/>
                <a:gdLst>
                  <a:gd name="T0" fmla="*/ 20 w 257"/>
                  <a:gd name="T1" fmla="*/ 14 h 213"/>
                  <a:gd name="T2" fmla="*/ 3 w 257"/>
                  <a:gd name="T3" fmla="*/ 52 h 213"/>
                  <a:gd name="T4" fmla="*/ 0 w 257"/>
                  <a:gd name="T5" fmla="*/ 145 h 213"/>
                  <a:gd name="T6" fmla="*/ 4 w 257"/>
                  <a:gd name="T7" fmla="*/ 187 h 213"/>
                  <a:gd name="T8" fmla="*/ 22 w 257"/>
                  <a:gd name="T9" fmla="*/ 210 h 213"/>
                  <a:gd name="T10" fmla="*/ 98 w 257"/>
                  <a:gd name="T11" fmla="*/ 203 h 213"/>
                  <a:gd name="T12" fmla="*/ 180 w 257"/>
                  <a:gd name="T13" fmla="*/ 149 h 213"/>
                  <a:gd name="T14" fmla="*/ 235 w 257"/>
                  <a:gd name="T15" fmla="*/ 88 h 213"/>
                  <a:gd name="T16" fmla="*/ 257 w 257"/>
                  <a:gd name="T17" fmla="*/ 37 h 213"/>
                  <a:gd name="T18" fmla="*/ 236 w 257"/>
                  <a:gd name="T19" fmla="*/ 17 h 213"/>
                  <a:gd name="T20" fmla="*/ 162 w 257"/>
                  <a:gd name="T21" fmla="*/ 3 h 213"/>
                  <a:gd name="T22" fmla="*/ 110 w 257"/>
                  <a:gd name="T23" fmla="*/ 6 h 213"/>
                  <a:gd name="T24" fmla="*/ 55 w 257"/>
                  <a:gd name="T25" fmla="*/ 1 h 213"/>
                  <a:gd name="T26" fmla="*/ 20 w 257"/>
                  <a:gd name="T27" fmla="*/ 1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7" h="213">
                    <a:moveTo>
                      <a:pt x="20" y="14"/>
                    </a:moveTo>
                    <a:cubicBezTo>
                      <a:pt x="11" y="23"/>
                      <a:pt x="6" y="30"/>
                      <a:pt x="3" y="52"/>
                    </a:cubicBezTo>
                    <a:cubicBezTo>
                      <a:pt x="0" y="74"/>
                      <a:pt x="0" y="123"/>
                      <a:pt x="0" y="145"/>
                    </a:cubicBezTo>
                    <a:cubicBezTo>
                      <a:pt x="0" y="168"/>
                      <a:pt x="0" y="176"/>
                      <a:pt x="4" y="187"/>
                    </a:cubicBezTo>
                    <a:cubicBezTo>
                      <a:pt x="7" y="198"/>
                      <a:pt x="6" y="207"/>
                      <a:pt x="22" y="210"/>
                    </a:cubicBezTo>
                    <a:cubicBezTo>
                      <a:pt x="38" y="212"/>
                      <a:pt x="72" y="213"/>
                      <a:pt x="98" y="203"/>
                    </a:cubicBezTo>
                    <a:cubicBezTo>
                      <a:pt x="125" y="193"/>
                      <a:pt x="157" y="168"/>
                      <a:pt x="180" y="149"/>
                    </a:cubicBezTo>
                    <a:cubicBezTo>
                      <a:pt x="202" y="130"/>
                      <a:pt x="222" y="107"/>
                      <a:pt x="235" y="88"/>
                    </a:cubicBezTo>
                    <a:cubicBezTo>
                      <a:pt x="248" y="69"/>
                      <a:pt x="257" y="49"/>
                      <a:pt x="257" y="37"/>
                    </a:cubicBezTo>
                    <a:cubicBezTo>
                      <a:pt x="257" y="25"/>
                      <a:pt x="252" y="23"/>
                      <a:pt x="236" y="17"/>
                    </a:cubicBezTo>
                    <a:cubicBezTo>
                      <a:pt x="220" y="11"/>
                      <a:pt x="183" y="4"/>
                      <a:pt x="162" y="3"/>
                    </a:cubicBezTo>
                    <a:cubicBezTo>
                      <a:pt x="142" y="1"/>
                      <a:pt x="128" y="6"/>
                      <a:pt x="110" y="6"/>
                    </a:cubicBezTo>
                    <a:cubicBezTo>
                      <a:pt x="92" y="6"/>
                      <a:pt x="70" y="0"/>
                      <a:pt x="55" y="1"/>
                    </a:cubicBezTo>
                    <a:cubicBezTo>
                      <a:pt x="40" y="3"/>
                      <a:pt x="28" y="6"/>
                      <a:pt x="20" y="14"/>
                    </a:cubicBezTo>
                  </a:path>
                </a:pathLst>
              </a:custGeom>
              <a:solidFill>
                <a:srgbClr val="FFF5EE"/>
              </a:solidFill>
              <a:ln w="6350">
                <a:solidFill>
                  <a:srgbClr val="FF66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grpSp>
          <p:nvGrpSpPr>
            <p:cNvPr id="1058" name="Group 4">
              <a:extLst>
                <a:ext uri="{FF2B5EF4-FFF2-40B4-BE49-F238E27FC236}">
                  <a16:creationId xmlns:a16="http://schemas.microsoft.com/office/drawing/2014/main" xmlns="" id="{1BA5E8DD-C3D5-41C0-AA2B-C0A4E975F65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16856" y="5224507"/>
              <a:ext cx="1220473" cy="803287"/>
              <a:chOff x="1728" y="1964"/>
              <a:chExt cx="1902" cy="1252"/>
            </a:xfrm>
          </p:grpSpPr>
          <p:sp>
            <p:nvSpPr>
              <p:cNvPr id="1059" name="Freeform 5">
                <a:extLst>
                  <a:ext uri="{FF2B5EF4-FFF2-40B4-BE49-F238E27FC236}">
                    <a16:creationId xmlns:a16="http://schemas.microsoft.com/office/drawing/2014/main" xmlns="" id="{F6372E6B-705A-452E-8FE1-C4C383CAB47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28" y="2362"/>
                <a:ext cx="1446" cy="854"/>
              </a:xfrm>
              <a:custGeom>
                <a:avLst/>
                <a:gdLst>
                  <a:gd name="T0" fmla="*/ 160 w 574"/>
                  <a:gd name="T1" fmla="*/ 67 h 339"/>
                  <a:gd name="T2" fmla="*/ 256 w 574"/>
                  <a:gd name="T3" fmla="*/ 211 h 339"/>
                  <a:gd name="T4" fmla="*/ 399 w 574"/>
                  <a:gd name="T5" fmla="*/ 113 h 339"/>
                  <a:gd name="T6" fmla="*/ 533 w 574"/>
                  <a:gd name="T7" fmla="*/ 77 h 339"/>
                  <a:gd name="T8" fmla="*/ 574 w 574"/>
                  <a:gd name="T9" fmla="*/ 181 h 339"/>
                  <a:gd name="T10" fmla="*/ 493 w 574"/>
                  <a:gd name="T11" fmla="*/ 197 h 339"/>
                  <a:gd name="T12" fmla="*/ 255 w 574"/>
                  <a:gd name="T13" fmla="*/ 329 h 339"/>
                  <a:gd name="T14" fmla="*/ 49 w 574"/>
                  <a:gd name="T15" fmla="*/ 17 h 339"/>
                  <a:gd name="T16" fmla="*/ 160 w 574"/>
                  <a:gd name="T17" fmla="*/ 67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4" h="339">
                    <a:moveTo>
                      <a:pt x="160" y="67"/>
                    </a:moveTo>
                    <a:cubicBezTo>
                      <a:pt x="144" y="156"/>
                      <a:pt x="196" y="203"/>
                      <a:pt x="256" y="211"/>
                    </a:cubicBezTo>
                    <a:cubicBezTo>
                      <a:pt x="318" y="219"/>
                      <a:pt x="389" y="185"/>
                      <a:pt x="399" y="113"/>
                    </a:cubicBezTo>
                    <a:cubicBezTo>
                      <a:pt x="411" y="52"/>
                      <a:pt x="503" y="38"/>
                      <a:pt x="533" y="77"/>
                    </a:cubicBezTo>
                    <a:cubicBezTo>
                      <a:pt x="561" y="114"/>
                      <a:pt x="573" y="160"/>
                      <a:pt x="574" y="181"/>
                    </a:cubicBezTo>
                    <a:cubicBezTo>
                      <a:pt x="567" y="187"/>
                      <a:pt x="522" y="199"/>
                      <a:pt x="493" y="197"/>
                    </a:cubicBezTo>
                    <a:cubicBezTo>
                      <a:pt x="433" y="302"/>
                      <a:pt x="341" y="339"/>
                      <a:pt x="255" y="329"/>
                    </a:cubicBezTo>
                    <a:cubicBezTo>
                      <a:pt x="119" y="313"/>
                      <a:pt x="0" y="182"/>
                      <a:pt x="49" y="17"/>
                    </a:cubicBezTo>
                    <a:cubicBezTo>
                      <a:pt x="54" y="0"/>
                      <a:pt x="165" y="46"/>
                      <a:pt x="160" y="67"/>
                    </a:cubicBezTo>
                    <a:close/>
                  </a:path>
                </a:pathLst>
              </a:custGeom>
              <a:solidFill>
                <a:srgbClr val="FFF5EE"/>
              </a:solidFill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0" name="Freeform 6">
                <a:extLst>
                  <a:ext uri="{FF2B5EF4-FFF2-40B4-BE49-F238E27FC236}">
                    <a16:creationId xmlns:a16="http://schemas.microsoft.com/office/drawing/2014/main" xmlns="" id="{80CDB5AE-1BC6-4871-A049-D46ECFBBB5B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56" y="2400"/>
                <a:ext cx="275" cy="150"/>
              </a:xfrm>
              <a:custGeom>
                <a:avLst/>
                <a:gdLst>
                  <a:gd name="T0" fmla="*/ 0 w 109"/>
                  <a:gd name="T1" fmla="*/ 0 h 60"/>
                  <a:gd name="T2" fmla="*/ 109 w 109"/>
                  <a:gd name="T3" fmla="*/ 5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9" h="60">
                    <a:moveTo>
                      <a:pt x="0" y="0"/>
                    </a:moveTo>
                    <a:cubicBezTo>
                      <a:pt x="0" y="22"/>
                      <a:pt x="103" y="60"/>
                      <a:pt x="109" y="52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1" name="Freeform 7">
                <a:extLst>
                  <a:ext uri="{FF2B5EF4-FFF2-40B4-BE49-F238E27FC236}">
                    <a16:creationId xmlns:a16="http://schemas.microsoft.com/office/drawing/2014/main" xmlns="" id="{CB1ED8C1-B15D-469C-A7DD-834B459ADA1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834" y="2792"/>
                <a:ext cx="340" cy="67"/>
              </a:xfrm>
              <a:custGeom>
                <a:avLst/>
                <a:gdLst>
                  <a:gd name="T0" fmla="*/ 58 w 135"/>
                  <a:gd name="T1" fmla="*/ 26 h 26"/>
                  <a:gd name="T2" fmla="*/ 30 w 135"/>
                  <a:gd name="T3" fmla="*/ 9 h 26"/>
                  <a:gd name="T4" fmla="*/ 135 w 135"/>
                  <a:gd name="T5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5" h="26">
                    <a:moveTo>
                      <a:pt x="58" y="26"/>
                    </a:moveTo>
                    <a:cubicBezTo>
                      <a:pt x="0" y="23"/>
                      <a:pt x="5" y="14"/>
                      <a:pt x="30" y="9"/>
                    </a:cubicBezTo>
                    <a:cubicBezTo>
                      <a:pt x="64" y="1"/>
                      <a:pt x="131" y="0"/>
                      <a:pt x="135" y="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2" name="Freeform 8">
                <a:extLst>
                  <a:ext uri="{FF2B5EF4-FFF2-40B4-BE49-F238E27FC236}">
                    <a16:creationId xmlns:a16="http://schemas.microsoft.com/office/drawing/2014/main" xmlns="" id="{4099098A-AC6E-44BD-9FAE-EFAE3D04169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836" y="2717"/>
                <a:ext cx="28" cy="116"/>
              </a:xfrm>
              <a:custGeom>
                <a:avLst/>
                <a:gdLst>
                  <a:gd name="T0" fmla="*/ 11 w 11"/>
                  <a:gd name="T1" fmla="*/ 46 h 46"/>
                  <a:gd name="T2" fmla="*/ 4 w 11"/>
                  <a:gd name="T3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1" h="46">
                    <a:moveTo>
                      <a:pt x="11" y="46"/>
                    </a:moveTo>
                    <a:cubicBezTo>
                      <a:pt x="5" y="26"/>
                      <a:pt x="0" y="11"/>
                      <a:pt x="4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3" name="Freeform 9">
                <a:extLst>
                  <a:ext uri="{FF2B5EF4-FFF2-40B4-BE49-F238E27FC236}">
                    <a16:creationId xmlns:a16="http://schemas.microsoft.com/office/drawing/2014/main" xmlns="" id="{4D0994E1-6976-403A-B51D-C0038CD463E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96" y="2705"/>
                <a:ext cx="48" cy="50"/>
              </a:xfrm>
              <a:custGeom>
                <a:avLst/>
                <a:gdLst>
                  <a:gd name="T0" fmla="*/ 19 w 19"/>
                  <a:gd name="T1" fmla="*/ 20 h 20"/>
                  <a:gd name="T2" fmla="*/ 0 w 19"/>
                  <a:gd name="T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9" h="20">
                    <a:moveTo>
                      <a:pt x="19" y="20"/>
                    </a:moveTo>
                    <a:cubicBezTo>
                      <a:pt x="11" y="16"/>
                      <a:pt x="5" y="13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4" name="Freeform 10">
                <a:extLst>
                  <a:ext uri="{FF2B5EF4-FFF2-40B4-BE49-F238E27FC236}">
                    <a16:creationId xmlns:a16="http://schemas.microsoft.com/office/drawing/2014/main" xmlns="" id="{27E280D7-6C0E-4E9A-B2D7-61D791EADD4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890" y="2807"/>
                <a:ext cx="262" cy="44"/>
              </a:xfrm>
              <a:custGeom>
                <a:avLst/>
                <a:gdLst>
                  <a:gd name="T0" fmla="*/ 104 w 104"/>
                  <a:gd name="T1" fmla="*/ 4 h 17"/>
                  <a:gd name="T2" fmla="*/ 52 w 104"/>
                  <a:gd name="T3" fmla="*/ 15 h 17"/>
                  <a:gd name="T4" fmla="*/ 0 w 104"/>
                  <a:gd name="T5" fmla="*/ 11 h 17"/>
                  <a:gd name="T6" fmla="*/ 50 w 104"/>
                  <a:gd name="T7" fmla="*/ 3 h 17"/>
                  <a:gd name="T8" fmla="*/ 104 w 104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7">
                    <a:moveTo>
                      <a:pt x="104" y="4"/>
                    </a:moveTo>
                    <a:cubicBezTo>
                      <a:pt x="104" y="7"/>
                      <a:pt x="80" y="12"/>
                      <a:pt x="52" y="15"/>
                    </a:cubicBezTo>
                    <a:cubicBezTo>
                      <a:pt x="24" y="17"/>
                      <a:pt x="0" y="13"/>
                      <a:pt x="0" y="11"/>
                    </a:cubicBezTo>
                    <a:cubicBezTo>
                      <a:pt x="0" y="8"/>
                      <a:pt x="22" y="5"/>
                      <a:pt x="50" y="3"/>
                    </a:cubicBezTo>
                    <a:cubicBezTo>
                      <a:pt x="78" y="0"/>
                      <a:pt x="104" y="1"/>
                      <a:pt x="104" y="4"/>
                    </a:cubicBezTo>
                    <a:close/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5" name="Freeform 11">
                <a:extLst>
                  <a:ext uri="{FF2B5EF4-FFF2-40B4-BE49-F238E27FC236}">
                    <a16:creationId xmlns:a16="http://schemas.microsoft.com/office/drawing/2014/main" xmlns="" id="{A9AB1B49-0516-4BE3-BF10-EC7FA1BC2A0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76" y="2402"/>
                <a:ext cx="237" cy="124"/>
              </a:xfrm>
              <a:custGeom>
                <a:avLst/>
                <a:gdLst>
                  <a:gd name="T0" fmla="*/ 93 w 94"/>
                  <a:gd name="T1" fmla="*/ 45 h 49"/>
                  <a:gd name="T2" fmla="*/ 44 w 94"/>
                  <a:gd name="T3" fmla="*/ 30 h 49"/>
                  <a:gd name="T4" fmla="*/ 2 w 94"/>
                  <a:gd name="T5" fmla="*/ 4 h 49"/>
                  <a:gd name="T6" fmla="*/ 51 w 94"/>
                  <a:gd name="T7" fmla="*/ 17 h 49"/>
                  <a:gd name="T8" fmla="*/ 93 w 94"/>
                  <a:gd name="T9" fmla="*/ 4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49">
                    <a:moveTo>
                      <a:pt x="93" y="45"/>
                    </a:moveTo>
                    <a:cubicBezTo>
                      <a:pt x="91" y="49"/>
                      <a:pt x="66" y="41"/>
                      <a:pt x="44" y="30"/>
                    </a:cubicBezTo>
                    <a:cubicBezTo>
                      <a:pt x="22" y="19"/>
                      <a:pt x="0" y="7"/>
                      <a:pt x="2" y="4"/>
                    </a:cubicBezTo>
                    <a:cubicBezTo>
                      <a:pt x="3" y="0"/>
                      <a:pt x="29" y="7"/>
                      <a:pt x="51" y="17"/>
                    </a:cubicBezTo>
                    <a:cubicBezTo>
                      <a:pt x="72" y="28"/>
                      <a:pt x="94" y="41"/>
                      <a:pt x="93" y="45"/>
                    </a:cubicBezTo>
                    <a:close/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6" name="Freeform 12">
                <a:extLst>
                  <a:ext uri="{FF2B5EF4-FFF2-40B4-BE49-F238E27FC236}">
                    <a16:creationId xmlns:a16="http://schemas.microsoft.com/office/drawing/2014/main" xmlns="" id="{7F4533C2-24EC-4284-9F9B-64C74F18118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103" y="1964"/>
                <a:ext cx="1527" cy="1076"/>
              </a:xfrm>
              <a:custGeom>
                <a:avLst/>
                <a:gdLst>
                  <a:gd name="T0" fmla="*/ 175 w 606"/>
                  <a:gd name="T1" fmla="*/ 231 h 427"/>
                  <a:gd name="T2" fmla="*/ 254 w 606"/>
                  <a:gd name="T3" fmla="*/ 220 h 427"/>
                  <a:gd name="T4" fmla="*/ 330 w 606"/>
                  <a:gd name="T5" fmla="*/ 200 h 427"/>
                  <a:gd name="T6" fmla="*/ 389 w 606"/>
                  <a:gd name="T7" fmla="*/ 185 h 427"/>
                  <a:gd name="T8" fmla="*/ 431 w 606"/>
                  <a:gd name="T9" fmla="*/ 166 h 427"/>
                  <a:gd name="T10" fmla="*/ 490 w 606"/>
                  <a:gd name="T11" fmla="*/ 137 h 427"/>
                  <a:gd name="T12" fmla="*/ 536 w 606"/>
                  <a:gd name="T13" fmla="*/ 116 h 427"/>
                  <a:gd name="T14" fmla="*/ 584 w 606"/>
                  <a:gd name="T15" fmla="*/ 70 h 427"/>
                  <a:gd name="T16" fmla="*/ 566 w 606"/>
                  <a:gd name="T17" fmla="*/ 8 h 427"/>
                  <a:gd name="T18" fmla="*/ 515 w 606"/>
                  <a:gd name="T19" fmla="*/ 21 h 427"/>
                  <a:gd name="T20" fmla="*/ 461 w 606"/>
                  <a:gd name="T21" fmla="*/ 47 h 427"/>
                  <a:gd name="T22" fmla="*/ 405 w 606"/>
                  <a:gd name="T23" fmla="*/ 68 h 427"/>
                  <a:gd name="T24" fmla="*/ 317 w 606"/>
                  <a:gd name="T25" fmla="*/ 92 h 427"/>
                  <a:gd name="T26" fmla="*/ 258 w 606"/>
                  <a:gd name="T27" fmla="*/ 107 h 427"/>
                  <a:gd name="T28" fmla="*/ 155 w 606"/>
                  <a:gd name="T29" fmla="*/ 108 h 427"/>
                  <a:gd name="T30" fmla="*/ 115 w 606"/>
                  <a:gd name="T31" fmla="*/ 109 h 427"/>
                  <a:gd name="T32" fmla="*/ 61 w 606"/>
                  <a:gd name="T33" fmla="*/ 129 h 427"/>
                  <a:gd name="T34" fmla="*/ 32 w 606"/>
                  <a:gd name="T35" fmla="*/ 157 h 427"/>
                  <a:gd name="T36" fmla="*/ 10 w 606"/>
                  <a:gd name="T37" fmla="*/ 200 h 427"/>
                  <a:gd name="T38" fmla="*/ 0 w 606"/>
                  <a:gd name="T39" fmla="*/ 249 h 427"/>
                  <a:gd name="T40" fmla="*/ 210 w 606"/>
                  <a:gd name="T41" fmla="*/ 329 h 427"/>
                  <a:gd name="T42" fmla="*/ 207 w 606"/>
                  <a:gd name="T43" fmla="*/ 286 h 427"/>
                  <a:gd name="T44" fmla="*/ 159 w 606"/>
                  <a:gd name="T45" fmla="*/ 261 h 427"/>
                  <a:gd name="T46" fmla="*/ 175 w 606"/>
                  <a:gd name="T47" fmla="*/ 231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06" h="427">
                    <a:moveTo>
                      <a:pt x="175" y="231"/>
                    </a:moveTo>
                    <a:cubicBezTo>
                      <a:pt x="203" y="234"/>
                      <a:pt x="223" y="238"/>
                      <a:pt x="254" y="220"/>
                    </a:cubicBezTo>
                    <a:cubicBezTo>
                      <a:pt x="279" y="219"/>
                      <a:pt x="297" y="220"/>
                      <a:pt x="330" y="200"/>
                    </a:cubicBezTo>
                    <a:cubicBezTo>
                      <a:pt x="367" y="198"/>
                      <a:pt x="381" y="192"/>
                      <a:pt x="389" y="185"/>
                    </a:cubicBezTo>
                    <a:cubicBezTo>
                      <a:pt x="418" y="181"/>
                      <a:pt x="423" y="174"/>
                      <a:pt x="431" y="166"/>
                    </a:cubicBezTo>
                    <a:cubicBezTo>
                      <a:pt x="447" y="165"/>
                      <a:pt x="480" y="147"/>
                      <a:pt x="490" y="137"/>
                    </a:cubicBezTo>
                    <a:cubicBezTo>
                      <a:pt x="516" y="133"/>
                      <a:pt x="515" y="129"/>
                      <a:pt x="536" y="116"/>
                    </a:cubicBezTo>
                    <a:cubicBezTo>
                      <a:pt x="557" y="103"/>
                      <a:pt x="570" y="95"/>
                      <a:pt x="584" y="70"/>
                    </a:cubicBezTo>
                    <a:cubicBezTo>
                      <a:pt x="598" y="45"/>
                      <a:pt x="606" y="0"/>
                      <a:pt x="566" y="8"/>
                    </a:cubicBezTo>
                    <a:cubicBezTo>
                      <a:pt x="550" y="8"/>
                      <a:pt x="534" y="10"/>
                      <a:pt x="515" y="21"/>
                    </a:cubicBezTo>
                    <a:cubicBezTo>
                      <a:pt x="487" y="26"/>
                      <a:pt x="480" y="33"/>
                      <a:pt x="461" y="47"/>
                    </a:cubicBezTo>
                    <a:cubicBezTo>
                      <a:pt x="437" y="50"/>
                      <a:pt x="429" y="60"/>
                      <a:pt x="405" y="68"/>
                    </a:cubicBezTo>
                    <a:cubicBezTo>
                      <a:pt x="383" y="70"/>
                      <a:pt x="343" y="76"/>
                      <a:pt x="317" y="92"/>
                    </a:cubicBezTo>
                    <a:cubicBezTo>
                      <a:pt x="294" y="93"/>
                      <a:pt x="278" y="97"/>
                      <a:pt x="258" y="107"/>
                    </a:cubicBezTo>
                    <a:cubicBezTo>
                      <a:pt x="211" y="118"/>
                      <a:pt x="188" y="102"/>
                      <a:pt x="155" y="108"/>
                    </a:cubicBezTo>
                    <a:cubicBezTo>
                      <a:pt x="143" y="105"/>
                      <a:pt x="139" y="102"/>
                      <a:pt x="115" y="109"/>
                    </a:cubicBezTo>
                    <a:cubicBezTo>
                      <a:pt x="77" y="110"/>
                      <a:pt x="69" y="117"/>
                      <a:pt x="61" y="129"/>
                    </a:cubicBezTo>
                    <a:cubicBezTo>
                      <a:pt x="48" y="133"/>
                      <a:pt x="37" y="140"/>
                      <a:pt x="32" y="157"/>
                    </a:cubicBezTo>
                    <a:cubicBezTo>
                      <a:pt x="18" y="174"/>
                      <a:pt x="13" y="184"/>
                      <a:pt x="10" y="200"/>
                    </a:cubicBezTo>
                    <a:cubicBezTo>
                      <a:pt x="3" y="211"/>
                      <a:pt x="0" y="222"/>
                      <a:pt x="0" y="249"/>
                    </a:cubicBezTo>
                    <a:cubicBezTo>
                      <a:pt x="3" y="427"/>
                      <a:pt x="210" y="376"/>
                      <a:pt x="210" y="329"/>
                    </a:cubicBezTo>
                    <a:cubicBezTo>
                      <a:pt x="221" y="315"/>
                      <a:pt x="224" y="301"/>
                      <a:pt x="207" y="286"/>
                    </a:cubicBezTo>
                    <a:cubicBezTo>
                      <a:pt x="195" y="275"/>
                      <a:pt x="194" y="269"/>
                      <a:pt x="159" y="261"/>
                    </a:cubicBezTo>
                    <a:cubicBezTo>
                      <a:pt x="139" y="256"/>
                      <a:pt x="139" y="223"/>
                      <a:pt x="175" y="231"/>
                    </a:cubicBezTo>
                    <a:close/>
                  </a:path>
                </a:pathLst>
              </a:custGeom>
              <a:solidFill>
                <a:srgbClr val="FFDAB9"/>
              </a:solidFill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sz="2489" dirty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67" name="Freeform 13">
                <a:extLst>
                  <a:ext uri="{FF2B5EF4-FFF2-40B4-BE49-F238E27FC236}">
                    <a16:creationId xmlns:a16="http://schemas.microsoft.com/office/drawing/2014/main" xmlns="" id="{15CD29F0-952F-4E8A-A4A1-BC2F22CC1D1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934" y="2430"/>
                <a:ext cx="150" cy="37"/>
              </a:xfrm>
              <a:custGeom>
                <a:avLst/>
                <a:gdLst>
                  <a:gd name="T0" fmla="*/ 0 w 59"/>
                  <a:gd name="T1" fmla="*/ 15 h 15"/>
                  <a:gd name="T2" fmla="*/ 59 w 59"/>
                  <a:gd name="T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9" h="15">
                    <a:moveTo>
                      <a:pt x="0" y="15"/>
                    </a:moveTo>
                    <a:cubicBezTo>
                      <a:pt x="37" y="13"/>
                      <a:pt x="51" y="7"/>
                      <a:pt x="59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 sz="2489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cxnSp>
          <p:nvCxnSpPr>
            <p:cNvPr id="1068" name="Connector: Elbow 1067">
              <a:extLst>
                <a:ext uri="{FF2B5EF4-FFF2-40B4-BE49-F238E27FC236}">
                  <a16:creationId xmlns:a16="http://schemas.microsoft.com/office/drawing/2014/main" xmlns="" id="{A79FD398-B5C4-427A-8C75-9D239F99A1F8}"/>
                </a:ext>
              </a:extLst>
            </p:cNvPr>
            <p:cNvCxnSpPr>
              <a:cxnSpLocks/>
              <a:stCxn id="1048" idx="2"/>
              <a:endCxn id="814" idx="0"/>
            </p:cNvCxnSpPr>
            <p:nvPr/>
          </p:nvCxnSpPr>
          <p:spPr>
            <a:xfrm rot="16200000" flipH="1">
              <a:off x="9943170" y="3057861"/>
              <a:ext cx="514557" cy="668625"/>
            </a:xfrm>
            <a:prstGeom prst="bentConnector3">
              <a:avLst/>
            </a:prstGeom>
            <a:noFill/>
            <a:ln w="15875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069" name="Connector: Elbow 1068">
              <a:extLst>
                <a:ext uri="{FF2B5EF4-FFF2-40B4-BE49-F238E27FC236}">
                  <a16:creationId xmlns:a16="http://schemas.microsoft.com/office/drawing/2014/main" xmlns="" id="{33A785CA-F4AF-49F3-9D47-5540D73F996F}"/>
                </a:ext>
              </a:extLst>
            </p:cNvPr>
            <p:cNvCxnSpPr>
              <a:cxnSpLocks/>
              <a:stCxn id="1050" idx="2"/>
              <a:endCxn id="814" idx="0"/>
            </p:cNvCxnSpPr>
            <p:nvPr/>
          </p:nvCxnSpPr>
          <p:spPr>
            <a:xfrm rot="5400000">
              <a:off x="10615455" y="3054201"/>
              <a:ext cx="514557" cy="675944"/>
            </a:xfrm>
            <a:prstGeom prst="bentConnector3">
              <a:avLst/>
            </a:prstGeom>
            <a:noFill/>
            <a:ln w="15875" cap="flat" cmpd="sng" algn="ctr">
              <a:solidFill>
                <a:srgbClr val="3F9C35"/>
              </a:solidFill>
              <a:prstDash val="solid"/>
            </a:ln>
            <a:effectLst/>
          </p:spPr>
        </p:cxnSp>
        <p:cxnSp>
          <p:nvCxnSpPr>
            <p:cNvPr id="1070" name="Connector: Elbow 1069">
              <a:extLst>
                <a:ext uri="{FF2B5EF4-FFF2-40B4-BE49-F238E27FC236}">
                  <a16:creationId xmlns:a16="http://schemas.microsoft.com/office/drawing/2014/main" xmlns="" id="{72D8D3C9-7134-42C2-9DE8-7521D424A7F0}"/>
                </a:ext>
              </a:extLst>
            </p:cNvPr>
            <p:cNvCxnSpPr>
              <a:cxnSpLocks/>
              <a:stCxn id="1049" idx="2"/>
              <a:endCxn id="814" idx="0"/>
            </p:cNvCxnSpPr>
            <p:nvPr/>
          </p:nvCxnSpPr>
          <p:spPr>
            <a:xfrm rot="5400000">
              <a:off x="10277484" y="3392174"/>
              <a:ext cx="514557" cy="1"/>
            </a:xfrm>
            <a:prstGeom prst="bentConnector3">
              <a:avLst/>
            </a:prstGeom>
            <a:noFill/>
            <a:ln w="15875" cap="flat" cmpd="sng" algn="ctr">
              <a:solidFill>
                <a:srgbClr val="EAAB00"/>
              </a:solidFill>
              <a:prstDash val="solid"/>
            </a:ln>
            <a:effectLst/>
          </p:spPr>
        </p:cxnSp>
        <p:sp>
          <p:nvSpPr>
            <p:cNvPr id="1071" name="TextBox 1070">
              <a:extLst>
                <a:ext uri="{FF2B5EF4-FFF2-40B4-BE49-F238E27FC236}">
                  <a16:creationId xmlns:a16="http://schemas.microsoft.com/office/drawing/2014/main" xmlns="" id="{DDBE2F11-8650-48B5-B956-2EB0E24F327B}"/>
                </a:ext>
              </a:extLst>
            </p:cNvPr>
            <p:cNvSpPr txBox="1"/>
            <p:nvPr/>
          </p:nvSpPr>
          <p:spPr>
            <a:xfrm>
              <a:off x="8809936" y="5693184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ortal vein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72" name="Arrow: Bent 1071">
              <a:extLst>
                <a:ext uri="{FF2B5EF4-FFF2-40B4-BE49-F238E27FC236}">
                  <a16:creationId xmlns:a16="http://schemas.microsoft.com/office/drawing/2014/main" xmlns="" id="{A8A6B4DB-8482-4CCF-B6D9-30B988FFD1B8}"/>
                </a:ext>
              </a:extLst>
            </p:cNvPr>
            <p:cNvSpPr/>
            <p:nvPr/>
          </p:nvSpPr>
          <p:spPr>
            <a:xfrm rot="10800000">
              <a:off x="9692345" y="3702625"/>
              <a:ext cx="892916" cy="1934481"/>
            </a:xfrm>
            <a:prstGeom prst="bentArrow">
              <a:avLst>
                <a:gd name="adj1" fmla="val 11346"/>
                <a:gd name="adj2" fmla="val 13052"/>
                <a:gd name="adj3" fmla="val 19311"/>
                <a:gd name="adj4" fmla="val 25544"/>
              </a:avLst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grpSp>
          <p:nvGrpSpPr>
            <p:cNvPr id="1073" name="Group 1072">
              <a:extLst>
                <a:ext uri="{FF2B5EF4-FFF2-40B4-BE49-F238E27FC236}">
                  <a16:creationId xmlns:a16="http://schemas.microsoft.com/office/drawing/2014/main" xmlns="" id="{FC4D5906-7FC7-4980-9F18-EA4BC4C0814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10209" y="5229236"/>
              <a:ext cx="813601" cy="794120"/>
              <a:chOff x="6653881" y="3494653"/>
              <a:chExt cx="572918" cy="559200"/>
            </a:xfrm>
            <a:solidFill>
              <a:srgbClr val="FFF5EE"/>
            </a:solidFill>
          </p:grpSpPr>
          <p:sp>
            <p:nvSpPr>
              <p:cNvPr id="1074" name="Freeform 30">
                <a:extLst>
                  <a:ext uri="{FF2B5EF4-FFF2-40B4-BE49-F238E27FC236}">
                    <a16:creationId xmlns:a16="http://schemas.microsoft.com/office/drawing/2014/main" xmlns="" id="{EE106994-5F3D-468A-90BC-173B40A82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389" y="3637479"/>
                <a:ext cx="257410" cy="258216"/>
              </a:xfrm>
              <a:custGeom>
                <a:avLst/>
                <a:gdLst>
                  <a:gd name="T0" fmla="*/ 76 w 134"/>
                  <a:gd name="T1" fmla="*/ 5 h 134"/>
                  <a:gd name="T2" fmla="*/ 129 w 134"/>
                  <a:gd name="T3" fmla="*/ 76 h 134"/>
                  <a:gd name="T4" fmla="*/ 58 w 134"/>
                  <a:gd name="T5" fmla="*/ 129 h 134"/>
                  <a:gd name="T6" fmla="*/ 5 w 134"/>
                  <a:gd name="T7" fmla="*/ 58 h 134"/>
                  <a:gd name="T8" fmla="*/ 76 w 134"/>
                  <a:gd name="T9" fmla="*/ 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134">
                    <a:moveTo>
                      <a:pt x="76" y="5"/>
                    </a:moveTo>
                    <a:cubicBezTo>
                      <a:pt x="110" y="10"/>
                      <a:pt x="134" y="41"/>
                      <a:pt x="129" y="76"/>
                    </a:cubicBezTo>
                    <a:cubicBezTo>
                      <a:pt x="124" y="110"/>
                      <a:pt x="92" y="134"/>
                      <a:pt x="58" y="129"/>
                    </a:cubicBezTo>
                    <a:cubicBezTo>
                      <a:pt x="24" y="124"/>
                      <a:pt x="0" y="92"/>
                      <a:pt x="5" y="58"/>
                    </a:cubicBezTo>
                    <a:cubicBezTo>
                      <a:pt x="10" y="24"/>
                      <a:pt x="41" y="0"/>
                      <a:pt x="76" y="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75" name="Freeform 31">
                <a:extLst>
                  <a:ext uri="{FF2B5EF4-FFF2-40B4-BE49-F238E27FC236}">
                    <a16:creationId xmlns:a16="http://schemas.microsoft.com/office/drawing/2014/main" xmlns="" id="{87D1B275-674D-4DEB-AC44-BFC56C7C4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5156" y="3752869"/>
                <a:ext cx="19366" cy="48416"/>
              </a:xfrm>
              <a:custGeom>
                <a:avLst/>
                <a:gdLst>
                  <a:gd name="T0" fmla="*/ 7 w 10"/>
                  <a:gd name="T1" fmla="*/ 1 h 25"/>
                  <a:gd name="T2" fmla="*/ 9 w 10"/>
                  <a:gd name="T3" fmla="*/ 13 h 25"/>
                  <a:gd name="T4" fmla="*/ 4 w 10"/>
                  <a:gd name="T5" fmla="*/ 24 h 25"/>
                  <a:gd name="T6" fmla="*/ 1 w 10"/>
                  <a:gd name="T7" fmla="*/ 12 h 25"/>
                  <a:gd name="T8" fmla="*/ 7 w 10"/>
                  <a:gd name="T9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5">
                    <a:moveTo>
                      <a:pt x="7" y="1"/>
                    </a:moveTo>
                    <a:cubicBezTo>
                      <a:pt x="9" y="1"/>
                      <a:pt x="10" y="7"/>
                      <a:pt x="9" y="13"/>
                    </a:cubicBezTo>
                    <a:cubicBezTo>
                      <a:pt x="9" y="20"/>
                      <a:pt x="6" y="25"/>
                      <a:pt x="4" y="24"/>
                    </a:cubicBezTo>
                    <a:cubicBezTo>
                      <a:pt x="1" y="24"/>
                      <a:pt x="0" y="18"/>
                      <a:pt x="1" y="12"/>
                    </a:cubicBezTo>
                    <a:cubicBezTo>
                      <a:pt x="2" y="5"/>
                      <a:pt x="5" y="0"/>
                      <a:pt x="7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76" name="Freeform 32">
                <a:extLst>
                  <a:ext uri="{FF2B5EF4-FFF2-40B4-BE49-F238E27FC236}">
                    <a16:creationId xmlns:a16="http://schemas.microsoft.com/office/drawing/2014/main" xmlns="" id="{72709F0D-E693-42B3-92C0-960F93701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9964" y="3785953"/>
                <a:ext cx="269514" cy="267900"/>
              </a:xfrm>
              <a:custGeom>
                <a:avLst/>
                <a:gdLst>
                  <a:gd name="T0" fmla="*/ 117 w 140"/>
                  <a:gd name="T1" fmla="*/ 28 h 139"/>
                  <a:gd name="T2" fmla="*/ 112 w 140"/>
                  <a:gd name="T3" fmla="*/ 116 h 139"/>
                  <a:gd name="T4" fmla="*/ 23 w 140"/>
                  <a:gd name="T5" fmla="*/ 111 h 139"/>
                  <a:gd name="T6" fmla="*/ 28 w 140"/>
                  <a:gd name="T7" fmla="*/ 23 h 139"/>
                  <a:gd name="T8" fmla="*/ 117 w 140"/>
                  <a:gd name="T9" fmla="*/ 2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" h="139">
                    <a:moveTo>
                      <a:pt x="117" y="28"/>
                    </a:moveTo>
                    <a:cubicBezTo>
                      <a:pt x="140" y="54"/>
                      <a:pt x="138" y="93"/>
                      <a:pt x="112" y="116"/>
                    </a:cubicBezTo>
                    <a:cubicBezTo>
                      <a:pt x="86" y="139"/>
                      <a:pt x="46" y="137"/>
                      <a:pt x="23" y="111"/>
                    </a:cubicBezTo>
                    <a:cubicBezTo>
                      <a:pt x="0" y="85"/>
                      <a:pt x="2" y="46"/>
                      <a:pt x="28" y="23"/>
                    </a:cubicBezTo>
                    <a:cubicBezTo>
                      <a:pt x="54" y="0"/>
                      <a:pt x="94" y="2"/>
                      <a:pt x="117" y="2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77" name="Freeform 33">
                <a:extLst>
                  <a:ext uri="{FF2B5EF4-FFF2-40B4-BE49-F238E27FC236}">
                    <a16:creationId xmlns:a16="http://schemas.microsoft.com/office/drawing/2014/main" xmlns="" id="{5F23D23C-BEEB-4256-958A-1C0167962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5067" y="3966705"/>
                <a:ext cx="40346" cy="37119"/>
              </a:xfrm>
              <a:custGeom>
                <a:avLst/>
                <a:gdLst>
                  <a:gd name="T0" fmla="*/ 19 w 21"/>
                  <a:gd name="T1" fmla="*/ 1 h 19"/>
                  <a:gd name="T2" fmla="*/ 13 w 21"/>
                  <a:gd name="T3" fmla="*/ 12 h 19"/>
                  <a:gd name="T4" fmla="*/ 1 w 21"/>
                  <a:gd name="T5" fmla="*/ 17 h 19"/>
                  <a:gd name="T6" fmla="*/ 8 w 21"/>
                  <a:gd name="T7" fmla="*/ 6 h 19"/>
                  <a:gd name="T8" fmla="*/ 19 w 21"/>
                  <a:gd name="T9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9">
                    <a:moveTo>
                      <a:pt x="19" y="1"/>
                    </a:moveTo>
                    <a:cubicBezTo>
                      <a:pt x="21" y="3"/>
                      <a:pt x="18" y="8"/>
                      <a:pt x="13" y="12"/>
                    </a:cubicBezTo>
                    <a:cubicBezTo>
                      <a:pt x="8" y="17"/>
                      <a:pt x="3" y="19"/>
                      <a:pt x="1" y="17"/>
                    </a:cubicBezTo>
                    <a:cubicBezTo>
                      <a:pt x="0" y="15"/>
                      <a:pt x="3" y="10"/>
                      <a:pt x="8" y="6"/>
                    </a:cubicBezTo>
                    <a:cubicBezTo>
                      <a:pt x="12" y="2"/>
                      <a:pt x="18" y="0"/>
                      <a:pt x="19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78" name="Freeform 34">
                <a:extLst>
                  <a:ext uri="{FF2B5EF4-FFF2-40B4-BE49-F238E27FC236}">
                    <a16:creationId xmlns:a16="http://schemas.microsoft.com/office/drawing/2014/main" xmlns="" id="{06B5CDE2-6537-4208-A0DA-85E095892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8984" y="3494653"/>
                <a:ext cx="272741" cy="275969"/>
              </a:xfrm>
              <a:custGeom>
                <a:avLst/>
                <a:gdLst>
                  <a:gd name="T0" fmla="*/ 46 w 142"/>
                  <a:gd name="T1" fmla="*/ 14 h 143"/>
                  <a:gd name="T2" fmla="*/ 128 w 142"/>
                  <a:gd name="T3" fmla="*/ 46 h 143"/>
                  <a:gd name="T4" fmla="*/ 96 w 142"/>
                  <a:gd name="T5" fmla="*/ 129 h 143"/>
                  <a:gd name="T6" fmla="*/ 14 w 142"/>
                  <a:gd name="T7" fmla="*/ 96 h 143"/>
                  <a:gd name="T8" fmla="*/ 46 w 142"/>
                  <a:gd name="T9" fmla="*/ 14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43">
                    <a:moveTo>
                      <a:pt x="46" y="14"/>
                    </a:moveTo>
                    <a:cubicBezTo>
                      <a:pt x="77" y="0"/>
                      <a:pt x="115" y="14"/>
                      <a:pt x="128" y="46"/>
                    </a:cubicBezTo>
                    <a:cubicBezTo>
                      <a:pt x="142" y="78"/>
                      <a:pt x="128" y="115"/>
                      <a:pt x="96" y="129"/>
                    </a:cubicBezTo>
                    <a:cubicBezTo>
                      <a:pt x="65" y="143"/>
                      <a:pt x="28" y="128"/>
                      <a:pt x="14" y="96"/>
                    </a:cubicBezTo>
                    <a:cubicBezTo>
                      <a:pt x="0" y="65"/>
                      <a:pt x="14" y="28"/>
                      <a:pt x="46" y="1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79" name="Freeform 35">
                <a:extLst>
                  <a:ext uri="{FF2B5EF4-FFF2-40B4-BE49-F238E27FC236}">
                    <a16:creationId xmlns:a16="http://schemas.microsoft.com/office/drawing/2014/main" xmlns="" id="{98D8169B-11F8-4F3C-A5A8-8D3C1637E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3137" y="3572118"/>
                <a:ext cx="26629" cy="45995"/>
              </a:xfrm>
              <a:custGeom>
                <a:avLst/>
                <a:gdLst>
                  <a:gd name="T0" fmla="*/ 2 w 14"/>
                  <a:gd name="T1" fmla="*/ 1 h 24"/>
                  <a:gd name="T2" fmla="*/ 10 w 14"/>
                  <a:gd name="T3" fmla="*/ 10 h 24"/>
                  <a:gd name="T4" fmla="*/ 11 w 14"/>
                  <a:gd name="T5" fmla="*/ 23 h 24"/>
                  <a:gd name="T6" fmla="*/ 3 w 14"/>
                  <a:gd name="T7" fmla="*/ 14 h 24"/>
                  <a:gd name="T8" fmla="*/ 2 w 14"/>
                  <a:gd name="T9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4">
                    <a:moveTo>
                      <a:pt x="2" y="1"/>
                    </a:moveTo>
                    <a:cubicBezTo>
                      <a:pt x="4" y="0"/>
                      <a:pt x="8" y="4"/>
                      <a:pt x="10" y="10"/>
                    </a:cubicBezTo>
                    <a:cubicBezTo>
                      <a:pt x="13" y="16"/>
                      <a:pt x="14" y="22"/>
                      <a:pt x="11" y="23"/>
                    </a:cubicBezTo>
                    <a:cubicBezTo>
                      <a:pt x="9" y="24"/>
                      <a:pt x="6" y="20"/>
                      <a:pt x="3" y="14"/>
                    </a:cubicBezTo>
                    <a:cubicBezTo>
                      <a:pt x="0" y="8"/>
                      <a:pt x="0" y="2"/>
                      <a:pt x="2" y="1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0" name="Freeform 36">
                <a:extLst>
                  <a:ext uri="{FF2B5EF4-FFF2-40B4-BE49-F238E27FC236}">
                    <a16:creationId xmlns:a16="http://schemas.microsoft.com/office/drawing/2014/main" xmlns="" id="{DD2F5D98-ECFA-4A4B-B6D9-657431964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3881" y="3556786"/>
                <a:ext cx="272741" cy="273548"/>
              </a:xfrm>
              <a:custGeom>
                <a:avLst/>
                <a:gdLst>
                  <a:gd name="T0" fmla="*/ 122 w 142"/>
                  <a:gd name="T1" fmla="*/ 108 h 142"/>
                  <a:gd name="T2" fmla="*/ 34 w 142"/>
                  <a:gd name="T3" fmla="*/ 122 h 142"/>
                  <a:gd name="T4" fmla="*/ 20 w 142"/>
                  <a:gd name="T5" fmla="*/ 34 h 142"/>
                  <a:gd name="T6" fmla="*/ 108 w 142"/>
                  <a:gd name="T7" fmla="*/ 20 h 142"/>
                  <a:gd name="T8" fmla="*/ 122 w 142"/>
                  <a:gd name="T9" fmla="*/ 10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42">
                    <a:moveTo>
                      <a:pt x="122" y="108"/>
                    </a:moveTo>
                    <a:cubicBezTo>
                      <a:pt x="101" y="136"/>
                      <a:pt x="62" y="142"/>
                      <a:pt x="34" y="122"/>
                    </a:cubicBezTo>
                    <a:cubicBezTo>
                      <a:pt x="6" y="102"/>
                      <a:pt x="0" y="62"/>
                      <a:pt x="20" y="34"/>
                    </a:cubicBezTo>
                    <a:cubicBezTo>
                      <a:pt x="40" y="6"/>
                      <a:pt x="80" y="0"/>
                      <a:pt x="108" y="20"/>
                    </a:cubicBezTo>
                    <a:cubicBezTo>
                      <a:pt x="136" y="41"/>
                      <a:pt x="142" y="80"/>
                      <a:pt x="122" y="10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1" name="Freeform 37">
                <a:extLst>
                  <a:ext uri="{FF2B5EF4-FFF2-40B4-BE49-F238E27FC236}">
                    <a16:creationId xmlns:a16="http://schemas.microsoft.com/office/drawing/2014/main" xmlns="" id="{9197E6D2-EE99-42F4-B833-C39E46ECF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9242" y="3748835"/>
                <a:ext cx="41960" cy="34698"/>
              </a:xfrm>
              <a:custGeom>
                <a:avLst/>
                <a:gdLst>
                  <a:gd name="T0" fmla="*/ 20 w 22"/>
                  <a:gd name="T1" fmla="*/ 16 h 18"/>
                  <a:gd name="T2" fmla="*/ 8 w 22"/>
                  <a:gd name="T3" fmla="*/ 12 h 18"/>
                  <a:gd name="T4" fmla="*/ 1 w 22"/>
                  <a:gd name="T5" fmla="*/ 2 h 18"/>
                  <a:gd name="T6" fmla="*/ 13 w 22"/>
                  <a:gd name="T7" fmla="*/ 5 h 18"/>
                  <a:gd name="T8" fmla="*/ 20 w 22"/>
                  <a:gd name="T9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18">
                    <a:moveTo>
                      <a:pt x="20" y="16"/>
                    </a:moveTo>
                    <a:cubicBezTo>
                      <a:pt x="19" y="18"/>
                      <a:pt x="14" y="16"/>
                      <a:pt x="8" y="12"/>
                    </a:cubicBezTo>
                    <a:cubicBezTo>
                      <a:pt x="3" y="8"/>
                      <a:pt x="0" y="4"/>
                      <a:pt x="1" y="2"/>
                    </a:cubicBezTo>
                    <a:cubicBezTo>
                      <a:pt x="2" y="0"/>
                      <a:pt x="8" y="2"/>
                      <a:pt x="13" y="5"/>
                    </a:cubicBezTo>
                    <a:cubicBezTo>
                      <a:pt x="18" y="9"/>
                      <a:pt x="22" y="14"/>
                      <a:pt x="20" y="16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2" name="Freeform 38">
                <a:extLst>
                  <a:ext uri="{FF2B5EF4-FFF2-40B4-BE49-F238E27FC236}">
                    <a16:creationId xmlns:a16="http://schemas.microsoft.com/office/drawing/2014/main" xmlns="" id="{FB683DA6-5F7F-494A-8A01-8D19EF356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9964" y="3618113"/>
                <a:ext cx="269514" cy="269513"/>
              </a:xfrm>
              <a:custGeom>
                <a:avLst/>
                <a:gdLst>
                  <a:gd name="T0" fmla="*/ 117 w 140"/>
                  <a:gd name="T1" fmla="*/ 28 h 140"/>
                  <a:gd name="T2" fmla="*/ 112 w 140"/>
                  <a:gd name="T3" fmla="*/ 117 h 140"/>
                  <a:gd name="T4" fmla="*/ 23 w 140"/>
                  <a:gd name="T5" fmla="*/ 112 h 140"/>
                  <a:gd name="T6" fmla="*/ 28 w 140"/>
                  <a:gd name="T7" fmla="*/ 23 h 140"/>
                  <a:gd name="T8" fmla="*/ 117 w 140"/>
                  <a:gd name="T9" fmla="*/ 2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" h="140">
                    <a:moveTo>
                      <a:pt x="117" y="28"/>
                    </a:moveTo>
                    <a:cubicBezTo>
                      <a:pt x="140" y="54"/>
                      <a:pt x="138" y="94"/>
                      <a:pt x="112" y="117"/>
                    </a:cubicBezTo>
                    <a:cubicBezTo>
                      <a:pt x="86" y="140"/>
                      <a:pt x="46" y="138"/>
                      <a:pt x="23" y="112"/>
                    </a:cubicBezTo>
                    <a:cubicBezTo>
                      <a:pt x="0" y="86"/>
                      <a:pt x="2" y="46"/>
                      <a:pt x="28" y="23"/>
                    </a:cubicBezTo>
                    <a:cubicBezTo>
                      <a:pt x="54" y="0"/>
                      <a:pt x="94" y="2"/>
                      <a:pt x="117" y="28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3" name="Freeform 39">
                <a:extLst>
                  <a:ext uri="{FF2B5EF4-FFF2-40B4-BE49-F238E27FC236}">
                    <a16:creationId xmlns:a16="http://schemas.microsoft.com/office/drawing/2014/main" xmlns="" id="{FC624510-A1F1-4D05-9F65-6499E016A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5067" y="3798864"/>
                <a:ext cx="40346" cy="37119"/>
              </a:xfrm>
              <a:custGeom>
                <a:avLst/>
                <a:gdLst>
                  <a:gd name="T0" fmla="*/ 19 w 21"/>
                  <a:gd name="T1" fmla="*/ 2 h 19"/>
                  <a:gd name="T2" fmla="*/ 13 w 21"/>
                  <a:gd name="T3" fmla="*/ 13 h 19"/>
                  <a:gd name="T4" fmla="*/ 1 w 21"/>
                  <a:gd name="T5" fmla="*/ 17 h 19"/>
                  <a:gd name="T6" fmla="*/ 8 w 21"/>
                  <a:gd name="T7" fmla="*/ 6 h 19"/>
                  <a:gd name="T8" fmla="*/ 19 w 21"/>
                  <a:gd name="T9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9">
                    <a:moveTo>
                      <a:pt x="19" y="2"/>
                    </a:moveTo>
                    <a:cubicBezTo>
                      <a:pt x="21" y="3"/>
                      <a:pt x="18" y="8"/>
                      <a:pt x="13" y="13"/>
                    </a:cubicBezTo>
                    <a:cubicBezTo>
                      <a:pt x="8" y="17"/>
                      <a:pt x="3" y="19"/>
                      <a:pt x="1" y="17"/>
                    </a:cubicBezTo>
                    <a:cubicBezTo>
                      <a:pt x="0" y="16"/>
                      <a:pt x="3" y="11"/>
                      <a:pt x="8" y="6"/>
                    </a:cubicBezTo>
                    <a:cubicBezTo>
                      <a:pt x="12" y="2"/>
                      <a:pt x="18" y="0"/>
                      <a:pt x="19" y="2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4" name="Freeform 40">
                <a:extLst>
                  <a:ext uri="{FF2B5EF4-FFF2-40B4-BE49-F238E27FC236}">
                    <a16:creationId xmlns:a16="http://schemas.microsoft.com/office/drawing/2014/main" xmlns="" id="{378DF95A-186D-4669-99B6-B77CE2688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3910" y="3772236"/>
                <a:ext cx="261444" cy="262251"/>
              </a:xfrm>
              <a:custGeom>
                <a:avLst/>
                <a:gdLst>
                  <a:gd name="T0" fmla="*/ 80 w 136"/>
                  <a:gd name="T1" fmla="*/ 130 h 136"/>
                  <a:gd name="T2" fmla="*/ 6 w 136"/>
                  <a:gd name="T3" fmla="*/ 80 h 136"/>
                  <a:gd name="T4" fmla="*/ 56 w 136"/>
                  <a:gd name="T5" fmla="*/ 6 h 136"/>
                  <a:gd name="T6" fmla="*/ 130 w 136"/>
                  <a:gd name="T7" fmla="*/ 56 h 136"/>
                  <a:gd name="T8" fmla="*/ 80 w 136"/>
                  <a:gd name="T9" fmla="*/ 13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" h="136">
                    <a:moveTo>
                      <a:pt x="80" y="130"/>
                    </a:moveTo>
                    <a:cubicBezTo>
                      <a:pt x="46" y="136"/>
                      <a:pt x="13" y="114"/>
                      <a:pt x="6" y="80"/>
                    </a:cubicBezTo>
                    <a:cubicBezTo>
                      <a:pt x="0" y="46"/>
                      <a:pt x="22" y="13"/>
                      <a:pt x="56" y="6"/>
                    </a:cubicBezTo>
                    <a:cubicBezTo>
                      <a:pt x="90" y="0"/>
                      <a:pt x="123" y="22"/>
                      <a:pt x="130" y="56"/>
                    </a:cubicBezTo>
                    <a:cubicBezTo>
                      <a:pt x="136" y="90"/>
                      <a:pt x="114" y="123"/>
                      <a:pt x="80" y="130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F6803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085" name="Freeform 41">
                <a:extLst>
                  <a:ext uri="{FF2B5EF4-FFF2-40B4-BE49-F238E27FC236}">
                    <a16:creationId xmlns:a16="http://schemas.microsoft.com/office/drawing/2014/main" xmlns="" id="{ABBF6590-5BED-481E-967B-02875C195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8608" y="3897309"/>
                <a:ext cx="20980" cy="48416"/>
              </a:xfrm>
              <a:custGeom>
                <a:avLst/>
                <a:gdLst>
                  <a:gd name="T0" fmla="*/ 7 w 11"/>
                  <a:gd name="T1" fmla="*/ 24 h 25"/>
                  <a:gd name="T2" fmla="*/ 1 w 11"/>
                  <a:gd name="T3" fmla="*/ 13 h 25"/>
                  <a:gd name="T4" fmla="*/ 3 w 11"/>
                  <a:gd name="T5" fmla="*/ 1 h 25"/>
                  <a:gd name="T6" fmla="*/ 9 w 11"/>
                  <a:gd name="T7" fmla="*/ 12 h 25"/>
                  <a:gd name="T8" fmla="*/ 7 w 11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5">
                    <a:moveTo>
                      <a:pt x="7" y="24"/>
                    </a:moveTo>
                    <a:cubicBezTo>
                      <a:pt x="5" y="25"/>
                      <a:pt x="2" y="20"/>
                      <a:pt x="1" y="13"/>
                    </a:cubicBezTo>
                    <a:cubicBezTo>
                      <a:pt x="0" y="7"/>
                      <a:pt x="1" y="1"/>
                      <a:pt x="3" y="1"/>
                    </a:cubicBezTo>
                    <a:cubicBezTo>
                      <a:pt x="5" y="0"/>
                      <a:pt x="8" y="5"/>
                      <a:pt x="9" y="12"/>
                    </a:cubicBezTo>
                    <a:cubicBezTo>
                      <a:pt x="11" y="18"/>
                      <a:pt x="10" y="24"/>
                      <a:pt x="7" y="24"/>
                    </a:cubicBezTo>
                    <a:close/>
                  </a:path>
                </a:pathLst>
              </a:custGeom>
              <a:grpFill/>
              <a:ln w="9525">
                <a:solidFill>
                  <a:srgbClr val="FF680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>
                  <a:defRPr/>
                </a:pPr>
                <a:endParaRPr lang="en-GB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sp>
          <p:nvSpPr>
            <p:cNvPr id="1086" name="Arrow: Left 1085">
              <a:extLst>
                <a:ext uri="{FF2B5EF4-FFF2-40B4-BE49-F238E27FC236}">
                  <a16:creationId xmlns:a16="http://schemas.microsoft.com/office/drawing/2014/main" xmlns="" id="{5B53673E-7009-48A3-80C1-985B8C36EF6B}"/>
                </a:ext>
              </a:extLst>
            </p:cNvPr>
            <p:cNvSpPr/>
            <p:nvPr/>
          </p:nvSpPr>
          <p:spPr>
            <a:xfrm>
              <a:off x="8257147" y="5419201"/>
              <a:ext cx="1580891" cy="199147"/>
            </a:xfrm>
            <a:prstGeom prst="leftArrow">
              <a:avLst>
                <a:gd name="adj1" fmla="val 50000"/>
                <a:gd name="adj2" fmla="val 75509"/>
              </a:avLst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87" name="TextBox 1086">
              <a:extLst>
                <a:ext uri="{FF2B5EF4-FFF2-40B4-BE49-F238E27FC236}">
                  <a16:creationId xmlns:a16="http://schemas.microsoft.com/office/drawing/2014/main" xmlns="" id="{50FE8680-F66B-4227-B820-D306DF96AA6F}"/>
                </a:ext>
              </a:extLst>
            </p:cNvPr>
            <p:cNvSpPr txBox="1"/>
            <p:nvPr/>
          </p:nvSpPr>
          <p:spPr>
            <a:xfrm>
              <a:off x="7118592" y="5780742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Liver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88" name="TextBox 1087">
              <a:extLst>
                <a:ext uri="{FF2B5EF4-FFF2-40B4-BE49-F238E27FC236}">
                  <a16:creationId xmlns:a16="http://schemas.microsoft.com/office/drawing/2014/main" xmlns="" id="{A4F21DE4-6896-49E0-A0AB-2FD26BA09F04}"/>
                </a:ext>
              </a:extLst>
            </p:cNvPr>
            <p:cNvSpPr txBox="1"/>
            <p:nvPr/>
          </p:nvSpPr>
          <p:spPr>
            <a:xfrm>
              <a:off x="5730802" y="5809643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ancreas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89" name="TextBox 1088">
              <a:extLst>
                <a:ext uri="{FF2B5EF4-FFF2-40B4-BE49-F238E27FC236}">
                  <a16:creationId xmlns:a16="http://schemas.microsoft.com/office/drawing/2014/main" xmlns="" id="{5B97EC7C-9C38-4218-8ADB-E269BFE72B8D}"/>
                </a:ext>
              </a:extLst>
            </p:cNvPr>
            <p:cNvSpPr txBox="1"/>
            <p:nvPr/>
          </p:nvSpPr>
          <p:spPr>
            <a:xfrm>
              <a:off x="3081831" y="5628291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Adipose tissue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0" name="TextBox 1089">
              <a:extLst>
                <a:ext uri="{FF2B5EF4-FFF2-40B4-BE49-F238E27FC236}">
                  <a16:creationId xmlns:a16="http://schemas.microsoft.com/office/drawing/2014/main" xmlns="" id="{25865F84-5612-426C-B819-2AF711D742A5}"/>
                </a:ext>
              </a:extLst>
            </p:cNvPr>
            <p:cNvSpPr txBox="1"/>
            <p:nvPr/>
          </p:nvSpPr>
          <p:spPr>
            <a:xfrm>
              <a:off x="10963617" y="5358238"/>
              <a:ext cx="913931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Small intestine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1" name="TextBox 1090">
              <a:extLst>
                <a:ext uri="{FF2B5EF4-FFF2-40B4-BE49-F238E27FC236}">
                  <a16:creationId xmlns:a16="http://schemas.microsoft.com/office/drawing/2014/main" xmlns="" id="{062EE6BC-EE75-4001-B8E9-4B241FF51DD1}"/>
                </a:ext>
              </a:extLst>
            </p:cNvPr>
            <p:cNvSpPr txBox="1"/>
            <p:nvPr/>
          </p:nvSpPr>
          <p:spPr>
            <a:xfrm>
              <a:off x="10889988" y="3472352"/>
              <a:ext cx="923581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991118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Stomach</a:t>
              </a:r>
              <a:endParaRPr lang="en-US" sz="1067" dirty="0">
                <a:solidFill>
                  <a:srgbClr val="991118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2" name="Rectangle: Rounded Corners 1091">
              <a:extLst>
                <a:ext uri="{FF2B5EF4-FFF2-40B4-BE49-F238E27FC236}">
                  <a16:creationId xmlns:a16="http://schemas.microsoft.com/office/drawing/2014/main" xmlns="" id="{8D565B4B-F8B3-4206-B698-72F3DA111531}"/>
                </a:ext>
              </a:extLst>
            </p:cNvPr>
            <p:cNvSpPr/>
            <p:nvPr/>
          </p:nvSpPr>
          <p:spPr>
            <a:xfrm>
              <a:off x="3428865" y="4438026"/>
              <a:ext cx="604521" cy="237181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HO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3" name="Rectangle: Rounded Corners 1092">
              <a:extLst>
                <a:ext uri="{FF2B5EF4-FFF2-40B4-BE49-F238E27FC236}">
                  <a16:creationId xmlns:a16="http://schemas.microsoft.com/office/drawing/2014/main" xmlns="" id="{DF1433CB-2BD4-4AA4-99B4-54E242EE1E0F}"/>
                </a:ext>
              </a:extLst>
            </p:cNvPr>
            <p:cNvSpPr/>
            <p:nvPr/>
          </p:nvSpPr>
          <p:spPr>
            <a:xfrm>
              <a:off x="3428865" y="4707980"/>
              <a:ext cx="604521" cy="237181"/>
            </a:xfrm>
            <a:prstGeom prst="roundRect">
              <a:avLst/>
            </a:prstGeom>
            <a:solidFill>
              <a:srgbClr val="EAAB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Fat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4" name="Rectangle: Rounded Corners 1093">
              <a:extLst>
                <a:ext uri="{FF2B5EF4-FFF2-40B4-BE49-F238E27FC236}">
                  <a16:creationId xmlns:a16="http://schemas.microsoft.com/office/drawing/2014/main" xmlns="" id="{268CDCD7-33CF-4980-8EE5-0D210BF7F0C6}"/>
                </a:ext>
              </a:extLst>
            </p:cNvPr>
            <p:cNvSpPr/>
            <p:nvPr/>
          </p:nvSpPr>
          <p:spPr>
            <a:xfrm>
              <a:off x="3428865" y="4974892"/>
              <a:ext cx="604521" cy="237181"/>
            </a:xfrm>
            <a:prstGeom prst="roundRect">
              <a:avLst/>
            </a:prstGeom>
            <a:solidFill>
              <a:srgbClr val="3F9C35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rotein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095" name="Connector: Elbow 1094">
              <a:extLst>
                <a:ext uri="{FF2B5EF4-FFF2-40B4-BE49-F238E27FC236}">
                  <a16:creationId xmlns:a16="http://schemas.microsoft.com/office/drawing/2014/main" xmlns="" id="{EA13A864-659C-4371-A597-E1FF62D4BDD9}"/>
                </a:ext>
              </a:extLst>
            </p:cNvPr>
            <p:cNvCxnSpPr>
              <a:cxnSpLocks/>
              <a:stCxn id="1092" idx="3"/>
              <a:endCxn id="816" idx="0"/>
            </p:cNvCxnSpPr>
            <p:nvPr/>
          </p:nvCxnSpPr>
          <p:spPr>
            <a:xfrm>
              <a:off x="4033386" y="4556616"/>
              <a:ext cx="198297" cy="327651"/>
            </a:xfrm>
            <a:prstGeom prst="bentConnector2">
              <a:avLst/>
            </a:prstGeom>
            <a:noFill/>
            <a:ln w="15875" cap="flat" cmpd="sng" algn="ctr">
              <a:solidFill>
                <a:srgbClr val="C00000"/>
              </a:solidFill>
              <a:prstDash val="solid"/>
            </a:ln>
            <a:effectLst/>
          </p:spPr>
        </p:cxnSp>
        <p:cxnSp>
          <p:nvCxnSpPr>
            <p:cNvPr id="1096" name="Connector: Elbow 1095">
              <a:extLst>
                <a:ext uri="{FF2B5EF4-FFF2-40B4-BE49-F238E27FC236}">
                  <a16:creationId xmlns:a16="http://schemas.microsoft.com/office/drawing/2014/main" xmlns="" id="{FB17F1A4-DBB8-42AB-AEC5-49ED43104470}"/>
                </a:ext>
              </a:extLst>
            </p:cNvPr>
            <p:cNvCxnSpPr>
              <a:cxnSpLocks/>
              <a:stCxn id="1094" idx="3"/>
              <a:endCxn id="816" idx="2"/>
            </p:cNvCxnSpPr>
            <p:nvPr/>
          </p:nvCxnSpPr>
          <p:spPr>
            <a:xfrm flipV="1">
              <a:off x="4033386" y="5002858"/>
              <a:ext cx="56524" cy="90625"/>
            </a:xfrm>
            <a:prstGeom prst="bentConnector3">
              <a:avLst>
                <a:gd name="adj1" fmla="val 50000"/>
              </a:avLst>
            </a:prstGeom>
            <a:noFill/>
            <a:ln w="15875" cap="flat" cmpd="sng" algn="ctr">
              <a:solidFill>
                <a:srgbClr val="3F9C35"/>
              </a:solidFill>
              <a:prstDash val="solid"/>
            </a:ln>
            <a:effectLst/>
          </p:spPr>
        </p:cxnSp>
        <p:cxnSp>
          <p:nvCxnSpPr>
            <p:cNvPr id="1097" name="Connector: Elbow 1096">
              <a:extLst>
                <a:ext uri="{FF2B5EF4-FFF2-40B4-BE49-F238E27FC236}">
                  <a16:creationId xmlns:a16="http://schemas.microsoft.com/office/drawing/2014/main" xmlns="" id="{F6AB68EC-015F-473B-8A66-D9AEDB64634E}"/>
                </a:ext>
              </a:extLst>
            </p:cNvPr>
            <p:cNvCxnSpPr>
              <a:cxnSpLocks/>
              <a:stCxn id="1093" idx="3"/>
              <a:endCxn id="816" idx="1"/>
            </p:cNvCxnSpPr>
            <p:nvPr/>
          </p:nvCxnSpPr>
          <p:spPr>
            <a:xfrm>
              <a:off x="4033385" y="4826571"/>
              <a:ext cx="98048" cy="92431"/>
            </a:xfrm>
            <a:prstGeom prst="bentConnector2">
              <a:avLst/>
            </a:prstGeom>
            <a:noFill/>
            <a:ln w="15875" cap="flat" cmpd="sng" algn="ctr">
              <a:solidFill>
                <a:srgbClr val="EAAB00"/>
              </a:solidFill>
              <a:prstDash val="solid"/>
            </a:ln>
            <a:effectLst/>
          </p:spPr>
        </p:cxnSp>
        <p:sp>
          <p:nvSpPr>
            <p:cNvPr id="1098" name="Arrow: Left 1097">
              <a:extLst>
                <a:ext uri="{FF2B5EF4-FFF2-40B4-BE49-F238E27FC236}">
                  <a16:creationId xmlns:a16="http://schemas.microsoft.com/office/drawing/2014/main" xmlns="" id="{26D88DE2-21A7-4CD9-B3B0-8CEA1D6D0AAB}"/>
                </a:ext>
              </a:extLst>
            </p:cNvPr>
            <p:cNvSpPr/>
            <p:nvPr/>
          </p:nvSpPr>
          <p:spPr>
            <a:xfrm rot="3198020">
              <a:off x="2557753" y="3736920"/>
              <a:ext cx="1777393" cy="216477"/>
            </a:xfrm>
            <a:prstGeom prst="leftArrow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099" name="Arrow: Left 1098">
              <a:extLst>
                <a:ext uri="{FF2B5EF4-FFF2-40B4-BE49-F238E27FC236}">
                  <a16:creationId xmlns:a16="http://schemas.microsoft.com/office/drawing/2014/main" xmlns="" id="{3306D185-430D-454E-8A86-D9591EA002A7}"/>
                </a:ext>
              </a:extLst>
            </p:cNvPr>
            <p:cNvSpPr/>
            <p:nvPr/>
          </p:nvSpPr>
          <p:spPr>
            <a:xfrm rot="5400000">
              <a:off x="3596261" y="4065654"/>
              <a:ext cx="645156" cy="216477"/>
            </a:xfrm>
            <a:prstGeom prst="leftArrow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0" name="Arrow: Left 1099">
              <a:extLst>
                <a:ext uri="{FF2B5EF4-FFF2-40B4-BE49-F238E27FC236}">
                  <a16:creationId xmlns:a16="http://schemas.microsoft.com/office/drawing/2014/main" xmlns="" id="{8576F3AC-7F22-4660-955B-E3281D86914D}"/>
                </a:ext>
              </a:extLst>
            </p:cNvPr>
            <p:cNvSpPr/>
            <p:nvPr/>
          </p:nvSpPr>
          <p:spPr>
            <a:xfrm rot="5400000">
              <a:off x="2988244" y="3208780"/>
              <a:ext cx="422349" cy="216477"/>
            </a:xfrm>
            <a:prstGeom prst="leftArrow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1" name="Arrow: Left 1100">
              <a:extLst>
                <a:ext uri="{FF2B5EF4-FFF2-40B4-BE49-F238E27FC236}">
                  <a16:creationId xmlns:a16="http://schemas.microsoft.com/office/drawing/2014/main" xmlns="" id="{070DD60E-86D5-4009-BACB-CDEB0D178051}"/>
                </a:ext>
              </a:extLst>
            </p:cNvPr>
            <p:cNvSpPr/>
            <p:nvPr/>
          </p:nvSpPr>
          <p:spPr>
            <a:xfrm rot="5400000">
              <a:off x="2767866" y="3067819"/>
              <a:ext cx="1501589" cy="216477"/>
            </a:xfrm>
            <a:prstGeom prst="leftArrow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2" name="Arrow: Left 1101">
              <a:extLst>
                <a:ext uri="{FF2B5EF4-FFF2-40B4-BE49-F238E27FC236}">
                  <a16:creationId xmlns:a16="http://schemas.microsoft.com/office/drawing/2014/main" xmlns="" id="{71315B01-070C-4269-841F-05EDB1374A78}"/>
                </a:ext>
              </a:extLst>
            </p:cNvPr>
            <p:cNvSpPr/>
            <p:nvPr/>
          </p:nvSpPr>
          <p:spPr>
            <a:xfrm>
              <a:off x="4196944" y="4100905"/>
              <a:ext cx="5217200" cy="199147"/>
            </a:xfrm>
            <a:prstGeom prst="leftArrow">
              <a:avLst>
                <a:gd name="adj1" fmla="val 50000"/>
                <a:gd name="adj2" fmla="val 75509"/>
              </a:avLst>
            </a:prstGeom>
            <a:solidFill>
              <a:srgbClr val="BFBFBF"/>
            </a:solidFill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3" name="Arrow: Bent 1102">
              <a:extLst>
                <a:ext uri="{FF2B5EF4-FFF2-40B4-BE49-F238E27FC236}">
                  <a16:creationId xmlns:a16="http://schemas.microsoft.com/office/drawing/2014/main" xmlns="" id="{93F4D1EB-55E9-4D65-98E2-45F2464EC225}"/>
                </a:ext>
              </a:extLst>
            </p:cNvPr>
            <p:cNvSpPr/>
            <p:nvPr/>
          </p:nvSpPr>
          <p:spPr>
            <a:xfrm rot="16200000">
              <a:off x="3621314" y="3559207"/>
              <a:ext cx="373073" cy="1015516"/>
            </a:xfrm>
            <a:prstGeom prst="bentArrow">
              <a:avLst>
                <a:gd name="adj1" fmla="val 23252"/>
                <a:gd name="adj2" fmla="val 24673"/>
                <a:gd name="adj3" fmla="val 35767"/>
                <a:gd name="adj4" fmla="val 32352"/>
              </a:avLst>
            </a:prstGeom>
            <a:solidFill>
              <a:srgbClr val="BFBFBF"/>
            </a:solidFill>
            <a:ln w="9525" cap="flat" cmpd="sng" algn="ctr">
              <a:noFill/>
              <a:prstDash val="sysDot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4" name="Rectangle: Rounded Corners 1103">
              <a:extLst>
                <a:ext uri="{FF2B5EF4-FFF2-40B4-BE49-F238E27FC236}">
                  <a16:creationId xmlns:a16="http://schemas.microsoft.com/office/drawing/2014/main" xmlns="" id="{80934AA3-69C9-41FD-AAA0-FD7487DFA0A3}"/>
                </a:ext>
              </a:extLst>
            </p:cNvPr>
            <p:cNvSpPr/>
            <p:nvPr/>
          </p:nvSpPr>
          <p:spPr>
            <a:xfrm>
              <a:off x="7085073" y="4919654"/>
              <a:ext cx="604521" cy="237181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HO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5" name="Rectangle: Rounded Corners 1104">
              <a:extLst>
                <a:ext uri="{FF2B5EF4-FFF2-40B4-BE49-F238E27FC236}">
                  <a16:creationId xmlns:a16="http://schemas.microsoft.com/office/drawing/2014/main" xmlns="" id="{D931CF10-2EE0-4761-AD1A-D02756467EE6}"/>
                </a:ext>
              </a:extLst>
            </p:cNvPr>
            <p:cNvSpPr/>
            <p:nvPr/>
          </p:nvSpPr>
          <p:spPr>
            <a:xfrm>
              <a:off x="8545068" y="4929579"/>
              <a:ext cx="604521" cy="237181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CA" sz="933" kern="0" dirty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HO</a:t>
              </a:r>
              <a:endParaRPr lang="en-US" sz="933" kern="0" dirty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06" name="TextBox 1105">
              <a:extLst>
                <a:ext uri="{FF2B5EF4-FFF2-40B4-BE49-F238E27FC236}">
                  <a16:creationId xmlns:a16="http://schemas.microsoft.com/office/drawing/2014/main" xmlns="" id="{A45E6A77-26E8-44CF-9E79-FAFEE168063A}"/>
                </a:ext>
              </a:extLst>
            </p:cNvPr>
            <p:cNvSpPr txBox="1"/>
            <p:nvPr/>
          </p:nvSpPr>
          <p:spPr>
            <a:xfrm>
              <a:off x="6053303" y="3839093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 err="1">
                  <a:solidFill>
                    <a:schemeClr val="tx2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Vagus</a:t>
              </a:r>
              <a:r>
                <a:rPr lang="en-CA" sz="1067" dirty="0">
                  <a:solidFill>
                    <a:schemeClr val="tx2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 nerve</a:t>
              </a:r>
              <a:endParaRPr lang="en-US" sz="1067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107" name="Straight Connector 1106">
              <a:extLst>
                <a:ext uri="{FF2B5EF4-FFF2-40B4-BE49-F238E27FC236}">
                  <a16:creationId xmlns:a16="http://schemas.microsoft.com/office/drawing/2014/main" xmlns="" id="{75E5F5E8-E973-4B56-BF7F-9B7C2D81AE58}"/>
                </a:ext>
              </a:extLst>
            </p:cNvPr>
            <p:cNvCxnSpPr>
              <a:cxnSpLocks/>
            </p:cNvCxnSpPr>
            <p:nvPr/>
          </p:nvCxnSpPr>
          <p:spPr>
            <a:xfrm>
              <a:off x="7387332" y="5167976"/>
              <a:ext cx="0" cy="379256"/>
            </a:xfrm>
            <a:prstGeom prst="line">
              <a:avLst/>
            </a:prstGeom>
            <a:noFill/>
            <a:ln w="15875" cap="flat" cmpd="sng" algn="ctr">
              <a:solidFill>
                <a:srgbClr val="C00000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08" name="Straight Connector 1107">
              <a:extLst>
                <a:ext uri="{FF2B5EF4-FFF2-40B4-BE49-F238E27FC236}">
                  <a16:creationId xmlns:a16="http://schemas.microsoft.com/office/drawing/2014/main" xmlns="" id="{DFCF279C-07CA-46F0-8F8D-2DCD0468DD35}"/>
                </a:ext>
              </a:extLst>
            </p:cNvPr>
            <p:cNvCxnSpPr>
              <a:cxnSpLocks/>
            </p:cNvCxnSpPr>
            <p:nvPr/>
          </p:nvCxnSpPr>
          <p:spPr>
            <a:xfrm>
              <a:off x="8840408" y="5177126"/>
              <a:ext cx="0" cy="441223"/>
            </a:xfrm>
            <a:prstGeom prst="line">
              <a:avLst/>
            </a:prstGeom>
            <a:noFill/>
            <a:ln w="15875" cap="flat" cmpd="sng" algn="ctr">
              <a:solidFill>
                <a:srgbClr val="C00000"/>
              </a:solidFill>
              <a:prstDash val="solid"/>
              <a:headEnd type="oval"/>
              <a:tailEnd type="oval"/>
            </a:ln>
            <a:effectLst/>
          </p:spPr>
        </p:cxnSp>
        <p:grpSp>
          <p:nvGrpSpPr>
            <p:cNvPr id="1109" name="Group 1108">
              <a:extLst>
                <a:ext uri="{FF2B5EF4-FFF2-40B4-BE49-F238E27FC236}">
                  <a16:creationId xmlns:a16="http://schemas.microsoft.com/office/drawing/2014/main" xmlns="" id="{35ACAACB-7F67-436B-887E-8E47E0A27688}"/>
                </a:ext>
              </a:extLst>
            </p:cNvPr>
            <p:cNvGrpSpPr/>
            <p:nvPr/>
          </p:nvGrpSpPr>
          <p:grpSpPr>
            <a:xfrm>
              <a:off x="10522339" y="4528147"/>
              <a:ext cx="923581" cy="1079596"/>
              <a:chOff x="7595052" y="3597037"/>
              <a:chExt cx="704239" cy="823202"/>
            </a:xfrm>
          </p:grpSpPr>
          <p:sp>
            <p:nvSpPr>
              <p:cNvPr id="1110" name="Freeform 18">
                <a:extLst>
                  <a:ext uri="{FF2B5EF4-FFF2-40B4-BE49-F238E27FC236}">
                    <a16:creationId xmlns:a16="http://schemas.microsoft.com/office/drawing/2014/main" xmlns="" id="{099E501B-F64B-40D1-8238-7D746D90F62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95052" y="3648636"/>
                <a:ext cx="704239" cy="771603"/>
              </a:xfrm>
              <a:custGeom>
                <a:avLst/>
                <a:gdLst>
                  <a:gd name="T0" fmla="*/ 308 w 751"/>
                  <a:gd name="T1" fmla="*/ 263 h 823"/>
                  <a:gd name="T2" fmla="*/ 133 w 751"/>
                  <a:gd name="T3" fmla="*/ 201 h 823"/>
                  <a:gd name="T4" fmla="*/ 133 w 751"/>
                  <a:gd name="T5" fmla="*/ 326 h 823"/>
                  <a:gd name="T6" fmla="*/ 170 w 751"/>
                  <a:gd name="T7" fmla="*/ 450 h 823"/>
                  <a:gd name="T8" fmla="*/ 228 w 751"/>
                  <a:gd name="T9" fmla="*/ 447 h 823"/>
                  <a:gd name="T10" fmla="*/ 446 w 751"/>
                  <a:gd name="T11" fmla="*/ 447 h 823"/>
                  <a:gd name="T12" fmla="*/ 191 w 751"/>
                  <a:gd name="T13" fmla="*/ 383 h 823"/>
                  <a:gd name="T14" fmla="*/ 477 w 751"/>
                  <a:gd name="T15" fmla="*/ 312 h 823"/>
                  <a:gd name="T16" fmla="*/ 359 w 751"/>
                  <a:gd name="T17" fmla="*/ 285 h 823"/>
                  <a:gd name="T18" fmla="*/ 502 w 751"/>
                  <a:gd name="T19" fmla="*/ 268 h 823"/>
                  <a:gd name="T20" fmla="*/ 461 w 751"/>
                  <a:gd name="T21" fmla="*/ 383 h 823"/>
                  <a:gd name="T22" fmla="*/ 425 w 751"/>
                  <a:gd name="T23" fmla="*/ 382 h 823"/>
                  <a:gd name="T24" fmla="*/ 308 w 751"/>
                  <a:gd name="T25" fmla="*/ 451 h 823"/>
                  <a:gd name="T26" fmla="*/ 173 w 751"/>
                  <a:gd name="T27" fmla="*/ 505 h 823"/>
                  <a:gd name="T28" fmla="*/ 223 w 751"/>
                  <a:gd name="T29" fmla="*/ 592 h 823"/>
                  <a:gd name="T30" fmla="*/ 41 w 751"/>
                  <a:gd name="T31" fmla="*/ 509 h 823"/>
                  <a:gd name="T32" fmla="*/ 19 w 751"/>
                  <a:gd name="T33" fmla="*/ 349 h 823"/>
                  <a:gd name="T34" fmla="*/ 16 w 751"/>
                  <a:gd name="T35" fmla="*/ 182 h 823"/>
                  <a:gd name="T36" fmla="*/ 78 w 751"/>
                  <a:gd name="T37" fmla="*/ 54 h 823"/>
                  <a:gd name="T38" fmla="*/ 268 w 751"/>
                  <a:gd name="T39" fmla="*/ 126 h 823"/>
                  <a:gd name="T40" fmla="*/ 417 w 751"/>
                  <a:gd name="T41" fmla="*/ 157 h 823"/>
                  <a:gd name="T42" fmla="*/ 548 w 751"/>
                  <a:gd name="T43" fmla="*/ 107 h 823"/>
                  <a:gd name="T44" fmla="*/ 693 w 751"/>
                  <a:gd name="T45" fmla="*/ 57 h 823"/>
                  <a:gd name="T46" fmla="*/ 709 w 751"/>
                  <a:gd name="T47" fmla="*/ 204 h 823"/>
                  <a:gd name="T48" fmla="*/ 678 w 751"/>
                  <a:gd name="T49" fmla="*/ 375 h 823"/>
                  <a:gd name="T50" fmla="*/ 642 w 751"/>
                  <a:gd name="T51" fmla="*/ 569 h 823"/>
                  <a:gd name="T52" fmla="*/ 500 w 751"/>
                  <a:gd name="T53" fmla="*/ 711 h 823"/>
                  <a:gd name="T54" fmla="*/ 369 w 751"/>
                  <a:gd name="T55" fmla="*/ 823 h 823"/>
                  <a:gd name="T56" fmla="*/ 293 w 751"/>
                  <a:gd name="T57" fmla="*/ 729 h 823"/>
                  <a:gd name="T58" fmla="*/ 349 w 751"/>
                  <a:gd name="T59" fmla="*/ 559 h 823"/>
                  <a:gd name="T60" fmla="*/ 488 w 751"/>
                  <a:gd name="T61" fmla="*/ 599 h 823"/>
                  <a:gd name="T62" fmla="*/ 564 w 751"/>
                  <a:gd name="T63" fmla="*/ 456 h 823"/>
                  <a:gd name="T64" fmla="*/ 594 w 751"/>
                  <a:gd name="T65" fmla="*/ 267 h 823"/>
                  <a:gd name="T66" fmla="*/ 579 w 751"/>
                  <a:gd name="T67" fmla="*/ 241 h 823"/>
                  <a:gd name="T68" fmla="*/ 502 w 751"/>
                  <a:gd name="T69" fmla="*/ 268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51" h="823">
                    <a:moveTo>
                      <a:pt x="359" y="285"/>
                    </a:moveTo>
                    <a:cubicBezTo>
                      <a:pt x="330" y="282"/>
                      <a:pt x="305" y="271"/>
                      <a:pt x="308" y="263"/>
                    </a:cubicBezTo>
                    <a:cubicBezTo>
                      <a:pt x="295" y="278"/>
                      <a:pt x="210" y="266"/>
                      <a:pt x="209" y="228"/>
                    </a:cubicBezTo>
                    <a:cubicBezTo>
                      <a:pt x="172" y="243"/>
                      <a:pt x="142" y="211"/>
                      <a:pt x="133" y="201"/>
                    </a:cubicBezTo>
                    <a:cubicBezTo>
                      <a:pt x="138" y="223"/>
                      <a:pt x="134" y="245"/>
                      <a:pt x="127" y="247"/>
                    </a:cubicBezTo>
                    <a:cubicBezTo>
                      <a:pt x="146" y="252"/>
                      <a:pt x="145" y="319"/>
                      <a:pt x="133" y="326"/>
                    </a:cubicBezTo>
                    <a:cubicBezTo>
                      <a:pt x="146" y="334"/>
                      <a:pt x="157" y="392"/>
                      <a:pt x="148" y="410"/>
                    </a:cubicBezTo>
                    <a:cubicBezTo>
                      <a:pt x="173" y="422"/>
                      <a:pt x="170" y="450"/>
                      <a:pt x="170" y="450"/>
                    </a:cubicBezTo>
                    <a:cubicBezTo>
                      <a:pt x="192" y="444"/>
                      <a:pt x="212" y="443"/>
                      <a:pt x="229" y="449"/>
                    </a:cubicBezTo>
                    <a:cubicBezTo>
                      <a:pt x="228" y="447"/>
                      <a:pt x="228" y="447"/>
                      <a:pt x="228" y="447"/>
                    </a:cubicBezTo>
                    <a:cubicBezTo>
                      <a:pt x="201" y="348"/>
                      <a:pt x="386" y="396"/>
                      <a:pt x="402" y="507"/>
                    </a:cubicBezTo>
                    <a:cubicBezTo>
                      <a:pt x="382" y="439"/>
                      <a:pt x="449" y="455"/>
                      <a:pt x="446" y="447"/>
                    </a:cubicBezTo>
                    <a:cubicBezTo>
                      <a:pt x="368" y="467"/>
                      <a:pt x="347" y="409"/>
                      <a:pt x="294" y="393"/>
                    </a:cubicBezTo>
                    <a:cubicBezTo>
                      <a:pt x="239" y="375"/>
                      <a:pt x="221" y="397"/>
                      <a:pt x="191" y="383"/>
                    </a:cubicBezTo>
                    <a:cubicBezTo>
                      <a:pt x="119" y="349"/>
                      <a:pt x="156" y="261"/>
                      <a:pt x="220" y="260"/>
                    </a:cubicBezTo>
                    <a:cubicBezTo>
                      <a:pt x="291" y="259"/>
                      <a:pt x="465" y="347"/>
                      <a:pt x="477" y="312"/>
                    </a:cubicBezTo>
                    <a:cubicBezTo>
                      <a:pt x="442" y="331"/>
                      <a:pt x="376" y="293"/>
                      <a:pt x="369" y="290"/>
                    </a:cubicBezTo>
                    <a:cubicBezTo>
                      <a:pt x="359" y="285"/>
                      <a:pt x="359" y="285"/>
                      <a:pt x="359" y="285"/>
                    </a:cubicBezTo>
                    <a:cubicBezTo>
                      <a:pt x="384" y="287"/>
                      <a:pt x="411" y="284"/>
                      <a:pt x="427" y="269"/>
                    </a:cubicBezTo>
                    <a:cubicBezTo>
                      <a:pt x="438" y="287"/>
                      <a:pt x="474" y="280"/>
                      <a:pt x="502" y="268"/>
                    </a:cubicBezTo>
                    <a:cubicBezTo>
                      <a:pt x="504" y="268"/>
                      <a:pt x="504" y="268"/>
                      <a:pt x="504" y="268"/>
                    </a:cubicBezTo>
                    <a:cubicBezTo>
                      <a:pt x="561" y="282"/>
                      <a:pt x="572" y="379"/>
                      <a:pt x="461" y="383"/>
                    </a:cubicBezTo>
                    <a:cubicBezTo>
                      <a:pt x="373" y="386"/>
                      <a:pt x="295" y="310"/>
                      <a:pt x="237" y="323"/>
                    </a:cubicBezTo>
                    <a:cubicBezTo>
                      <a:pt x="302" y="316"/>
                      <a:pt x="359" y="390"/>
                      <a:pt x="425" y="382"/>
                    </a:cubicBezTo>
                    <a:cubicBezTo>
                      <a:pt x="515" y="372"/>
                      <a:pt x="547" y="513"/>
                      <a:pt x="464" y="503"/>
                    </a:cubicBezTo>
                    <a:cubicBezTo>
                      <a:pt x="423" y="609"/>
                      <a:pt x="362" y="539"/>
                      <a:pt x="308" y="451"/>
                    </a:cubicBezTo>
                    <a:cubicBezTo>
                      <a:pt x="410" y="599"/>
                      <a:pt x="256" y="609"/>
                      <a:pt x="230" y="522"/>
                    </a:cubicBezTo>
                    <a:cubicBezTo>
                      <a:pt x="200" y="475"/>
                      <a:pt x="173" y="505"/>
                      <a:pt x="173" y="505"/>
                    </a:cubicBezTo>
                    <a:cubicBezTo>
                      <a:pt x="178" y="521"/>
                      <a:pt x="181" y="526"/>
                      <a:pt x="177" y="535"/>
                    </a:cubicBezTo>
                    <a:cubicBezTo>
                      <a:pt x="186" y="535"/>
                      <a:pt x="243" y="562"/>
                      <a:pt x="223" y="592"/>
                    </a:cubicBezTo>
                    <a:cubicBezTo>
                      <a:pt x="208" y="550"/>
                      <a:pt x="180" y="571"/>
                      <a:pt x="168" y="552"/>
                    </a:cubicBezTo>
                    <a:cubicBezTo>
                      <a:pt x="109" y="608"/>
                      <a:pt x="10" y="560"/>
                      <a:pt x="41" y="509"/>
                    </a:cubicBezTo>
                    <a:cubicBezTo>
                      <a:pt x="4" y="512"/>
                      <a:pt x="11" y="425"/>
                      <a:pt x="24" y="425"/>
                    </a:cubicBezTo>
                    <a:cubicBezTo>
                      <a:pt x="6" y="403"/>
                      <a:pt x="3" y="369"/>
                      <a:pt x="19" y="349"/>
                    </a:cubicBezTo>
                    <a:cubicBezTo>
                      <a:pt x="7" y="325"/>
                      <a:pt x="6" y="286"/>
                      <a:pt x="18" y="272"/>
                    </a:cubicBezTo>
                    <a:cubicBezTo>
                      <a:pt x="0" y="250"/>
                      <a:pt x="8" y="191"/>
                      <a:pt x="16" y="182"/>
                    </a:cubicBezTo>
                    <a:cubicBezTo>
                      <a:pt x="5" y="166"/>
                      <a:pt x="5" y="135"/>
                      <a:pt x="10" y="119"/>
                    </a:cubicBezTo>
                    <a:cubicBezTo>
                      <a:pt x="20" y="89"/>
                      <a:pt x="56" y="63"/>
                      <a:pt x="78" y="54"/>
                    </a:cubicBezTo>
                    <a:cubicBezTo>
                      <a:pt x="117" y="38"/>
                      <a:pt x="184" y="53"/>
                      <a:pt x="188" y="89"/>
                    </a:cubicBezTo>
                    <a:cubicBezTo>
                      <a:pt x="196" y="79"/>
                      <a:pt x="269" y="101"/>
                      <a:pt x="268" y="126"/>
                    </a:cubicBezTo>
                    <a:cubicBezTo>
                      <a:pt x="287" y="107"/>
                      <a:pt x="338" y="128"/>
                      <a:pt x="340" y="148"/>
                    </a:cubicBezTo>
                    <a:cubicBezTo>
                      <a:pt x="368" y="119"/>
                      <a:pt x="415" y="151"/>
                      <a:pt x="417" y="157"/>
                    </a:cubicBezTo>
                    <a:cubicBezTo>
                      <a:pt x="417" y="141"/>
                      <a:pt x="484" y="129"/>
                      <a:pt x="493" y="144"/>
                    </a:cubicBezTo>
                    <a:cubicBezTo>
                      <a:pt x="492" y="126"/>
                      <a:pt x="531" y="101"/>
                      <a:pt x="548" y="107"/>
                    </a:cubicBezTo>
                    <a:cubicBezTo>
                      <a:pt x="544" y="88"/>
                      <a:pt x="608" y="57"/>
                      <a:pt x="610" y="70"/>
                    </a:cubicBezTo>
                    <a:cubicBezTo>
                      <a:pt x="607" y="49"/>
                      <a:pt x="684" y="0"/>
                      <a:pt x="693" y="57"/>
                    </a:cubicBezTo>
                    <a:cubicBezTo>
                      <a:pt x="703" y="56"/>
                      <a:pt x="751" y="81"/>
                      <a:pt x="723" y="133"/>
                    </a:cubicBezTo>
                    <a:cubicBezTo>
                      <a:pt x="734" y="144"/>
                      <a:pt x="724" y="191"/>
                      <a:pt x="709" y="204"/>
                    </a:cubicBezTo>
                    <a:cubicBezTo>
                      <a:pt x="726" y="213"/>
                      <a:pt x="703" y="272"/>
                      <a:pt x="687" y="284"/>
                    </a:cubicBezTo>
                    <a:cubicBezTo>
                      <a:pt x="703" y="294"/>
                      <a:pt x="693" y="365"/>
                      <a:pt x="678" y="375"/>
                    </a:cubicBezTo>
                    <a:cubicBezTo>
                      <a:pt x="700" y="402"/>
                      <a:pt x="687" y="452"/>
                      <a:pt x="666" y="470"/>
                    </a:cubicBezTo>
                    <a:cubicBezTo>
                      <a:pt x="693" y="483"/>
                      <a:pt x="662" y="567"/>
                      <a:pt x="642" y="569"/>
                    </a:cubicBezTo>
                    <a:cubicBezTo>
                      <a:pt x="656" y="602"/>
                      <a:pt x="596" y="658"/>
                      <a:pt x="578" y="646"/>
                    </a:cubicBezTo>
                    <a:cubicBezTo>
                      <a:pt x="582" y="680"/>
                      <a:pt x="516" y="720"/>
                      <a:pt x="500" y="711"/>
                    </a:cubicBezTo>
                    <a:cubicBezTo>
                      <a:pt x="493" y="741"/>
                      <a:pt x="455" y="764"/>
                      <a:pt x="401" y="743"/>
                    </a:cubicBezTo>
                    <a:cubicBezTo>
                      <a:pt x="385" y="755"/>
                      <a:pt x="365" y="802"/>
                      <a:pt x="369" y="823"/>
                    </a:cubicBezTo>
                    <a:cubicBezTo>
                      <a:pt x="351" y="807"/>
                      <a:pt x="349" y="815"/>
                      <a:pt x="337" y="823"/>
                    </a:cubicBezTo>
                    <a:cubicBezTo>
                      <a:pt x="336" y="770"/>
                      <a:pt x="309" y="787"/>
                      <a:pt x="293" y="729"/>
                    </a:cubicBezTo>
                    <a:cubicBezTo>
                      <a:pt x="265" y="695"/>
                      <a:pt x="276" y="642"/>
                      <a:pt x="292" y="627"/>
                    </a:cubicBezTo>
                    <a:cubicBezTo>
                      <a:pt x="279" y="604"/>
                      <a:pt x="323" y="567"/>
                      <a:pt x="349" y="559"/>
                    </a:cubicBezTo>
                    <a:cubicBezTo>
                      <a:pt x="376" y="550"/>
                      <a:pt x="439" y="545"/>
                      <a:pt x="447" y="607"/>
                    </a:cubicBezTo>
                    <a:cubicBezTo>
                      <a:pt x="457" y="603"/>
                      <a:pt x="467" y="594"/>
                      <a:pt x="488" y="599"/>
                    </a:cubicBezTo>
                    <a:cubicBezTo>
                      <a:pt x="482" y="577"/>
                      <a:pt x="508" y="535"/>
                      <a:pt x="536" y="531"/>
                    </a:cubicBezTo>
                    <a:cubicBezTo>
                      <a:pt x="524" y="521"/>
                      <a:pt x="551" y="459"/>
                      <a:pt x="564" y="456"/>
                    </a:cubicBezTo>
                    <a:cubicBezTo>
                      <a:pt x="552" y="447"/>
                      <a:pt x="558" y="376"/>
                      <a:pt x="575" y="363"/>
                    </a:cubicBezTo>
                    <a:cubicBezTo>
                      <a:pt x="566" y="352"/>
                      <a:pt x="572" y="272"/>
                      <a:pt x="594" y="267"/>
                    </a:cubicBezTo>
                    <a:cubicBezTo>
                      <a:pt x="585" y="264"/>
                      <a:pt x="586" y="250"/>
                      <a:pt x="586" y="237"/>
                    </a:cubicBezTo>
                    <a:cubicBezTo>
                      <a:pt x="579" y="241"/>
                      <a:pt x="579" y="241"/>
                      <a:pt x="579" y="241"/>
                    </a:cubicBezTo>
                    <a:cubicBezTo>
                      <a:pt x="565" y="250"/>
                      <a:pt x="554" y="250"/>
                      <a:pt x="534" y="246"/>
                    </a:cubicBezTo>
                    <a:cubicBezTo>
                      <a:pt x="532" y="252"/>
                      <a:pt x="519" y="261"/>
                      <a:pt x="502" y="268"/>
                    </a:cubicBezTo>
                  </a:path>
                </a:pathLst>
              </a:custGeom>
              <a:solidFill>
                <a:srgbClr val="FFF5EE"/>
              </a:solidFill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1" name="Freeform 19">
                <a:extLst>
                  <a:ext uri="{FF2B5EF4-FFF2-40B4-BE49-F238E27FC236}">
                    <a16:creationId xmlns:a16="http://schemas.microsoft.com/office/drawing/2014/main" xmlns="" id="{6CDF6E57-D3BE-4B4B-B7A3-28DD95B783F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26378" y="3597037"/>
                <a:ext cx="121010" cy="92878"/>
              </a:xfrm>
              <a:custGeom>
                <a:avLst/>
                <a:gdLst>
                  <a:gd name="T0" fmla="*/ 129 w 129"/>
                  <a:gd name="T1" fmla="*/ 66 h 99"/>
                  <a:gd name="T2" fmla="*/ 0 w 129"/>
                  <a:gd name="T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29" h="99">
                    <a:moveTo>
                      <a:pt x="129" y="66"/>
                    </a:moveTo>
                    <a:cubicBezTo>
                      <a:pt x="68" y="0"/>
                      <a:pt x="8" y="76"/>
                      <a:pt x="0" y="99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2" name="Line 20">
                <a:extLst>
                  <a:ext uri="{FF2B5EF4-FFF2-40B4-BE49-F238E27FC236}">
                    <a16:creationId xmlns:a16="http://schemas.microsoft.com/office/drawing/2014/main" xmlns="" id="{9C8A4E51-BBF8-4707-B92F-215A2A7F7AE8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8227875" y="3679595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3" name="Line 21">
                <a:extLst>
                  <a:ext uri="{FF2B5EF4-FFF2-40B4-BE49-F238E27FC236}">
                    <a16:creationId xmlns:a16="http://schemas.microsoft.com/office/drawing/2014/main" xmlns="" id="{D4632CAB-DE3E-4802-BD76-44F181444C7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7892221" y="3763741"/>
                <a:ext cx="0" cy="0"/>
              </a:xfrm>
              <a:prstGeom prst="line">
                <a:avLst/>
              </a:prstGeom>
              <a:noFill/>
              <a:ln w="6350" cap="rnd">
                <a:solidFill>
                  <a:srgbClr val="FF66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4" name="Freeform 22">
                <a:extLst>
                  <a:ext uri="{FF2B5EF4-FFF2-40B4-BE49-F238E27FC236}">
                    <a16:creationId xmlns:a16="http://schemas.microsoft.com/office/drawing/2014/main" xmlns="" id="{95496746-0E4D-4E32-90A4-64641690CDD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84701" y="3685152"/>
                <a:ext cx="73796" cy="42073"/>
              </a:xfrm>
              <a:custGeom>
                <a:avLst/>
                <a:gdLst>
                  <a:gd name="T0" fmla="*/ 1 w 79"/>
                  <a:gd name="T1" fmla="*/ 45 h 45"/>
                  <a:gd name="T2" fmla="*/ 25 w 79"/>
                  <a:gd name="T3" fmla="*/ 6 h 45"/>
                  <a:gd name="T4" fmla="*/ 79 w 79"/>
                  <a:gd name="T5" fmla="*/ 4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" h="45">
                    <a:moveTo>
                      <a:pt x="1" y="45"/>
                    </a:moveTo>
                    <a:cubicBezTo>
                      <a:pt x="0" y="28"/>
                      <a:pt x="19" y="0"/>
                      <a:pt x="25" y="6"/>
                    </a:cubicBezTo>
                    <a:cubicBezTo>
                      <a:pt x="31" y="13"/>
                      <a:pt x="55" y="42"/>
                      <a:pt x="79" y="4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5" name="Freeform 23">
                <a:extLst>
                  <a:ext uri="{FF2B5EF4-FFF2-40B4-BE49-F238E27FC236}">
                    <a16:creationId xmlns:a16="http://schemas.microsoft.com/office/drawing/2014/main" xmlns="" id="{2D8EA830-658B-4DEB-92A1-3759782E02CE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86288" y="3712539"/>
                <a:ext cx="281299" cy="189329"/>
              </a:xfrm>
              <a:custGeom>
                <a:avLst/>
                <a:gdLst>
                  <a:gd name="T0" fmla="*/ 0 w 300"/>
                  <a:gd name="T1" fmla="*/ 16 h 202"/>
                  <a:gd name="T2" fmla="*/ 92 w 300"/>
                  <a:gd name="T3" fmla="*/ 32 h 202"/>
                  <a:gd name="T4" fmla="*/ 200 w 300"/>
                  <a:gd name="T5" fmla="*/ 168 h 202"/>
                  <a:gd name="T6" fmla="*/ 300 w 300"/>
                  <a:gd name="T7" fmla="*/ 20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202">
                    <a:moveTo>
                      <a:pt x="0" y="16"/>
                    </a:moveTo>
                    <a:cubicBezTo>
                      <a:pt x="4" y="58"/>
                      <a:pt x="92" y="32"/>
                      <a:pt x="92" y="32"/>
                    </a:cubicBezTo>
                    <a:cubicBezTo>
                      <a:pt x="136" y="18"/>
                      <a:pt x="259" y="0"/>
                      <a:pt x="200" y="168"/>
                    </a:cubicBezTo>
                    <a:cubicBezTo>
                      <a:pt x="188" y="202"/>
                      <a:pt x="295" y="199"/>
                      <a:pt x="300" y="20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6" name="Freeform 24">
                <a:extLst>
                  <a:ext uri="{FF2B5EF4-FFF2-40B4-BE49-F238E27FC236}">
                    <a16:creationId xmlns:a16="http://schemas.microsoft.com/office/drawing/2014/main" xmlns="" id="{AB98168A-BBCE-45B5-94A1-C39DC3BC806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711301" y="3693487"/>
                <a:ext cx="222182" cy="221479"/>
              </a:xfrm>
              <a:custGeom>
                <a:avLst/>
                <a:gdLst>
                  <a:gd name="T0" fmla="*/ 15 w 237"/>
                  <a:gd name="T1" fmla="*/ 0 h 236"/>
                  <a:gd name="T2" fmla="*/ 99 w 237"/>
                  <a:gd name="T3" fmla="*/ 124 h 236"/>
                  <a:gd name="T4" fmla="*/ 237 w 237"/>
                  <a:gd name="T5" fmla="*/ 104 h 236"/>
                  <a:gd name="T6" fmla="*/ 237 w 237"/>
                  <a:gd name="T7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7" h="236">
                    <a:moveTo>
                      <a:pt x="15" y="0"/>
                    </a:moveTo>
                    <a:cubicBezTo>
                      <a:pt x="0" y="65"/>
                      <a:pt x="62" y="113"/>
                      <a:pt x="99" y="124"/>
                    </a:cubicBezTo>
                    <a:cubicBezTo>
                      <a:pt x="147" y="138"/>
                      <a:pt x="200" y="120"/>
                      <a:pt x="237" y="104"/>
                    </a:cubicBezTo>
                    <a:cubicBezTo>
                      <a:pt x="216" y="147"/>
                      <a:pt x="208" y="214"/>
                      <a:pt x="237" y="236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ysDot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7" name="Freeform 25">
                <a:extLst>
                  <a:ext uri="{FF2B5EF4-FFF2-40B4-BE49-F238E27FC236}">
                    <a16:creationId xmlns:a16="http://schemas.microsoft.com/office/drawing/2014/main" xmlns="" id="{CF41FB04-8F48-421D-BB41-1F8DF49D583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144557" y="3778030"/>
                <a:ext cx="96411" cy="92878"/>
              </a:xfrm>
              <a:custGeom>
                <a:avLst/>
                <a:gdLst>
                  <a:gd name="T0" fmla="*/ 0 w 103"/>
                  <a:gd name="T1" fmla="*/ 99 h 99"/>
                  <a:gd name="T2" fmla="*/ 33 w 103"/>
                  <a:gd name="T3" fmla="*/ 55 h 99"/>
                  <a:gd name="T4" fmla="*/ 103 w 103"/>
                  <a:gd name="T5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3" h="99">
                    <a:moveTo>
                      <a:pt x="0" y="99"/>
                    </a:moveTo>
                    <a:cubicBezTo>
                      <a:pt x="20" y="87"/>
                      <a:pt x="32" y="66"/>
                      <a:pt x="33" y="55"/>
                    </a:cubicBezTo>
                    <a:cubicBezTo>
                      <a:pt x="72" y="58"/>
                      <a:pt x="103" y="16"/>
                      <a:pt x="103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8" name="Freeform 26">
                <a:extLst>
                  <a:ext uri="{FF2B5EF4-FFF2-40B4-BE49-F238E27FC236}">
                    <a16:creationId xmlns:a16="http://schemas.microsoft.com/office/drawing/2014/main" xmlns="" id="{7957177D-69E7-4122-97C9-35D28124851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809696" y="4069366"/>
                <a:ext cx="60307" cy="73429"/>
              </a:xfrm>
              <a:custGeom>
                <a:avLst/>
                <a:gdLst>
                  <a:gd name="T0" fmla="*/ 64 w 64"/>
                  <a:gd name="T1" fmla="*/ 78 h 78"/>
                  <a:gd name="T2" fmla="*/ 0 w 64"/>
                  <a:gd name="T3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64" h="78">
                    <a:moveTo>
                      <a:pt x="64" y="78"/>
                    </a:moveTo>
                    <a:cubicBezTo>
                      <a:pt x="48" y="34"/>
                      <a:pt x="26" y="9"/>
                      <a:pt x="0" y="0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19" name="Freeform 27">
                <a:extLst>
                  <a:ext uri="{FF2B5EF4-FFF2-40B4-BE49-F238E27FC236}">
                    <a16:creationId xmlns:a16="http://schemas.microsoft.com/office/drawing/2014/main" xmlns="" id="{FD6ED7B3-6749-4585-88F8-2B20E48C8CF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908091" y="4254328"/>
                <a:ext cx="63084" cy="90894"/>
              </a:xfrm>
              <a:custGeom>
                <a:avLst/>
                <a:gdLst>
                  <a:gd name="T0" fmla="*/ 10 w 67"/>
                  <a:gd name="T1" fmla="*/ 0 h 97"/>
                  <a:gd name="T2" fmla="*/ 27 w 67"/>
                  <a:gd name="T3" fmla="*/ 49 h 97"/>
                  <a:gd name="T4" fmla="*/ 67 w 67"/>
                  <a:gd name="T5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7" h="97">
                    <a:moveTo>
                      <a:pt x="10" y="0"/>
                    </a:moveTo>
                    <a:cubicBezTo>
                      <a:pt x="0" y="25"/>
                      <a:pt x="12" y="40"/>
                      <a:pt x="27" y="49"/>
                    </a:cubicBezTo>
                    <a:cubicBezTo>
                      <a:pt x="35" y="83"/>
                      <a:pt x="67" y="97"/>
                      <a:pt x="67" y="97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20" name="Freeform 28">
                <a:extLst>
                  <a:ext uri="{FF2B5EF4-FFF2-40B4-BE49-F238E27FC236}">
                    <a16:creationId xmlns:a16="http://schemas.microsoft.com/office/drawing/2014/main" xmlns="" id="{7E7588A2-4E17-4CCF-9967-9AE853DDF3F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47820" y="3804227"/>
                <a:ext cx="73003" cy="33738"/>
              </a:xfrm>
              <a:custGeom>
                <a:avLst/>
                <a:gdLst>
                  <a:gd name="T0" fmla="*/ 0 w 78"/>
                  <a:gd name="T1" fmla="*/ 0 h 36"/>
                  <a:gd name="T2" fmla="*/ 58 w 78"/>
                  <a:gd name="T3" fmla="*/ 13 h 36"/>
                  <a:gd name="T4" fmla="*/ 78 w 78"/>
                  <a:gd name="T5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8" h="36">
                    <a:moveTo>
                      <a:pt x="0" y="0"/>
                    </a:moveTo>
                    <a:cubicBezTo>
                      <a:pt x="7" y="16"/>
                      <a:pt x="38" y="20"/>
                      <a:pt x="58" y="13"/>
                    </a:cubicBezTo>
                    <a:cubicBezTo>
                      <a:pt x="57" y="36"/>
                      <a:pt x="78" y="33"/>
                      <a:pt x="78" y="33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21" name="Freeform: Shape 1120">
                <a:extLst>
                  <a:ext uri="{FF2B5EF4-FFF2-40B4-BE49-F238E27FC236}">
                    <a16:creationId xmlns:a16="http://schemas.microsoft.com/office/drawing/2014/main" xmlns="" id="{1262E22D-DF8E-4BE7-85D5-E6F5F170037A}"/>
                  </a:ext>
                </a:extLst>
              </p:cNvPr>
              <p:cNvSpPr/>
              <p:nvPr/>
            </p:nvSpPr>
            <p:spPr>
              <a:xfrm>
                <a:off x="7739062" y="3893344"/>
                <a:ext cx="366713" cy="296396"/>
              </a:xfrm>
              <a:custGeom>
                <a:avLst/>
                <a:gdLst>
                  <a:gd name="connsiteX0" fmla="*/ 11906 w 361950"/>
                  <a:gd name="connsiteY0" fmla="*/ 180975 h 295275"/>
                  <a:gd name="connsiteX1" fmla="*/ 16669 w 361950"/>
                  <a:gd name="connsiteY1" fmla="*/ 230981 h 295275"/>
                  <a:gd name="connsiteX2" fmla="*/ 45244 w 361950"/>
                  <a:gd name="connsiteY2" fmla="*/ 223837 h 295275"/>
                  <a:gd name="connsiteX3" fmla="*/ 102394 w 361950"/>
                  <a:gd name="connsiteY3" fmla="*/ 288131 h 295275"/>
                  <a:gd name="connsiteX4" fmla="*/ 140494 w 361950"/>
                  <a:gd name="connsiteY4" fmla="*/ 295275 h 295275"/>
                  <a:gd name="connsiteX5" fmla="*/ 169069 w 361950"/>
                  <a:gd name="connsiteY5" fmla="*/ 264319 h 295275"/>
                  <a:gd name="connsiteX6" fmla="*/ 169069 w 361950"/>
                  <a:gd name="connsiteY6" fmla="*/ 223837 h 295275"/>
                  <a:gd name="connsiteX7" fmla="*/ 197644 w 361950"/>
                  <a:gd name="connsiteY7" fmla="*/ 261937 h 295275"/>
                  <a:gd name="connsiteX8" fmla="*/ 235744 w 361950"/>
                  <a:gd name="connsiteY8" fmla="*/ 276225 h 295275"/>
                  <a:gd name="connsiteX9" fmla="*/ 247650 w 361950"/>
                  <a:gd name="connsiteY9" fmla="*/ 273844 h 295275"/>
                  <a:gd name="connsiteX10" fmla="*/ 285750 w 361950"/>
                  <a:gd name="connsiteY10" fmla="*/ 226219 h 295275"/>
                  <a:gd name="connsiteX11" fmla="*/ 314325 w 361950"/>
                  <a:gd name="connsiteY11" fmla="*/ 219075 h 295275"/>
                  <a:gd name="connsiteX12" fmla="*/ 326231 w 361950"/>
                  <a:gd name="connsiteY12" fmla="*/ 180975 h 295275"/>
                  <a:gd name="connsiteX13" fmla="*/ 309563 w 361950"/>
                  <a:gd name="connsiteY13" fmla="*/ 128587 h 295275"/>
                  <a:gd name="connsiteX14" fmla="*/ 297656 w 361950"/>
                  <a:gd name="connsiteY14" fmla="*/ 109537 h 295275"/>
                  <a:gd name="connsiteX15" fmla="*/ 345281 w 361950"/>
                  <a:gd name="connsiteY15" fmla="*/ 95250 h 295275"/>
                  <a:gd name="connsiteX16" fmla="*/ 361950 w 361950"/>
                  <a:gd name="connsiteY16" fmla="*/ 50006 h 295275"/>
                  <a:gd name="connsiteX17" fmla="*/ 338138 w 361950"/>
                  <a:gd name="connsiteY17" fmla="*/ 14287 h 295275"/>
                  <a:gd name="connsiteX18" fmla="*/ 309563 w 361950"/>
                  <a:gd name="connsiteY18" fmla="*/ 14287 h 295275"/>
                  <a:gd name="connsiteX19" fmla="*/ 280988 w 361950"/>
                  <a:gd name="connsiteY19" fmla="*/ 16669 h 295275"/>
                  <a:gd name="connsiteX20" fmla="*/ 254794 w 361950"/>
                  <a:gd name="connsiteY20" fmla="*/ 7144 h 295275"/>
                  <a:gd name="connsiteX21" fmla="*/ 230981 w 361950"/>
                  <a:gd name="connsiteY21" fmla="*/ 19050 h 295275"/>
                  <a:gd name="connsiteX22" fmla="*/ 200025 w 361950"/>
                  <a:gd name="connsiteY22" fmla="*/ 23812 h 295275"/>
                  <a:gd name="connsiteX23" fmla="*/ 145256 w 361950"/>
                  <a:gd name="connsiteY23" fmla="*/ 19050 h 295275"/>
                  <a:gd name="connsiteX24" fmla="*/ 80963 w 361950"/>
                  <a:gd name="connsiteY24" fmla="*/ 0 h 295275"/>
                  <a:gd name="connsiteX25" fmla="*/ 28575 w 361950"/>
                  <a:gd name="connsiteY25" fmla="*/ 9525 h 295275"/>
                  <a:gd name="connsiteX26" fmla="*/ 0 w 361950"/>
                  <a:gd name="connsiteY26" fmla="*/ 59531 h 295275"/>
                  <a:gd name="connsiteX27" fmla="*/ 11906 w 361950"/>
                  <a:gd name="connsiteY27" fmla="*/ 111919 h 295275"/>
                  <a:gd name="connsiteX28" fmla="*/ 71438 w 361950"/>
                  <a:gd name="connsiteY28" fmla="*/ 121444 h 295275"/>
                  <a:gd name="connsiteX29" fmla="*/ 133350 w 361950"/>
                  <a:gd name="connsiteY29" fmla="*/ 121444 h 295275"/>
                  <a:gd name="connsiteX30" fmla="*/ 176213 w 361950"/>
                  <a:gd name="connsiteY30" fmla="*/ 152400 h 295275"/>
                  <a:gd name="connsiteX31" fmla="*/ 233363 w 361950"/>
                  <a:gd name="connsiteY31" fmla="*/ 173831 h 295275"/>
                  <a:gd name="connsiteX32" fmla="*/ 252413 w 361950"/>
                  <a:gd name="connsiteY32" fmla="*/ 176212 h 295275"/>
                  <a:gd name="connsiteX33" fmla="*/ 230981 w 361950"/>
                  <a:gd name="connsiteY33" fmla="*/ 195262 h 295275"/>
                  <a:gd name="connsiteX34" fmla="*/ 226219 w 361950"/>
                  <a:gd name="connsiteY34" fmla="*/ 209550 h 295275"/>
                  <a:gd name="connsiteX35" fmla="*/ 202406 w 361950"/>
                  <a:gd name="connsiteY35" fmla="*/ 171450 h 295275"/>
                  <a:gd name="connsiteX36" fmla="*/ 150019 w 361950"/>
                  <a:gd name="connsiteY36" fmla="*/ 133350 h 295275"/>
                  <a:gd name="connsiteX37" fmla="*/ 100013 w 361950"/>
                  <a:gd name="connsiteY37" fmla="*/ 123825 h 295275"/>
                  <a:gd name="connsiteX38" fmla="*/ 61913 w 361950"/>
                  <a:gd name="connsiteY38" fmla="*/ 161925 h 295275"/>
                  <a:gd name="connsiteX39" fmla="*/ 66675 w 361950"/>
                  <a:gd name="connsiteY39" fmla="*/ 176212 h 295275"/>
                  <a:gd name="connsiteX40" fmla="*/ 11906 w 361950"/>
                  <a:gd name="connsiteY40" fmla="*/ 180975 h 295275"/>
                  <a:gd name="connsiteX0" fmla="*/ 21431 w 371475"/>
                  <a:gd name="connsiteY0" fmla="*/ 180975 h 295275"/>
                  <a:gd name="connsiteX1" fmla="*/ 26194 w 371475"/>
                  <a:gd name="connsiteY1" fmla="*/ 230981 h 295275"/>
                  <a:gd name="connsiteX2" fmla="*/ 54769 w 371475"/>
                  <a:gd name="connsiteY2" fmla="*/ 223837 h 295275"/>
                  <a:gd name="connsiteX3" fmla="*/ 111919 w 371475"/>
                  <a:gd name="connsiteY3" fmla="*/ 288131 h 295275"/>
                  <a:gd name="connsiteX4" fmla="*/ 150019 w 371475"/>
                  <a:gd name="connsiteY4" fmla="*/ 295275 h 295275"/>
                  <a:gd name="connsiteX5" fmla="*/ 178594 w 371475"/>
                  <a:gd name="connsiteY5" fmla="*/ 264319 h 295275"/>
                  <a:gd name="connsiteX6" fmla="*/ 178594 w 371475"/>
                  <a:gd name="connsiteY6" fmla="*/ 223837 h 295275"/>
                  <a:gd name="connsiteX7" fmla="*/ 207169 w 371475"/>
                  <a:gd name="connsiteY7" fmla="*/ 261937 h 295275"/>
                  <a:gd name="connsiteX8" fmla="*/ 245269 w 371475"/>
                  <a:gd name="connsiteY8" fmla="*/ 276225 h 295275"/>
                  <a:gd name="connsiteX9" fmla="*/ 257175 w 371475"/>
                  <a:gd name="connsiteY9" fmla="*/ 273844 h 295275"/>
                  <a:gd name="connsiteX10" fmla="*/ 295275 w 371475"/>
                  <a:gd name="connsiteY10" fmla="*/ 226219 h 295275"/>
                  <a:gd name="connsiteX11" fmla="*/ 323850 w 371475"/>
                  <a:gd name="connsiteY11" fmla="*/ 219075 h 295275"/>
                  <a:gd name="connsiteX12" fmla="*/ 335756 w 371475"/>
                  <a:gd name="connsiteY12" fmla="*/ 180975 h 295275"/>
                  <a:gd name="connsiteX13" fmla="*/ 319088 w 371475"/>
                  <a:gd name="connsiteY13" fmla="*/ 128587 h 295275"/>
                  <a:gd name="connsiteX14" fmla="*/ 307181 w 371475"/>
                  <a:gd name="connsiteY14" fmla="*/ 109537 h 295275"/>
                  <a:gd name="connsiteX15" fmla="*/ 354806 w 371475"/>
                  <a:gd name="connsiteY15" fmla="*/ 95250 h 295275"/>
                  <a:gd name="connsiteX16" fmla="*/ 371475 w 371475"/>
                  <a:gd name="connsiteY16" fmla="*/ 50006 h 295275"/>
                  <a:gd name="connsiteX17" fmla="*/ 347663 w 371475"/>
                  <a:gd name="connsiteY17" fmla="*/ 14287 h 295275"/>
                  <a:gd name="connsiteX18" fmla="*/ 319088 w 371475"/>
                  <a:gd name="connsiteY18" fmla="*/ 14287 h 295275"/>
                  <a:gd name="connsiteX19" fmla="*/ 290513 w 371475"/>
                  <a:gd name="connsiteY19" fmla="*/ 16669 h 295275"/>
                  <a:gd name="connsiteX20" fmla="*/ 264319 w 371475"/>
                  <a:gd name="connsiteY20" fmla="*/ 7144 h 295275"/>
                  <a:gd name="connsiteX21" fmla="*/ 240506 w 371475"/>
                  <a:gd name="connsiteY21" fmla="*/ 19050 h 295275"/>
                  <a:gd name="connsiteX22" fmla="*/ 209550 w 371475"/>
                  <a:gd name="connsiteY22" fmla="*/ 23812 h 295275"/>
                  <a:gd name="connsiteX23" fmla="*/ 154781 w 371475"/>
                  <a:gd name="connsiteY23" fmla="*/ 19050 h 295275"/>
                  <a:gd name="connsiteX24" fmla="*/ 90488 w 371475"/>
                  <a:gd name="connsiteY24" fmla="*/ 0 h 295275"/>
                  <a:gd name="connsiteX25" fmla="*/ 38100 w 371475"/>
                  <a:gd name="connsiteY25" fmla="*/ 9525 h 295275"/>
                  <a:gd name="connsiteX26" fmla="*/ 0 w 371475"/>
                  <a:gd name="connsiteY26" fmla="*/ 52387 h 295275"/>
                  <a:gd name="connsiteX27" fmla="*/ 21431 w 371475"/>
                  <a:gd name="connsiteY27" fmla="*/ 111919 h 295275"/>
                  <a:gd name="connsiteX28" fmla="*/ 80963 w 371475"/>
                  <a:gd name="connsiteY28" fmla="*/ 121444 h 295275"/>
                  <a:gd name="connsiteX29" fmla="*/ 142875 w 371475"/>
                  <a:gd name="connsiteY29" fmla="*/ 121444 h 295275"/>
                  <a:gd name="connsiteX30" fmla="*/ 185738 w 371475"/>
                  <a:gd name="connsiteY30" fmla="*/ 152400 h 295275"/>
                  <a:gd name="connsiteX31" fmla="*/ 242888 w 371475"/>
                  <a:gd name="connsiteY31" fmla="*/ 173831 h 295275"/>
                  <a:gd name="connsiteX32" fmla="*/ 261938 w 371475"/>
                  <a:gd name="connsiteY32" fmla="*/ 176212 h 295275"/>
                  <a:gd name="connsiteX33" fmla="*/ 240506 w 371475"/>
                  <a:gd name="connsiteY33" fmla="*/ 195262 h 295275"/>
                  <a:gd name="connsiteX34" fmla="*/ 235744 w 371475"/>
                  <a:gd name="connsiteY34" fmla="*/ 209550 h 295275"/>
                  <a:gd name="connsiteX35" fmla="*/ 211931 w 371475"/>
                  <a:gd name="connsiteY35" fmla="*/ 171450 h 295275"/>
                  <a:gd name="connsiteX36" fmla="*/ 159544 w 371475"/>
                  <a:gd name="connsiteY36" fmla="*/ 133350 h 295275"/>
                  <a:gd name="connsiteX37" fmla="*/ 109538 w 371475"/>
                  <a:gd name="connsiteY37" fmla="*/ 123825 h 295275"/>
                  <a:gd name="connsiteX38" fmla="*/ 71438 w 371475"/>
                  <a:gd name="connsiteY38" fmla="*/ 161925 h 295275"/>
                  <a:gd name="connsiteX39" fmla="*/ 76200 w 371475"/>
                  <a:gd name="connsiteY39" fmla="*/ 176212 h 295275"/>
                  <a:gd name="connsiteX40" fmla="*/ 21431 w 371475"/>
                  <a:gd name="connsiteY40" fmla="*/ 180975 h 295275"/>
                  <a:gd name="connsiteX0" fmla="*/ 21431 w 371475"/>
                  <a:gd name="connsiteY0" fmla="*/ 180975 h 295275"/>
                  <a:gd name="connsiteX1" fmla="*/ 26194 w 371475"/>
                  <a:gd name="connsiteY1" fmla="*/ 230981 h 295275"/>
                  <a:gd name="connsiteX2" fmla="*/ 54769 w 371475"/>
                  <a:gd name="connsiteY2" fmla="*/ 223837 h 295275"/>
                  <a:gd name="connsiteX3" fmla="*/ 111919 w 371475"/>
                  <a:gd name="connsiteY3" fmla="*/ 288131 h 295275"/>
                  <a:gd name="connsiteX4" fmla="*/ 150019 w 371475"/>
                  <a:gd name="connsiteY4" fmla="*/ 295275 h 295275"/>
                  <a:gd name="connsiteX5" fmla="*/ 178594 w 371475"/>
                  <a:gd name="connsiteY5" fmla="*/ 264319 h 295275"/>
                  <a:gd name="connsiteX6" fmla="*/ 178594 w 371475"/>
                  <a:gd name="connsiteY6" fmla="*/ 223837 h 295275"/>
                  <a:gd name="connsiteX7" fmla="*/ 207169 w 371475"/>
                  <a:gd name="connsiteY7" fmla="*/ 261937 h 295275"/>
                  <a:gd name="connsiteX8" fmla="*/ 245269 w 371475"/>
                  <a:gd name="connsiteY8" fmla="*/ 276225 h 295275"/>
                  <a:gd name="connsiteX9" fmla="*/ 257175 w 371475"/>
                  <a:gd name="connsiteY9" fmla="*/ 273844 h 295275"/>
                  <a:gd name="connsiteX10" fmla="*/ 295275 w 371475"/>
                  <a:gd name="connsiteY10" fmla="*/ 226219 h 295275"/>
                  <a:gd name="connsiteX11" fmla="*/ 323850 w 371475"/>
                  <a:gd name="connsiteY11" fmla="*/ 219075 h 295275"/>
                  <a:gd name="connsiteX12" fmla="*/ 335756 w 371475"/>
                  <a:gd name="connsiteY12" fmla="*/ 180975 h 295275"/>
                  <a:gd name="connsiteX13" fmla="*/ 319088 w 371475"/>
                  <a:gd name="connsiteY13" fmla="*/ 128587 h 295275"/>
                  <a:gd name="connsiteX14" fmla="*/ 307181 w 371475"/>
                  <a:gd name="connsiteY14" fmla="*/ 109537 h 295275"/>
                  <a:gd name="connsiteX15" fmla="*/ 354806 w 371475"/>
                  <a:gd name="connsiteY15" fmla="*/ 95250 h 295275"/>
                  <a:gd name="connsiteX16" fmla="*/ 371475 w 371475"/>
                  <a:gd name="connsiteY16" fmla="*/ 50006 h 295275"/>
                  <a:gd name="connsiteX17" fmla="*/ 347663 w 371475"/>
                  <a:gd name="connsiteY17" fmla="*/ 14287 h 295275"/>
                  <a:gd name="connsiteX18" fmla="*/ 319088 w 371475"/>
                  <a:gd name="connsiteY18" fmla="*/ 14287 h 295275"/>
                  <a:gd name="connsiteX19" fmla="*/ 290513 w 371475"/>
                  <a:gd name="connsiteY19" fmla="*/ 16669 h 295275"/>
                  <a:gd name="connsiteX20" fmla="*/ 264319 w 371475"/>
                  <a:gd name="connsiteY20" fmla="*/ 7144 h 295275"/>
                  <a:gd name="connsiteX21" fmla="*/ 240506 w 371475"/>
                  <a:gd name="connsiteY21" fmla="*/ 19050 h 295275"/>
                  <a:gd name="connsiteX22" fmla="*/ 209550 w 371475"/>
                  <a:gd name="connsiteY22" fmla="*/ 23812 h 295275"/>
                  <a:gd name="connsiteX23" fmla="*/ 154781 w 371475"/>
                  <a:gd name="connsiteY23" fmla="*/ 19050 h 295275"/>
                  <a:gd name="connsiteX24" fmla="*/ 90488 w 371475"/>
                  <a:gd name="connsiteY24" fmla="*/ 0 h 295275"/>
                  <a:gd name="connsiteX25" fmla="*/ 38100 w 371475"/>
                  <a:gd name="connsiteY25" fmla="*/ 9525 h 295275"/>
                  <a:gd name="connsiteX26" fmla="*/ 0 w 371475"/>
                  <a:gd name="connsiteY26" fmla="*/ 52387 h 295275"/>
                  <a:gd name="connsiteX27" fmla="*/ 21431 w 371475"/>
                  <a:gd name="connsiteY27" fmla="*/ 111919 h 295275"/>
                  <a:gd name="connsiteX28" fmla="*/ 80963 w 371475"/>
                  <a:gd name="connsiteY28" fmla="*/ 121444 h 295275"/>
                  <a:gd name="connsiteX29" fmla="*/ 142875 w 371475"/>
                  <a:gd name="connsiteY29" fmla="*/ 121444 h 295275"/>
                  <a:gd name="connsiteX30" fmla="*/ 185738 w 371475"/>
                  <a:gd name="connsiteY30" fmla="*/ 152400 h 295275"/>
                  <a:gd name="connsiteX31" fmla="*/ 242888 w 371475"/>
                  <a:gd name="connsiteY31" fmla="*/ 173831 h 295275"/>
                  <a:gd name="connsiteX32" fmla="*/ 261938 w 371475"/>
                  <a:gd name="connsiteY32" fmla="*/ 176212 h 295275"/>
                  <a:gd name="connsiteX33" fmla="*/ 240506 w 371475"/>
                  <a:gd name="connsiteY33" fmla="*/ 195262 h 295275"/>
                  <a:gd name="connsiteX34" fmla="*/ 235744 w 371475"/>
                  <a:gd name="connsiteY34" fmla="*/ 209550 h 295275"/>
                  <a:gd name="connsiteX35" fmla="*/ 211931 w 371475"/>
                  <a:gd name="connsiteY35" fmla="*/ 171450 h 295275"/>
                  <a:gd name="connsiteX36" fmla="*/ 159544 w 371475"/>
                  <a:gd name="connsiteY36" fmla="*/ 133350 h 295275"/>
                  <a:gd name="connsiteX37" fmla="*/ 109538 w 371475"/>
                  <a:gd name="connsiteY37" fmla="*/ 123825 h 295275"/>
                  <a:gd name="connsiteX38" fmla="*/ 71438 w 371475"/>
                  <a:gd name="connsiteY38" fmla="*/ 161925 h 295275"/>
                  <a:gd name="connsiteX39" fmla="*/ 76200 w 371475"/>
                  <a:gd name="connsiteY39" fmla="*/ 176212 h 295275"/>
                  <a:gd name="connsiteX40" fmla="*/ 21431 w 371475"/>
                  <a:gd name="connsiteY40" fmla="*/ 180975 h 295275"/>
                  <a:gd name="connsiteX0" fmla="*/ 21431 w 371475"/>
                  <a:gd name="connsiteY0" fmla="*/ 180975 h 295275"/>
                  <a:gd name="connsiteX1" fmla="*/ 26194 w 371475"/>
                  <a:gd name="connsiteY1" fmla="*/ 230981 h 295275"/>
                  <a:gd name="connsiteX2" fmla="*/ 54769 w 371475"/>
                  <a:gd name="connsiteY2" fmla="*/ 223837 h 295275"/>
                  <a:gd name="connsiteX3" fmla="*/ 111919 w 371475"/>
                  <a:gd name="connsiteY3" fmla="*/ 288131 h 295275"/>
                  <a:gd name="connsiteX4" fmla="*/ 150019 w 371475"/>
                  <a:gd name="connsiteY4" fmla="*/ 295275 h 295275"/>
                  <a:gd name="connsiteX5" fmla="*/ 178594 w 371475"/>
                  <a:gd name="connsiteY5" fmla="*/ 264319 h 295275"/>
                  <a:gd name="connsiteX6" fmla="*/ 178594 w 371475"/>
                  <a:gd name="connsiteY6" fmla="*/ 223837 h 295275"/>
                  <a:gd name="connsiteX7" fmla="*/ 207169 w 371475"/>
                  <a:gd name="connsiteY7" fmla="*/ 261937 h 295275"/>
                  <a:gd name="connsiteX8" fmla="*/ 245269 w 371475"/>
                  <a:gd name="connsiteY8" fmla="*/ 276225 h 295275"/>
                  <a:gd name="connsiteX9" fmla="*/ 257175 w 371475"/>
                  <a:gd name="connsiteY9" fmla="*/ 273844 h 295275"/>
                  <a:gd name="connsiteX10" fmla="*/ 295275 w 371475"/>
                  <a:gd name="connsiteY10" fmla="*/ 226219 h 295275"/>
                  <a:gd name="connsiteX11" fmla="*/ 323850 w 371475"/>
                  <a:gd name="connsiteY11" fmla="*/ 219075 h 295275"/>
                  <a:gd name="connsiteX12" fmla="*/ 335756 w 371475"/>
                  <a:gd name="connsiteY12" fmla="*/ 180975 h 295275"/>
                  <a:gd name="connsiteX13" fmla="*/ 319088 w 371475"/>
                  <a:gd name="connsiteY13" fmla="*/ 128587 h 295275"/>
                  <a:gd name="connsiteX14" fmla="*/ 307181 w 371475"/>
                  <a:gd name="connsiteY14" fmla="*/ 109537 h 295275"/>
                  <a:gd name="connsiteX15" fmla="*/ 354806 w 371475"/>
                  <a:gd name="connsiteY15" fmla="*/ 95250 h 295275"/>
                  <a:gd name="connsiteX16" fmla="*/ 371475 w 371475"/>
                  <a:gd name="connsiteY16" fmla="*/ 50006 h 295275"/>
                  <a:gd name="connsiteX17" fmla="*/ 347663 w 371475"/>
                  <a:gd name="connsiteY17" fmla="*/ 14287 h 295275"/>
                  <a:gd name="connsiteX18" fmla="*/ 319088 w 371475"/>
                  <a:gd name="connsiteY18" fmla="*/ 14287 h 295275"/>
                  <a:gd name="connsiteX19" fmla="*/ 290513 w 371475"/>
                  <a:gd name="connsiteY19" fmla="*/ 16669 h 295275"/>
                  <a:gd name="connsiteX20" fmla="*/ 264319 w 371475"/>
                  <a:gd name="connsiteY20" fmla="*/ 7144 h 295275"/>
                  <a:gd name="connsiteX21" fmla="*/ 240506 w 371475"/>
                  <a:gd name="connsiteY21" fmla="*/ 19050 h 295275"/>
                  <a:gd name="connsiteX22" fmla="*/ 209550 w 371475"/>
                  <a:gd name="connsiteY22" fmla="*/ 23812 h 295275"/>
                  <a:gd name="connsiteX23" fmla="*/ 154781 w 371475"/>
                  <a:gd name="connsiteY23" fmla="*/ 19050 h 295275"/>
                  <a:gd name="connsiteX24" fmla="*/ 90488 w 371475"/>
                  <a:gd name="connsiteY24" fmla="*/ 0 h 295275"/>
                  <a:gd name="connsiteX25" fmla="*/ 38100 w 371475"/>
                  <a:gd name="connsiteY25" fmla="*/ 9525 h 295275"/>
                  <a:gd name="connsiteX26" fmla="*/ 0 w 371475"/>
                  <a:gd name="connsiteY26" fmla="*/ 52387 h 295275"/>
                  <a:gd name="connsiteX27" fmla="*/ 21431 w 371475"/>
                  <a:gd name="connsiteY27" fmla="*/ 111919 h 295275"/>
                  <a:gd name="connsiteX28" fmla="*/ 80963 w 371475"/>
                  <a:gd name="connsiteY28" fmla="*/ 121444 h 295275"/>
                  <a:gd name="connsiteX29" fmla="*/ 142875 w 371475"/>
                  <a:gd name="connsiteY29" fmla="*/ 121444 h 295275"/>
                  <a:gd name="connsiteX30" fmla="*/ 185738 w 371475"/>
                  <a:gd name="connsiteY30" fmla="*/ 152400 h 295275"/>
                  <a:gd name="connsiteX31" fmla="*/ 242888 w 371475"/>
                  <a:gd name="connsiteY31" fmla="*/ 173831 h 295275"/>
                  <a:gd name="connsiteX32" fmla="*/ 261938 w 371475"/>
                  <a:gd name="connsiteY32" fmla="*/ 176212 h 295275"/>
                  <a:gd name="connsiteX33" fmla="*/ 240506 w 371475"/>
                  <a:gd name="connsiteY33" fmla="*/ 195262 h 295275"/>
                  <a:gd name="connsiteX34" fmla="*/ 235744 w 371475"/>
                  <a:gd name="connsiteY34" fmla="*/ 209550 h 295275"/>
                  <a:gd name="connsiteX35" fmla="*/ 211931 w 371475"/>
                  <a:gd name="connsiteY35" fmla="*/ 171450 h 295275"/>
                  <a:gd name="connsiteX36" fmla="*/ 159544 w 371475"/>
                  <a:gd name="connsiteY36" fmla="*/ 133350 h 295275"/>
                  <a:gd name="connsiteX37" fmla="*/ 109538 w 371475"/>
                  <a:gd name="connsiteY37" fmla="*/ 123825 h 295275"/>
                  <a:gd name="connsiteX38" fmla="*/ 71438 w 371475"/>
                  <a:gd name="connsiteY38" fmla="*/ 140494 h 295275"/>
                  <a:gd name="connsiteX39" fmla="*/ 76200 w 371475"/>
                  <a:gd name="connsiteY39" fmla="*/ 176212 h 295275"/>
                  <a:gd name="connsiteX40" fmla="*/ 21431 w 371475"/>
                  <a:gd name="connsiteY40" fmla="*/ 180975 h 295275"/>
                  <a:gd name="connsiteX0" fmla="*/ 21431 w 371475"/>
                  <a:gd name="connsiteY0" fmla="*/ 180975 h 292894"/>
                  <a:gd name="connsiteX1" fmla="*/ 26194 w 371475"/>
                  <a:gd name="connsiteY1" fmla="*/ 230981 h 292894"/>
                  <a:gd name="connsiteX2" fmla="*/ 54769 w 371475"/>
                  <a:gd name="connsiteY2" fmla="*/ 223837 h 292894"/>
                  <a:gd name="connsiteX3" fmla="*/ 111919 w 371475"/>
                  <a:gd name="connsiteY3" fmla="*/ 288131 h 292894"/>
                  <a:gd name="connsiteX4" fmla="*/ 161925 w 371475"/>
                  <a:gd name="connsiteY4" fmla="*/ 292894 h 292894"/>
                  <a:gd name="connsiteX5" fmla="*/ 178594 w 371475"/>
                  <a:gd name="connsiteY5" fmla="*/ 264319 h 292894"/>
                  <a:gd name="connsiteX6" fmla="*/ 178594 w 371475"/>
                  <a:gd name="connsiteY6" fmla="*/ 223837 h 292894"/>
                  <a:gd name="connsiteX7" fmla="*/ 207169 w 371475"/>
                  <a:gd name="connsiteY7" fmla="*/ 261937 h 292894"/>
                  <a:gd name="connsiteX8" fmla="*/ 245269 w 371475"/>
                  <a:gd name="connsiteY8" fmla="*/ 276225 h 292894"/>
                  <a:gd name="connsiteX9" fmla="*/ 257175 w 371475"/>
                  <a:gd name="connsiteY9" fmla="*/ 273844 h 292894"/>
                  <a:gd name="connsiteX10" fmla="*/ 295275 w 371475"/>
                  <a:gd name="connsiteY10" fmla="*/ 226219 h 292894"/>
                  <a:gd name="connsiteX11" fmla="*/ 323850 w 371475"/>
                  <a:gd name="connsiteY11" fmla="*/ 219075 h 292894"/>
                  <a:gd name="connsiteX12" fmla="*/ 335756 w 371475"/>
                  <a:gd name="connsiteY12" fmla="*/ 180975 h 292894"/>
                  <a:gd name="connsiteX13" fmla="*/ 319088 w 371475"/>
                  <a:gd name="connsiteY13" fmla="*/ 128587 h 292894"/>
                  <a:gd name="connsiteX14" fmla="*/ 307181 w 371475"/>
                  <a:gd name="connsiteY14" fmla="*/ 109537 h 292894"/>
                  <a:gd name="connsiteX15" fmla="*/ 354806 w 371475"/>
                  <a:gd name="connsiteY15" fmla="*/ 95250 h 292894"/>
                  <a:gd name="connsiteX16" fmla="*/ 371475 w 371475"/>
                  <a:gd name="connsiteY16" fmla="*/ 50006 h 292894"/>
                  <a:gd name="connsiteX17" fmla="*/ 347663 w 371475"/>
                  <a:gd name="connsiteY17" fmla="*/ 14287 h 292894"/>
                  <a:gd name="connsiteX18" fmla="*/ 319088 w 371475"/>
                  <a:gd name="connsiteY18" fmla="*/ 14287 h 292894"/>
                  <a:gd name="connsiteX19" fmla="*/ 290513 w 371475"/>
                  <a:gd name="connsiteY19" fmla="*/ 16669 h 292894"/>
                  <a:gd name="connsiteX20" fmla="*/ 264319 w 371475"/>
                  <a:gd name="connsiteY20" fmla="*/ 7144 h 292894"/>
                  <a:gd name="connsiteX21" fmla="*/ 240506 w 371475"/>
                  <a:gd name="connsiteY21" fmla="*/ 19050 h 292894"/>
                  <a:gd name="connsiteX22" fmla="*/ 209550 w 371475"/>
                  <a:gd name="connsiteY22" fmla="*/ 23812 h 292894"/>
                  <a:gd name="connsiteX23" fmla="*/ 154781 w 371475"/>
                  <a:gd name="connsiteY23" fmla="*/ 19050 h 292894"/>
                  <a:gd name="connsiteX24" fmla="*/ 90488 w 371475"/>
                  <a:gd name="connsiteY24" fmla="*/ 0 h 292894"/>
                  <a:gd name="connsiteX25" fmla="*/ 38100 w 371475"/>
                  <a:gd name="connsiteY25" fmla="*/ 9525 h 292894"/>
                  <a:gd name="connsiteX26" fmla="*/ 0 w 371475"/>
                  <a:gd name="connsiteY26" fmla="*/ 52387 h 292894"/>
                  <a:gd name="connsiteX27" fmla="*/ 21431 w 371475"/>
                  <a:gd name="connsiteY27" fmla="*/ 111919 h 292894"/>
                  <a:gd name="connsiteX28" fmla="*/ 80963 w 371475"/>
                  <a:gd name="connsiteY28" fmla="*/ 121444 h 292894"/>
                  <a:gd name="connsiteX29" fmla="*/ 142875 w 371475"/>
                  <a:gd name="connsiteY29" fmla="*/ 121444 h 292894"/>
                  <a:gd name="connsiteX30" fmla="*/ 185738 w 371475"/>
                  <a:gd name="connsiteY30" fmla="*/ 152400 h 292894"/>
                  <a:gd name="connsiteX31" fmla="*/ 242888 w 371475"/>
                  <a:gd name="connsiteY31" fmla="*/ 173831 h 292894"/>
                  <a:gd name="connsiteX32" fmla="*/ 261938 w 371475"/>
                  <a:gd name="connsiteY32" fmla="*/ 176212 h 292894"/>
                  <a:gd name="connsiteX33" fmla="*/ 240506 w 371475"/>
                  <a:gd name="connsiteY33" fmla="*/ 195262 h 292894"/>
                  <a:gd name="connsiteX34" fmla="*/ 235744 w 371475"/>
                  <a:gd name="connsiteY34" fmla="*/ 209550 h 292894"/>
                  <a:gd name="connsiteX35" fmla="*/ 211931 w 371475"/>
                  <a:gd name="connsiteY35" fmla="*/ 171450 h 292894"/>
                  <a:gd name="connsiteX36" fmla="*/ 159544 w 371475"/>
                  <a:gd name="connsiteY36" fmla="*/ 133350 h 292894"/>
                  <a:gd name="connsiteX37" fmla="*/ 109538 w 371475"/>
                  <a:gd name="connsiteY37" fmla="*/ 123825 h 292894"/>
                  <a:gd name="connsiteX38" fmla="*/ 71438 w 371475"/>
                  <a:gd name="connsiteY38" fmla="*/ 140494 h 292894"/>
                  <a:gd name="connsiteX39" fmla="*/ 76200 w 371475"/>
                  <a:gd name="connsiteY39" fmla="*/ 176212 h 292894"/>
                  <a:gd name="connsiteX40" fmla="*/ 21431 w 371475"/>
                  <a:gd name="connsiteY40" fmla="*/ 180975 h 292894"/>
                  <a:gd name="connsiteX0" fmla="*/ 21431 w 371475"/>
                  <a:gd name="connsiteY0" fmla="*/ 180975 h 292894"/>
                  <a:gd name="connsiteX1" fmla="*/ 26194 w 371475"/>
                  <a:gd name="connsiteY1" fmla="*/ 230981 h 292894"/>
                  <a:gd name="connsiteX2" fmla="*/ 54769 w 371475"/>
                  <a:gd name="connsiteY2" fmla="*/ 223837 h 292894"/>
                  <a:gd name="connsiteX3" fmla="*/ 111919 w 371475"/>
                  <a:gd name="connsiteY3" fmla="*/ 288131 h 292894"/>
                  <a:gd name="connsiteX4" fmla="*/ 161925 w 371475"/>
                  <a:gd name="connsiteY4" fmla="*/ 292894 h 292894"/>
                  <a:gd name="connsiteX5" fmla="*/ 178594 w 371475"/>
                  <a:gd name="connsiteY5" fmla="*/ 264319 h 292894"/>
                  <a:gd name="connsiteX6" fmla="*/ 178594 w 371475"/>
                  <a:gd name="connsiteY6" fmla="*/ 223837 h 292894"/>
                  <a:gd name="connsiteX7" fmla="*/ 207169 w 371475"/>
                  <a:gd name="connsiteY7" fmla="*/ 261937 h 292894"/>
                  <a:gd name="connsiteX8" fmla="*/ 245269 w 371475"/>
                  <a:gd name="connsiteY8" fmla="*/ 276225 h 292894"/>
                  <a:gd name="connsiteX9" fmla="*/ 273844 w 371475"/>
                  <a:gd name="connsiteY9" fmla="*/ 266700 h 292894"/>
                  <a:gd name="connsiteX10" fmla="*/ 295275 w 371475"/>
                  <a:gd name="connsiteY10" fmla="*/ 226219 h 292894"/>
                  <a:gd name="connsiteX11" fmla="*/ 323850 w 371475"/>
                  <a:gd name="connsiteY11" fmla="*/ 219075 h 292894"/>
                  <a:gd name="connsiteX12" fmla="*/ 335756 w 371475"/>
                  <a:gd name="connsiteY12" fmla="*/ 180975 h 292894"/>
                  <a:gd name="connsiteX13" fmla="*/ 319088 w 371475"/>
                  <a:gd name="connsiteY13" fmla="*/ 128587 h 292894"/>
                  <a:gd name="connsiteX14" fmla="*/ 307181 w 371475"/>
                  <a:gd name="connsiteY14" fmla="*/ 109537 h 292894"/>
                  <a:gd name="connsiteX15" fmla="*/ 354806 w 371475"/>
                  <a:gd name="connsiteY15" fmla="*/ 95250 h 292894"/>
                  <a:gd name="connsiteX16" fmla="*/ 371475 w 371475"/>
                  <a:gd name="connsiteY16" fmla="*/ 50006 h 292894"/>
                  <a:gd name="connsiteX17" fmla="*/ 347663 w 371475"/>
                  <a:gd name="connsiteY17" fmla="*/ 14287 h 292894"/>
                  <a:gd name="connsiteX18" fmla="*/ 319088 w 371475"/>
                  <a:gd name="connsiteY18" fmla="*/ 14287 h 292894"/>
                  <a:gd name="connsiteX19" fmla="*/ 290513 w 371475"/>
                  <a:gd name="connsiteY19" fmla="*/ 16669 h 292894"/>
                  <a:gd name="connsiteX20" fmla="*/ 264319 w 371475"/>
                  <a:gd name="connsiteY20" fmla="*/ 7144 h 292894"/>
                  <a:gd name="connsiteX21" fmla="*/ 240506 w 371475"/>
                  <a:gd name="connsiteY21" fmla="*/ 19050 h 292894"/>
                  <a:gd name="connsiteX22" fmla="*/ 209550 w 371475"/>
                  <a:gd name="connsiteY22" fmla="*/ 23812 h 292894"/>
                  <a:gd name="connsiteX23" fmla="*/ 154781 w 371475"/>
                  <a:gd name="connsiteY23" fmla="*/ 19050 h 292894"/>
                  <a:gd name="connsiteX24" fmla="*/ 90488 w 371475"/>
                  <a:gd name="connsiteY24" fmla="*/ 0 h 292894"/>
                  <a:gd name="connsiteX25" fmla="*/ 38100 w 371475"/>
                  <a:gd name="connsiteY25" fmla="*/ 9525 h 292894"/>
                  <a:gd name="connsiteX26" fmla="*/ 0 w 371475"/>
                  <a:gd name="connsiteY26" fmla="*/ 52387 h 292894"/>
                  <a:gd name="connsiteX27" fmla="*/ 21431 w 371475"/>
                  <a:gd name="connsiteY27" fmla="*/ 111919 h 292894"/>
                  <a:gd name="connsiteX28" fmla="*/ 80963 w 371475"/>
                  <a:gd name="connsiteY28" fmla="*/ 121444 h 292894"/>
                  <a:gd name="connsiteX29" fmla="*/ 142875 w 371475"/>
                  <a:gd name="connsiteY29" fmla="*/ 121444 h 292894"/>
                  <a:gd name="connsiteX30" fmla="*/ 185738 w 371475"/>
                  <a:gd name="connsiteY30" fmla="*/ 152400 h 292894"/>
                  <a:gd name="connsiteX31" fmla="*/ 242888 w 371475"/>
                  <a:gd name="connsiteY31" fmla="*/ 173831 h 292894"/>
                  <a:gd name="connsiteX32" fmla="*/ 261938 w 371475"/>
                  <a:gd name="connsiteY32" fmla="*/ 176212 h 292894"/>
                  <a:gd name="connsiteX33" fmla="*/ 240506 w 371475"/>
                  <a:gd name="connsiteY33" fmla="*/ 195262 h 292894"/>
                  <a:gd name="connsiteX34" fmla="*/ 235744 w 371475"/>
                  <a:gd name="connsiteY34" fmla="*/ 209550 h 292894"/>
                  <a:gd name="connsiteX35" fmla="*/ 211931 w 371475"/>
                  <a:gd name="connsiteY35" fmla="*/ 171450 h 292894"/>
                  <a:gd name="connsiteX36" fmla="*/ 159544 w 371475"/>
                  <a:gd name="connsiteY36" fmla="*/ 133350 h 292894"/>
                  <a:gd name="connsiteX37" fmla="*/ 109538 w 371475"/>
                  <a:gd name="connsiteY37" fmla="*/ 123825 h 292894"/>
                  <a:gd name="connsiteX38" fmla="*/ 71438 w 371475"/>
                  <a:gd name="connsiteY38" fmla="*/ 140494 h 292894"/>
                  <a:gd name="connsiteX39" fmla="*/ 76200 w 371475"/>
                  <a:gd name="connsiteY39" fmla="*/ 176212 h 292894"/>
                  <a:gd name="connsiteX40" fmla="*/ 21431 w 371475"/>
                  <a:gd name="connsiteY40" fmla="*/ 180975 h 292894"/>
                  <a:gd name="connsiteX0" fmla="*/ 21431 w 371475"/>
                  <a:gd name="connsiteY0" fmla="*/ 180975 h 292894"/>
                  <a:gd name="connsiteX1" fmla="*/ 26194 w 371475"/>
                  <a:gd name="connsiteY1" fmla="*/ 230981 h 292894"/>
                  <a:gd name="connsiteX2" fmla="*/ 54769 w 371475"/>
                  <a:gd name="connsiteY2" fmla="*/ 223837 h 292894"/>
                  <a:gd name="connsiteX3" fmla="*/ 111919 w 371475"/>
                  <a:gd name="connsiteY3" fmla="*/ 288131 h 292894"/>
                  <a:gd name="connsiteX4" fmla="*/ 161925 w 371475"/>
                  <a:gd name="connsiteY4" fmla="*/ 292894 h 292894"/>
                  <a:gd name="connsiteX5" fmla="*/ 178594 w 371475"/>
                  <a:gd name="connsiteY5" fmla="*/ 264319 h 292894"/>
                  <a:gd name="connsiteX6" fmla="*/ 178594 w 371475"/>
                  <a:gd name="connsiteY6" fmla="*/ 223837 h 292894"/>
                  <a:gd name="connsiteX7" fmla="*/ 207169 w 371475"/>
                  <a:gd name="connsiteY7" fmla="*/ 261937 h 292894"/>
                  <a:gd name="connsiteX8" fmla="*/ 245269 w 371475"/>
                  <a:gd name="connsiteY8" fmla="*/ 276225 h 292894"/>
                  <a:gd name="connsiteX9" fmla="*/ 273844 w 371475"/>
                  <a:gd name="connsiteY9" fmla="*/ 266700 h 292894"/>
                  <a:gd name="connsiteX10" fmla="*/ 295275 w 371475"/>
                  <a:gd name="connsiteY10" fmla="*/ 226219 h 292894"/>
                  <a:gd name="connsiteX11" fmla="*/ 333375 w 371475"/>
                  <a:gd name="connsiteY11" fmla="*/ 211932 h 292894"/>
                  <a:gd name="connsiteX12" fmla="*/ 335756 w 371475"/>
                  <a:gd name="connsiteY12" fmla="*/ 180975 h 292894"/>
                  <a:gd name="connsiteX13" fmla="*/ 319088 w 371475"/>
                  <a:gd name="connsiteY13" fmla="*/ 128587 h 292894"/>
                  <a:gd name="connsiteX14" fmla="*/ 307181 w 371475"/>
                  <a:gd name="connsiteY14" fmla="*/ 109537 h 292894"/>
                  <a:gd name="connsiteX15" fmla="*/ 354806 w 371475"/>
                  <a:gd name="connsiteY15" fmla="*/ 95250 h 292894"/>
                  <a:gd name="connsiteX16" fmla="*/ 371475 w 371475"/>
                  <a:gd name="connsiteY16" fmla="*/ 50006 h 292894"/>
                  <a:gd name="connsiteX17" fmla="*/ 347663 w 371475"/>
                  <a:gd name="connsiteY17" fmla="*/ 14287 h 292894"/>
                  <a:gd name="connsiteX18" fmla="*/ 319088 w 371475"/>
                  <a:gd name="connsiteY18" fmla="*/ 14287 h 292894"/>
                  <a:gd name="connsiteX19" fmla="*/ 290513 w 371475"/>
                  <a:gd name="connsiteY19" fmla="*/ 16669 h 292894"/>
                  <a:gd name="connsiteX20" fmla="*/ 264319 w 371475"/>
                  <a:gd name="connsiteY20" fmla="*/ 7144 h 292894"/>
                  <a:gd name="connsiteX21" fmla="*/ 240506 w 371475"/>
                  <a:gd name="connsiteY21" fmla="*/ 19050 h 292894"/>
                  <a:gd name="connsiteX22" fmla="*/ 209550 w 371475"/>
                  <a:gd name="connsiteY22" fmla="*/ 23812 h 292894"/>
                  <a:gd name="connsiteX23" fmla="*/ 154781 w 371475"/>
                  <a:gd name="connsiteY23" fmla="*/ 19050 h 292894"/>
                  <a:gd name="connsiteX24" fmla="*/ 90488 w 371475"/>
                  <a:gd name="connsiteY24" fmla="*/ 0 h 292894"/>
                  <a:gd name="connsiteX25" fmla="*/ 38100 w 371475"/>
                  <a:gd name="connsiteY25" fmla="*/ 9525 h 292894"/>
                  <a:gd name="connsiteX26" fmla="*/ 0 w 371475"/>
                  <a:gd name="connsiteY26" fmla="*/ 52387 h 292894"/>
                  <a:gd name="connsiteX27" fmla="*/ 21431 w 371475"/>
                  <a:gd name="connsiteY27" fmla="*/ 111919 h 292894"/>
                  <a:gd name="connsiteX28" fmla="*/ 80963 w 371475"/>
                  <a:gd name="connsiteY28" fmla="*/ 121444 h 292894"/>
                  <a:gd name="connsiteX29" fmla="*/ 142875 w 371475"/>
                  <a:gd name="connsiteY29" fmla="*/ 121444 h 292894"/>
                  <a:gd name="connsiteX30" fmla="*/ 185738 w 371475"/>
                  <a:gd name="connsiteY30" fmla="*/ 152400 h 292894"/>
                  <a:gd name="connsiteX31" fmla="*/ 242888 w 371475"/>
                  <a:gd name="connsiteY31" fmla="*/ 173831 h 292894"/>
                  <a:gd name="connsiteX32" fmla="*/ 261938 w 371475"/>
                  <a:gd name="connsiteY32" fmla="*/ 176212 h 292894"/>
                  <a:gd name="connsiteX33" fmla="*/ 240506 w 371475"/>
                  <a:gd name="connsiteY33" fmla="*/ 195262 h 292894"/>
                  <a:gd name="connsiteX34" fmla="*/ 235744 w 371475"/>
                  <a:gd name="connsiteY34" fmla="*/ 209550 h 292894"/>
                  <a:gd name="connsiteX35" fmla="*/ 211931 w 371475"/>
                  <a:gd name="connsiteY35" fmla="*/ 171450 h 292894"/>
                  <a:gd name="connsiteX36" fmla="*/ 159544 w 371475"/>
                  <a:gd name="connsiteY36" fmla="*/ 133350 h 292894"/>
                  <a:gd name="connsiteX37" fmla="*/ 109538 w 371475"/>
                  <a:gd name="connsiteY37" fmla="*/ 123825 h 292894"/>
                  <a:gd name="connsiteX38" fmla="*/ 71438 w 371475"/>
                  <a:gd name="connsiteY38" fmla="*/ 140494 h 292894"/>
                  <a:gd name="connsiteX39" fmla="*/ 76200 w 371475"/>
                  <a:gd name="connsiteY39" fmla="*/ 176212 h 292894"/>
                  <a:gd name="connsiteX40" fmla="*/ 21431 w 371475"/>
                  <a:gd name="connsiteY40" fmla="*/ 180975 h 292894"/>
                  <a:gd name="connsiteX0" fmla="*/ 21431 w 371475"/>
                  <a:gd name="connsiteY0" fmla="*/ 180975 h 292894"/>
                  <a:gd name="connsiteX1" fmla="*/ 26194 w 371475"/>
                  <a:gd name="connsiteY1" fmla="*/ 230981 h 292894"/>
                  <a:gd name="connsiteX2" fmla="*/ 54769 w 371475"/>
                  <a:gd name="connsiteY2" fmla="*/ 223837 h 292894"/>
                  <a:gd name="connsiteX3" fmla="*/ 111919 w 371475"/>
                  <a:gd name="connsiteY3" fmla="*/ 288131 h 292894"/>
                  <a:gd name="connsiteX4" fmla="*/ 161925 w 371475"/>
                  <a:gd name="connsiteY4" fmla="*/ 292894 h 292894"/>
                  <a:gd name="connsiteX5" fmla="*/ 178594 w 371475"/>
                  <a:gd name="connsiteY5" fmla="*/ 264319 h 292894"/>
                  <a:gd name="connsiteX6" fmla="*/ 178594 w 371475"/>
                  <a:gd name="connsiteY6" fmla="*/ 223837 h 292894"/>
                  <a:gd name="connsiteX7" fmla="*/ 207169 w 371475"/>
                  <a:gd name="connsiteY7" fmla="*/ 261937 h 292894"/>
                  <a:gd name="connsiteX8" fmla="*/ 245269 w 371475"/>
                  <a:gd name="connsiteY8" fmla="*/ 276225 h 292894"/>
                  <a:gd name="connsiteX9" fmla="*/ 273844 w 371475"/>
                  <a:gd name="connsiteY9" fmla="*/ 266700 h 292894"/>
                  <a:gd name="connsiteX10" fmla="*/ 295275 w 371475"/>
                  <a:gd name="connsiteY10" fmla="*/ 226219 h 292894"/>
                  <a:gd name="connsiteX11" fmla="*/ 333375 w 371475"/>
                  <a:gd name="connsiteY11" fmla="*/ 211932 h 292894"/>
                  <a:gd name="connsiteX12" fmla="*/ 342900 w 371475"/>
                  <a:gd name="connsiteY12" fmla="*/ 176212 h 292894"/>
                  <a:gd name="connsiteX13" fmla="*/ 319088 w 371475"/>
                  <a:gd name="connsiteY13" fmla="*/ 128587 h 292894"/>
                  <a:gd name="connsiteX14" fmla="*/ 307181 w 371475"/>
                  <a:gd name="connsiteY14" fmla="*/ 109537 h 292894"/>
                  <a:gd name="connsiteX15" fmla="*/ 354806 w 371475"/>
                  <a:gd name="connsiteY15" fmla="*/ 95250 h 292894"/>
                  <a:gd name="connsiteX16" fmla="*/ 371475 w 371475"/>
                  <a:gd name="connsiteY16" fmla="*/ 50006 h 292894"/>
                  <a:gd name="connsiteX17" fmla="*/ 347663 w 371475"/>
                  <a:gd name="connsiteY17" fmla="*/ 14287 h 292894"/>
                  <a:gd name="connsiteX18" fmla="*/ 319088 w 371475"/>
                  <a:gd name="connsiteY18" fmla="*/ 14287 h 292894"/>
                  <a:gd name="connsiteX19" fmla="*/ 290513 w 371475"/>
                  <a:gd name="connsiteY19" fmla="*/ 16669 h 292894"/>
                  <a:gd name="connsiteX20" fmla="*/ 264319 w 371475"/>
                  <a:gd name="connsiteY20" fmla="*/ 7144 h 292894"/>
                  <a:gd name="connsiteX21" fmla="*/ 240506 w 371475"/>
                  <a:gd name="connsiteY21" fmla="*/ 19050 h 292894"/>
                  <a:gd name="connsiteX22" fmla="*/ 209550 w 371475"/>
                  <a:gd name="connsiteY22" fmla="*/ 23812 h 292894"/>
                  <a:gd name="connsiteX23" fmla="*/ 154781 w 371475"/>
                  <a:gd name="connsiteY23" fmla="*/ 19050 h 292894"/>
                  <a:gd name="connsiteX24" fmla="*/ 90488 w 371475"/>
                  <a:gd name="connsiteY24" fmla="*/ 0 h 292894"/>
                  <a:gd name="connsiteX25" fmla="*/ 38100 w 371475"/>
                  <a:gd name="connsiteY25" fmla="*/ 9525 h 292894"/>
                  <a:gd name="connsiteX26" fmla="*/ 0 w 371475"/>
                  <a:gd name="connsiteY26" fmla="*/ 52387 h 292894"/>
                  <a:gd name="connsiteX27" fmla="*/ 21431 w 371475"/>
                  <a:gd name="connsiteY27" fmla="*/ 111919 h 292894"/>
                  <a:gd name="connsiteX28" fmla="*/ 80963 w 371475"/>
                  <a:gd name="connsiteY28" fmla="*/ 121444 h 292894"/>
                  <a:gd name="connsiteX29" fmla="*/ 142875 w 371475"/>
                  <a:gd name="connsiteY29" fmla="*/ 121444 h 292894"/>
                  <a:gd name="connsiteX30" fmla="*/ 185738 w 371475"/>
                  <a:gd name="connsiteY30" fmla="*/ 152400 h 292894"/>
                  <a:gd name="connsiteX31" fmla="*/ 242888 w 371475"/>
                  <a:gd name="connsiteY31" fmla="*/ 173831 h 292894"/>
                  <a:gd name="connsiteX32" fmla="*/ 261938 w 371475"/>
                  <a:gd name="connsiteY32" fmla="*/ 176212 h 292894"/>
                  <a:gd name="connsiteX33" fmla="*/ 240506 w 371475"/>
                  <a:gd name="connsiteY33" fmla="*/ 195262 h 292894"/>
                  <a:gd name="connsiteX34" fmla="*/ 235744 w 371475"/>
                  <a:gd name="connsiteY34" fmla="*/ 209550 h 292894"/>
                  <a:gd name="connsiteX35" fmla="*/ 211931 w 371475"/>
                  <a:gd name="connsiteY35" fmla="*/ 171450 h 292894"/>
                  <a:gd name="connsiteX36" fmla="*/ 159544 w 371475"/>
                  <a:gd name="connsiteY36" fmla="*/ 133350 h 292894"/>
                  <a:gd name="connsiteX37" fmla="*/ 109538 w 371475"/>
                  <a:gd name="connsiteY37" fmla="*/ 123825 h 292894"/>
                  <a:gd name="connsiteX38" fmla="*/ 71438 w 371475"/>
                  <a:gd name="connsiteY38" fmla="*/ 140494 h 292894"/>
                  <a:gd name="connsiteX39" fmla="*/ 76200 w 371475"/>
                  <a:gd name="connsiteY39" fmla="*/ 176212 h 292894"/>
                  <a:gd name="connsiteX40" fmla="*/ 21431 w 371475"/>
                  <a:gd name="connsiteY40" fmla="*/ 180975 h 292894"/>
                  <a:gd name="connsiteX0" fmla="*/ 21431 w 371475"/>
                  <a:gd name="connsiteY0" fmla="*/ 180975 h 292894"/>
                  <a:gd name="connsiteX1" fmla="*/ 26194 w 371475"/>
                  <a:gd name="connsiteY1" fmla="*/ 230981 h 292894"/>
                  <a:gd name="connsiteX2" fmla="*/ 54769 w 371475"/>
                  <a:gd name="connsiteY2" fmla="*/ 223837 h 292894"/>
                  <a:gd name="connsiteX3" fmla="*/ 111919 w 371475"/>
                  <a:gd name="connsiteY3" fmla="*/ 288131 h 292894"/>
                  <a:gd name="connsiteX4" fmla="*/ 161925 w 371475"/>
                  <a:gd name="connsiteY4" fmla="*/ 292894 h 292894"/>
                  <a:gd name="connsiteX5" fmla="*/ 178594 w 371475"/>
                  <a:gd name="connsiteY5" fmla="*/ 264319 h 292894"/>
                  <a:gd name="connsiteX6" fmla="*/ 178594 w 371475"/>
                  <a:gd name="connsiteY6" fmla="*/ 223837 h 292894"/>
                  <a:gd name="connsiteX7" fmla="*/ 207169 w 371475"/>
                  <a:gd name="connsiteY7" fmla="*/ 261937 h 292894"/>
                  <a:gd name="connsiteX8" fmla="*/ 245269 w 371475"/>
                  <a:gd name="connsiteY8" fmla="*/ 276225 h 292894"/>
                  <a:gd name="connsiteX9" fmla="*/ 273844 w 371475"/>
                  <a:gd name="connsiteY9" fmla="*/ 266700 h 292894"/>
                  <a:gd name="connsiteX10" fmla="*/ 295275 w 371475"/>
                  <a:gd name="connsiteY10" fmla="*/ 226219 h 292894"/>
                  <a:gd name="connsiteX11" fmla="*/ 333375 w 371475"/>
                  <a:gd name="connsiteY11" fmla="*/ 211932 h 292894"/>
                  <a:gd name="connsiteX12" fmla="*/ 342900 w 371475"/>
                  <a:gd name="connsiteY12" fmla="*/ 176212 h 292894"/>
                  <a:gd name="connsiteX13" fmla="*/ 319088 w 371475"/>
                  <a:gd name="connsiteY13" fmla="*/ 128587 h 292894"/>
                  <a:gd name="connsiteX14" fmla="*/ 307181 w 371475"/>
                  <a:gd name="connsiteY14" fmla="*/ 109537 h 292894"/>
                  <a:gd name="connsiteX15" fmla="*/ 366712 w 371475"/>
                  <a:gd name="connsiteY15" fmla="*/ 90487 h 292894"/>
                  <a:gd name="connsiteX16" fmla="*/ 371475 w 371475"/>
                  <a:gd name="connsiteY16" fmla="*/ 50006 h 292894"/>
                  <a:gd name="connsiteX17" fmla="*/ 347663 w 371475"/>
                  <a:gd name="connsiteY17" fmla="*/ 14287 h 292894"/>
                  <a:gd name="connsiteX18" fmla="*/ 319088 w 371475"/>
                  <a:gd name="connsiteY18" fmla="*/ 14287 h 292894"/>
                  <a:gd name="connsiteX19" fmla="*/ 290513 w 371475"/>
                  <a:gd name="connsiteY19" fmla="*/ 16669 h 292894"/>
                  <a:gd name="connsiteX20" fmla="*/ 264319 w 371475"/>
                  <a:gd name="connsiteY20" fmla="*/ 7144 h 292894"/>
                  <a:gd name="connsiteX21" fmla="*/ 240506 w 371475"/>
                  <a:gd name="connsiteY21" fmla="*/ 19050 h 292894"/>
                  <a:gd name="connsiteX22" fmla="*/ 209550 w 371475"/>
                  <a:gd name="connsiteY22" fmla="*/ 23812 h 292894"/>
                  <a:gd name="connsiteX23" fmla="*/ 154781 w 371475"/>
                  <a:gd name="connsiteY23" fmla="*/ 19050 h 292894"/>
                  <a:gd name="connsiteX24" fmla="*/ 90488 w 371475"/>
                  <a:gd name="connsiteY24" fmla="*/ 0 h 292894"/>
                  <a:gd name="connsiteX25" fmla="*/ 38100 w 371475"/>
                  <a:gd name="connsiteY25" fmla="*/ 9525 h 292894"/>
                  <a:gd name="connsiteX26" fmla="*/ 0 w 371475"/>
                  <a:gd name="connsiteY26" fmla="*/ 52387 h 292894"/>
                  <a:gd name="connsiteX27" fmla="*/ 21431 w 371475"/>
                  <a:gd name="connsiteY27" fmla="*/ 111919 h 292894"/>
                  <a:gd name="connsiteX28" fmla="*/ 80963 w 371475"/>
                  <a:gd name="connsiteY28" fmla="*/ 121444 h 292894"/>
                  <a:gd name="connsiteX29" fmla="*/ 142875 w 371475"/>
                  <a:gd name="connsiteY29" fmla="*/ 121444 h 292894"/>
                  <a:gd name="connsiteX30" fmla="*/ 185738 w 371475"/>
                  <a:gd name="connsiteY30" fmla="*/ 152400 h 292894"/>
                  <a:gd name="connsiteX31" fmla="*/ 242888 w 371475"/>
                  <a:gd name="connsiteY31" fmla="*/ 173831 h 292894"/>
                  <a:gd name="connsiteX32" fmla="*/ 261938 w 371475"/>
                  <a:gd name="connsiteY32" fmla="*/ 176212 h 292894"/>
                  <a:gd name="connsiteX33" fmla="*/ 240506 w 371475"/>
                  <a:gd name="connsiteY33" fmla="*/ 195262 h 292894"/>
                  <a:gd name="connsiteX34" fmla="*/ 235744 w 371475"/>
                  <a:gd name="connsiteY34" fmla="*/ 209550 h 292894"/>
                  <a:gd name="connsiteX35" fmla="*/ 211931 w 371475"/>
                  <a:gd name="connsiteY35" fmla="*/ 171450 h 292894"/>
                  <a:gd name="connsiteX36" fmla="*/ 159544 w 371475"/>
                  <a:gd name="connsiteY36" fmla="*/ 133350 h 292894"/>
                  <a:gd name="connsiteX37" fmla="*/ 109538 w 371475"/>
                  <a:gd name="connsiteY37" fmla="*/ 123825 h 292894"/>
                  <a:gd name="connsiteX38" fmla="*/ 71438 w 371475"/>
                  <a:gd name="connsiteY38" fmla="*/ 140494 h 292894"/>
                  <a:gd name="connsiteX39" fmla="*/ 76200 w 371475"/>
                  <a:gd name="connsiteY39" fmla="*/ 176212 h 292894"/>
                  <a:gd name="connsiteX40" fmla="*/ 21431 w 371475"/>
                  <a:gd name="connsiteY40" fmla="*/ 180975 h 292894"/>
                  <a:gd name="connsiteX0" fmla="*/ 21431 w 371475"/>
                  <a:gd name="connsiteY0" fmla="*/ 180975 h 294722"/>
                  <a:gd name="connsiteX1" fmla="*/ 26194 w 371475"/>
                  <a:gd name="connsiteY1" fmla="*/ 230981 h 294722"/>
                  <a:gd name="connsiteX2" fmla="*/ 54769 w 371475"/>
                  <a:gd name="connsiteY2" fmla="*/ 223837 h 294722"/>
                  <a:gd name="connsiteX3" fmla="*/ 111919 w 371475"/>
                  <a:gd name="connsiteY3" fmla="*/ 288131 h 294722"/>
                  <a:gd name="connsiteX4" fmla="*/ 161925 w 371475"/>
                  <a:gd name="connsiteY4" fmla="*/ 292894 h 294722"/>
                  <a:gd name="connsiteX5" fmla="*/ 178594 w 371475"/>
                  <a:gd name="connsiteY5" fmla="*/ 264319 h 294722"/>
                  <a:gd name="connsiteX6" fmla="*/ 178594 w 371475"/>
                  <a:gd name="connsiteY6" fmla="*/ 223837 h 294722"/>
                  <a:gd name="connsiteX7" fmla="*/ 207169 w 371475"/>
                  <a:gd name="connsiteY7" fmla="*/ 261937 h 294722"/>
                  <a:gd name="connsiteX8" fmla="*/ 245269 w 371475"/>
                  <a:gd name="connsiteY8" fmla="*/ 276225 h 294722"/>
                  <a:gd name="connsiteX9" fmla="*/ 273844 w 371475"/>
                  <a:gd name="connsiteY9" fmla="*/ 266700 h 294722"/>
                  <a:gd name="connsiteX10" fmla="*/ 295275 w 371475"/>
                  <a:gd name="connsiteY10" fmla="*/ 226219 h 294722"/>
                  <a:gd name="connsiteX11" fmla="*/ 333375 w 371475"/>
                  <a:gd name="connsiteY11" fmla="*/ 211932 h 294722"/>
                  <a:gd name="connsiteX12" fmla="*/ 342900 w 371475"/>
                  <a:gd name="connsiteY12" fmla="*/ 176212 h 294722"/>
                  <a:gd name="connsiteX13" fmla="*/ 319088 w 371475"/>
                  <a:gd name="connsiteY13" fmla="*/ 128587 h 294722"/>
                  <a:gd name="connsiteX14" fmla="*/ 307181 w 371475"/>
                  <a:gd name="connsiteY14" fmla="*/ 109537 h 294722"/>
                  <a:gd name="connsiteX15" fmla="*/ 366712 w 371475"/>
                  <a:gd name="connsiteY15" fmla="*/ 90487 h 294722"/>
                  <a:gd name="connsiteX16" fmla="*/ 371475 w 371475"/>
                  <a:gd name="connsiteY16" fmla="*/ 50006 h 294722"/>
                  <a:gd name="connsiteX17" fmla="*/ 347663 w 371475"/>
                  <a:gd name="connsiteY17" fmla="*/ 14287 h 294722"/>
                  <a:gd name="connsiteX18" fmla="*/ 319088 w 371475"/>
                  <a:gd name="connsiteY18" fmla="*/ 14287 h 294722"/>
                  <a:gd name="connsiteX19" fmla="*/ 290513 w 371475"/>
                  <a:gd name="connsiteY19" fmla="*/ 16669 h 294722"/>
                  <a:gd name="connsiteX20" fmla="*/ 264319 w 371475"/>
                  <a:gd name="connsiteY20" fmla="*/ 7144 h 294722"/>
                  <a:gd name="connsiteX21" fmla="*/ 240506 w 371475"/>
                  <a:gd name="connsiteY21" fmla="*/ 19050 h 294722"/>
                  <a:gd name="connsiteX22" fmla="*/ 209550 w 371475"/>
                  <a:gd name="connsiteY22" fmla="*/ 23812 h 294722"/>
                  <a:gd name="connsiteX23" fmla="*/ 154781 w 371475"/>
                  <a:gd name="connsiteY23" fmla="*/ 19050 h 294722"/>
                  <a:gd name="connsiteX24" fmla="*/ 90488 w 371475"/>
                  <a:gd name="connsiteY24" fmla="*/ 0 h 294722"/>
                  <a:gd name="connsiteX25" fmla="*/ 38100 w 371475"/>
                  <a:gd name="connsiteY25" fmla="*/ 9525 h 294722"/>
                  <a:gd name="connsiteX26" fmla="*/ 0 w 371475"/>
                  <a:gd name="connsiteY26" fmla="*/ 52387 h 294722"/>
                  <a:gd name="connsiteX27" fmla="*/ 21431 w 371475"/>
                  <a:gd name="connsiteY27" fmla="*/ 111919 h 294722"/>
                  <a:gd name="connsiteX28" fmla="*/ 80963 w 371475"/>
                  <a:gd name="connsiteY28" fmla="*/ 121444 h 294722"/>
                  <a:gd name="connsiteX29" fmla="*/ 142875 w 371475"/>
                  <a:gd name="connsiteY29" fmla="*/ 121444 h 294722"/>
                  <a:gd name="connsiteX30" fmla="*/ 185738 w 371475"/>
                  <a:gd name="connsiteY30" fmla="*/ 152400 h 294722"/>
                  <a:gd name="connsiteX31" fmla="*/ 242888 w 371475"/>
                  <a:gd name="connsiteY31" fmla="*/ 173831 h 294722"/>
                  <a:gd name="connsiteX32" fmla="*/ 261938 w 371475"/>
                  <a:gd name="connsiteY32" fmla="*/ 176212 h 294722"/>
                  <a:gd name="connsiteX33" fmla="*/ 240506 w 371475"/>
                  <a:gd name="connsiteY33" fmla="*/ 195262 h 294722"/>
                  <a:gd name="connsiteX34" fmla="*/ 235744 w 371475"/>
                  <a:gd name="connsiteY34" fmla="*/ 209550 h 294722"/>
                  <a:gd name="connsiteX35" fmla="*/ 211931 w 371475"/>
                  <a:gd name="connsiteY35" fmla="*/ 171450 h 294722"/>
                  <a:gd name="connsiteX36" fmla="*/ 159544 w 371475"/>
                  <a:gd name="connsiteY36" fmla="*/ 133350 h 294722"/>
                  <a:gd name="connsiteX37" fmla="*/ 109538 w 371475"/>
                  <a:gd name="connsiteY37" fmla="*/ 123825 h 294722"/>
                  <a:gd name="connsiteX38" fmla="*/ 71438 w 371475"/>
                  <a:gd name="connsiteY38" fmla="*/ 140494 h 294722"/>
                  <a:gd name="connsiteX39" fmla="*/ 76200 w 371475"/>
                  <a:gd name="connsiteY39" fmla="*/ 176212 h 294722"/>
                  <a:gd name="connsiteX40" fmla="*/ 21431 w 371475"/>
                  <a:gd name="connsiteY40" fmla="*/ 180975 h 294722"/>
                  <a:gd name="connsiteX0" fmla="*/ 21431 w 371475"/>
                  <a:gd name="connsiteY0" fmla="*/ 180975 h 294722"/>
                  <a:gd name="connsiteX1" fmla="*/ 26194 w 371475"/>
                  <a:gd name="connsiteY1" fmla="*/ 230981 h 294722"/>
                  <a:gd name="connsiteX2" fmla="*/ 54769 w 371475"/>
                  <a:gd name="connsiteY2" fmla="*/ 223837 h 294722"/>
                  <a:gd name="connsiteX3" fmla="*/ 111919 w 371475"/>
                  <a:gd name="connsiteY3" fmla="*/ 288131 h 294722"/>
                  <a:gd name="connsiteX4" fmla="*/ 161925 w 371475"/>
                  <a:gd name="connsiteY4" fmla="*/ 292894 h 294722"/>
                  <a:gd name="connsiteX5" fmla="*/ 178594 w 371475"/>
                  <a:gd name="connsiteY5" fmla="*/ 264319 h 294722"/>
                  <a:gd name="connsiteX6" fmla="*/ 178594 w 371475"/>
                  <a:gd name="connsiteY6" fmla="*/ 223837 h 294722"/>
                  <a:gd name="connsiteX7" fmla="*/ 207169 w 371475"/>
                  <a:gd name="connsiteY7" fmla="*/ 261937 h 294722"/>
                  <a:gd name="connsiteX8" fmla="*/ 245269 w 371475"/>
                  <a:gd name="connsiteY8" fmla="*/ 276225 h 294722"/>
                  <a:gd name="connsiteX9" fmla="*/ 273844 w 371475"/>
                  <a:gd name="connsiteY9" fmla="*/ 266700 h 294722"/>
                  <a:gd name="connsiteX10" fmla="*/ 295275 w 371475"/>
                  <a:gd name="connsiteY10" fmla="*/ 226219 h 294722"/>
                  <a:gd name="connsiteX11" fmla="*/ 333375 w 371475"/>
                  <a:gd name="connsiteY11" fmla="*/ 211932 h 294722"/>
                  <a:gd name="connsiteX12" fmla="*/ 342900 w 371475"/>
                  <a:gd name="connsiteY12" fmla="*/ 176212 h 294722"/>
                  <a:gd name="connsiteX13" fmla="*/ 319088 w 371475"/>
                  <a:gd name="connsiteY13" fmla="*/ 128587 h 294722"/>
                  <a:gd name="connsiteX14" fmla="*/ 307181 w 371475"/>
                  <a:gd name="connsiteY14" fmla="*/ 109537 h 294722"/>
                  <a:gd name="connsiteX15" fmla="*/ 366712 w 371475"/>
                  <a:gd name="connsiteY15" fmla="*/ 90487 h 294722"/>
                  <a:gd name="connsiteX16" fmla="*/ 371475 w 371475"/>
                  <a:gd name="connsiteY16" fmla="*/ 50006 h 294722"/>
                  <a:gd name="connsiteX17" fmla="*/ 347663 w 371475"/>
                  <a:gd name="connsiteY17" fmla="*/ 14287 h 294722"/>
                  <a:gd name="connsiteX18" fmla="*/ 319088 w 371475"/>
                  <a:gd name="connsiteY18" fmla="*/ 14287 h 294722"/>
                  <a:gd name="connsiteX19" fmla="*/ 290513 w 371475"/>
                  <a:gd name="connsiteY19" fmla="*/ 16669 h 294722"/>
                  <a:gd name="connsiteX20" fmla="*/ 264319 w 371475"/>
                  <a:gd name="connsiteY20" fmla="*/ 7144 h 294722"/>
                  <a:gd name="connsiteX21" fmla="*/ 240506 w 371475"/>
                  <a:gd name="connsiteY21" fmla="*/ 19050 h 294722"/>
                  <a:gd name="connsiteX22" fmla="*/ 209550 w 371475"/>
                  <a:gd name="connsiteY22" fmla="*/ 23812 h 294722"/>
                  <a:gd name="connsiteX23" fmla="*/ 154781 w 371475"/>
                  <a:gd name="connsiteY23" fmla="*/ 19050 h 294722"/>
                  <a:gd name="connsiteX24" fmla="*/ 90488 w 371475"/>
                  <a:gd name="connsiteY24" fmla="*/ 0 h 294722"/>
                  <a:gd name="connsiteX25" fmla="*/ 38100 w 371475"/>
                  <a:gd name="connsiteY25" fmla="*/ 9525 h 294722"/>
                  <a:gd name="connsiteX26" fmla="*/ 0 w 371475"/>
                  <a:gd name="connsiteY26" fmla="*/ 52387 h 294722"/>
                  <a:gd name="connsiteX27" fmla="*/ 21431 w 371475"/>
                  <a:gd name="connsiteY27" fmla="*/ 111919 h 294722"/>
                  <a:gd name="connsiteX28" fmla="*/ 80963 w 371475"/>
                  <a:gd name="connsiteY28" fmla="*/ 121444 h 294722"/>
                  <a:gd name="connsiteX29" fmla="*/ 142875 w 371475"/>
                  <a:gd name="connsiteY29" fmla="*/ 121444 h 294722"/>
                  <a:gd name="connsiteX30" fmla="*/ 185738 w 371475"/>
                  <a:gd name="connsiteY30" fmla="*/ 152400 h 294722"/>
                  <a:gd name="connsiteX31" fmla="*/ 242888 w 371475"/>
                  <a:gd name="connsiteY31" fmla="*/ 173831 h 294722"/>
                  <a:gd name="connsiteX32" fmla="*/ 261938 w 371475"/>
                  <a:gd name="connsiteY32" fmla="*/ 176212 h 294722"/>
                  <a:gd name="connsiteX33" fmla="*/ 240506 w 371475"/>
                  <a:gd name="connsiteY33" fmla="*/ 195262 h 294722"/>
                  <a:gd name="connsiteX34" fmla="*/ 235744 w 371475"/>
                  <a:gd name="connsiteY34" fmla="*/ 209550 h 294722"/>
                  <a:gd name="connsiteX35" fmla="*/ 211931 w 371475"/>
                  <a:gd name="connsiteY35" fmla="*/ 171450 h 294722"/>
                  <a:gd name="connsiteX36" fmla="*/ 159544 w 371475"/>
                  <a:gd name="connsiteY36" fmla="*/ 133350 h 294722"/>
                  <a:gd name="connsiteX37" fmla="*/ 109538 w 371475"/>
                  <a:gd name="connsiteY37" fmla="*/ 123825 h 294722"/>
                  <a:gd name="connsiteX38" fmla="*/ 71438 w 371475"/>
                  <a:gd name="connsiteY38" fmla="*/ 140494 h 294722"/>
                  <a:gd name="connsiteX39" fmla="*/ 76200 w 371475"/>
                  <a:gd name="connsiteY39" fmla="*/ 176212 h 294722"/>
                  <a:gd name="connsiteX40" fmla="*/ 21431 w 371475"/>
                  <a:gd name="connsiteY40" fmla="*/ 180975 h 294722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78594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1932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07181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1932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07181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07181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76225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0993"/>
                  <a:gd name="connsiteX1" fmla="*/ 26194 w 371475"/>
                  <a:gd name="connsiteY1" fmla="*/ 230981 h 290993"/>
                  <a:gd name="connsiteX2" fmla="*/ 54769 w 371475"/>
                  <a:gd name="connsiteY2" fmla="*/ 223837 h 290993"/>
                  <a:gd name="connsiteX3" fmla="*/ 111919 w 371475"/>
                  <a:gd name="connsiteY3" fmla="*/ 288131 h 290993"/>
                  <a:gd name="connsiteX4" fmla="*/ 166688 w 371475"/>
                  <a:gd name="connsiteY4" fmla="*/ 288132 h 290993"/>
                  <a:gd name="connsiteX5" fmla="*/ 180975 w 371475"/>
                  <a:gd name="connsiteY5" fmla="*/ 264319 h 290993"/>
                  <a:gd name="connsiteX6" fmla="*/ 178594 w 371475"/>
                  <a:gd name="connsiteY6" fmla="*/ 223837 h 290993"/>
                  <a:gd name="connsiteX7" fmla="*/ 207169 w 371475"/>
                  <a:gd name="connsiteY7" fmla="*/ 261937 h 290993"/>
                  <a:gd name="connsiteX8" fmla="*/ 245269 w 371475"/>
                  <a:gd name="connsiteY8" fmla="*/ 281686 h 290993"/>
                  <a:gd name="connsiteX9" fmla="*/ 273844 w 371475"/>
                  <a:gd name="connsiteY9" fmla="*/ 266700 h 290993"/>
                  <a:gd name="connsiteX10" fmla="*/ 295275 w 371475"/>
                  <a:gd name="connsiteY10" fmla="*/ 226219 h 290993"/>
                  <a:gd name="connsiteX11" fmla="*/ 333375 w 371475"/>
                  <a:gd name="connsiteY11" fmla="*/ 216694 h 290993"/>
                  <a:gd name="connsiteX12" fmla="*/ 342900 w 371475"/>
                  <a:gd name="connsiteY12" fmla="*/ 176212 h 290993"/>
                  <a:gd name="connsiteX13" fmla="*/ 319088 w 371475"/>
                  <a:gd name="connsiteY13" fmla="*/ 128587 h 290993"/>
                  <a:gd name="connsiteX14" fmla="*/ 316706 w 371475"/>
                  <a:gd name="connsiteY14" fmla="*/ 109537 h 290993"/>
                  <a:gd name="connsiteX15" fmla="*/ 366712 w 371475"/>
                  <a:gd name="connsiteY15" fmla="*/ 90487 h 290993"/>
                  <a:gd name="connsiteX16" fmla="*/ 371475 w 371475"/>
                  <a:gd name="connsiteY16" fmla="*/ 50006 h 290993"/>
                  <a:gd name="connsiteX17" fmla="*/ 347663 w 371475"/>
                  <a:gd name="connsiteY17" fmla="*/ 14287 h 290993"/>
                  <a:gd name="connsiteX18" fmla="*/ 319088 w 371475"/>
                  <a:gd name="connsiteY18" fmla="*/ 14287 h 290993"/>
                  <a:gd name="connsiteX19" fmla="*/ 290513 w 371475"/>
                  <a:gd name="connsiteY19" fmla="*/ 16669 h 290993"/>
                  <a:gd name="connsiteX20" fmla="*/ 264319 w 371475"/>
                  <a:gd name="connsiteY20" fmla="*/ 7144 h 290993"/>
                  <a:gd name="connsiteX21" fmla="*/ 240506 w 371475"/>
                  <a:gd name="connsiteY21" fmla="*/ 19050 h 290993"/>
                  <a:gd name="connsiteX22" fmla="*/ 209550 w 371475"/>
                  <a:gd name="connsiteY22" fmla="*/ 23812 h 290993"/>
                  <a:gd name="connsiteX23" fmla="*/ 154781 w 371475"/>
                  <a:gd name="connsiteY23" fmla="*/ 19050 h 290993"/>
                  <a:gd name="connsiteX24" fmla="*/ 90488 w 371475"/>
                  <a:gd name="connsiteY24" fmla="*/ 0 h 290993"/>
                  <a:gd name="connsiteX25" fmla="*/ 38100 w 371475"/>
                  <a:gd name="connsiteY25" fmla="*/ 9525 h 290993"/>
                  <a:gd name="connsiteX26" fmla="*/ 0 w 371475"/>
                  <a:gd name="connsiteY26" fmla="*/ 52387 h 290993"/>
                  <a:gd name="connsiteX27" fmla="*/ 21431 w 371475"/>
                  <a:gd name="connsiteY27" fmla="*/ 111919 h 290993"/>
                  <a:gd name="connsiteX28" fmla="*/ 80963 w 371475"/>
                  <a:gd name="connsiteY28" fmla="*/ 121444 h 290993"/>
                  <a:gd name="connsiteX29" fmla="*/ 142875 w 371475"/>
                  <a:gd name="connsiteY29" fmla="*/ 121444 h 290993"/>
                  <a:gd name="connsiteX30" fmla="*/ 185738 w 371475"/>
                  <a:gd name="connsiteY30" fmla="*/ 152400 h 290993"/>
                  <a:gd name="connsiteX31" fmla="*/ 242888 w 371475"/>
                  <a:gd name="connsiteY31" fmla="*/ 173831 h 290993"/>
                  <a:gd name="connsiteX32" fmla="*/ 261938 w 371475"/>
                  <a:gd name="connsiteY32" fmla="*/ 176212 h 290993"/>
                  <a:gd name="connsiteX33" fmla="*/ 240506 w 371475"/>
                  <a:gd name="connsiteY33" fmla="*/ 195262 h 290993"/>
                  <a:gd name="connsiteX34" fmla="*/ 235744 w 371475"/>
                  <a:gd name="connsiteY34" fmla="*/ 209550 h 290993"/>
                  <a:gd name="connsiteX35" fmla="*/ 211931 w 371475"/>
                  <a:gd name="connsiteY35" fmla="*/ 171450 h 290993"/>
                  <a:gd name="connsiteX36" fmla="*/ 159544 w 371475"/>
                  <a:gd name="connsiteY36" fmla="*/ 133350 h 290993"/>
                  <a:gd name="connsiteX37" fmla="*/ 109538 w 371475"/>
                  <a:gd name="connsiteY37" fmla="*/ 123825 h 290993"/>
                  <a:gd name="connsiteX38" fmla="*/ 71438 w 371475"/>
                  <a:gd name="connsiteY38" fmla="*/ 140494 h 290993"/>
                  <a:gd name="connsiteX39" fmla="*/ 76200 w 371475"/>
                  <a:gd name="connsiteY39" fmla="*/ 176212 h 290993"/>
                  <a:gd name="connsiteX40" fmla="*/ 21431 w 371475"/>
                  <a:gd name="connsiteY40" fmla="*/ 180975 h 290993"/>
                  <a:gd name="connsiteX0" fmla="*/ 21431 w 371475"/>
                  <a:gd name="connsiteY0" fmla="*/ 180975 h 294004"/>
                  <a:gd name="connsiteX1" fmla="*/ 26194 w 371475"/>
                  <a:gd name="connsiteY1" fmla="*/ 230981 h 294004"/>
                  <a:gd name="connsiteX2" fmla="*/ 54769 w 371475"/>
                  <a:gd name="connsiteY2" fmla="*/ 223837 h 294004"/>
                  <a:gd name="connsiteX3" fmla="*/ 111919 w 371475"/>
                  <a:gd name="connsiteY3" fmla="*/ 288131 h 294004"/>
                  <a:gd name="connsiteX4" fmla="*/ 166688 w 371475"/>
                  <a:gd name="connsiteY4" fmla="*/ 288132 h 294004"/>
                  <a:gd name="connsiteX5" fmla="*/ 180975 w 371475"/>
                  <a:gd name="connsiteY5" fmla="*/ 264319 h 294004"/>
                  <a:gd name="connsiteX6" fmla="*/ 178594 w 371475"/>
                  <a:gd name="connsiteY6" fmla="*/ 223837 h 294004"/>
                  <a:gd name="connsiteX7" fmla="*/ 207169 w 371475"/>
                  <a:gd name="connsiteY7" fmla="*/ 261937 h 294004"/>
                  <a:gd name="connsiteX8" fmla="*/ 245269 w 371475"/>
                  <a:gd name="connsiteY8" fmla="*/ 281686 h 294004"/>
                  <a:gd name="connsiteX9" fmla="*/ 273844 w 371475"/>
                  <a:gd name="connsiteY9" fmla="*/ 266700 h 294004"/>
                  <a:gd name="connsiteX10" fmla="*/ 295275 w 371475"/>
                  <a:gd name="connsiteY10" fmla="*/ 226219 h 294004"/>
                  <a:gd name="connsiteX11" fmla="*/ 333375 w 371475"/>
                  <a:gd name="connsiteY11" fmla="*/ 216694 h 294004"/>
                  <a:gd name="connsiteX12" fmla="*/ 342900 w 371475"/>
                  <a:gd name="connsiteY12" fmla="*/ 176212 h 294004"/>
                  <a:gd name="connsiteX13" fmla="*/ 319088 w 371475"/>
                  <a:gd name="connsiteY13" fmla="*/ 128587 h 294004"/>
                  <a:gd name="connsiteX14" fmla="*/ 316706 w 371475"/>
                  <a:gd name="connsiteY14" fmla="*/ 109537 h 294004"/>
                  <a:gd name="connsiteX15" fmla="*/ 366712 w 371475"/>
                  <a:gd name="connsiteY15" fmla="*/ 90487 h 294004"/>
                  <a:gd name="connsiteX16" fmla="*/ 371475 w 371475"/>
                  <a:gd name="connsiteY16" fmla="*/ 50006 h 294004"/>
                  <a:gd name="connsiteX17" fmla="*/ 347663 w 371475"/>
                  <a:gd name="connsiteY17" fmla="*/ 14287 h 294004"/>
                  <a:gd name="connsiteX18" fmla="*/ 319088 w 371475"/>
                  <a:gd name="connsiteY18" fmla="*/ 14287 h 294004"/>
                  <a:gd name="connsiteX19" fmla="*/ 290513 w 371475"/>
                  <a:gd name="connsiteY19" fmla="*/ 16669 h 294004"/>
                  <a:gd name="connsiteX20" fmla="*/ 264319 w 371475"/>
                  <a:gd name="connsiteY20" fmla="*/ 7144 h 294004"/>
                  <a:gd name="connsiteX21" fmla="*/ 240506 w 371475"/>
                  <a:gd name="connsiteY21" fmla="*/ 19050 h 294004"/>
                  <a:gd name="connsiteX22" fmla="*/ 209550 w 371475"/>
                  <a:gd name="connsiteY22" fmla="*/ 23812 h 294004"/>
                  <a:gd name="connsiteX23" fmla="*/ 154781 w 371475"/>
                  <a:gd name="connsiteY23" fmla="*/ 19050 h 294004"/>
                  <a:gd name="connsiteX24" fmla="*/ 90488 w 371475"/>
                  <a:gd name="connsiteY24" fmla="*/ 0 h 294004"/>
                  <a:gd name="connsiteX25" fmla="*/ 38100 w 371475"/>
                  <a:gd name="connsiteY25" fmla="*/ 9525 h 294004"/>
                  <a:gd name="connsiteX26" fmla="*/ 0 w 371475"/>
                  <a:gd name="connsiteY26" fmla="*/ 52387 h 294004"/>
                  <a:gd name="connsiteX27" fmla="*/ 21431 w 371475"/>
                  <a:gd name="connsiteY27" fmla="*/ 111919 h 294004"/>
                  <a:gd name="connsiteX28" fmla="*/ 80963 w 371475"/>
                  <a:gd name="connsiteY28" fmla="*/ 121444 h 294004"/>
                  <a:gd name="connsiteX29" fmla="*/ 142875 w 371475"/>
                  <a:gd name="connsiteY29" fmla="*/ 121444 h 294004"/>
                  <a:gd name="connsiteX30" fmla="*/ 185738 w 371475"/>
                  <a:gd name="connsiteY30" fmla="*/ 152400 h 294004"/>
                  <a:gd name="connsiteX31" fmla="*/ 242888 w 371475"/>
                  <a:gd name="connsiteY31" fmla="*/ 173831 h 294004"/>
                  <a:gd name="connsiteX32" fmla="*/ 261938 w 371475"/>
                  <a:gd name="connsiteY32" fmla="*/ 176212 h 294004"/>
                  <a:gd name="connsiteX33" fmla="*/ 240506 w 371475"/>
                  <a:gd name="connsiteY33" fmla="*/ 195262 h 294004"/>
                  <a:gd name="connsiteX34" fmla="*/ 235744 w 371475"/>
                  <a:gd name="connsiteY34" fmla="*/ 209550 h 294004"/>
                  <a:gd name="connsiteX35" fmla="*/ 211931 w 371475"/>
                  <a:gd name="connsiteY35" fmla="*/ 171450 h 294004"/>
                  <a:gd name="connsiteX36" fmla="*/ 159544 w 371475"/>
                  <a:gd name="connsiteY36" fmla="*/ 133350 h 294004"/>
                  <a:gd name="connsiteX37" fmla="*/ 109538 w 371475"/>
                  <a:gd name="connsiteY37" fmla="*/ 123825 h 294004"/>
                  <a:gd name="connsiteX38" fmla="*/ 71438 w 371475"/>
                  <a:gd name="connsiteY38" fmla="*/ 140494 h 294004"/>
                  <a:gd name="connsiteX39" fmla="*/ 76200 w 371475"/>
                  <a:gd name="connsiteY39" fmla="*/ 176212 h 294004"/>
                  <a:gd name="connsiteX40" fmla="*/ 21431 w 371475"/>
                  <a:gd name="connsiteY40" fmla="*/ 180975 h 294004"/>
                  <a:gd name="connsiteX0" fmla="*/ 21431 w 371475"/>
                  <a:gd name="connsiteY0" fmla="*/ 180975 h 294004"/>
                  <a:gd name="connsiteX1" fmla="*/ 26194 w 371475"/>
                  <a:gd name="connsiteY1" fmla="*/ 230981 h 294004"/>
                  <a:gd name="connsiteX2" fmla="*/ 54769 w 371475"/>
                  <a:gd name="connsiteY2" fmla="*/ 223837 h 294004"/>
                  <a:gd name="connsiteX3" fmla="*/ 111919 w 371475"/>
                  <a:gd name="connsiteY3" fmla="*/ 288131 h 294004"/>
                  <a:gd name="connsiteX4" fmla="*/ 166688 w 371475"/>
                  <a:gd name="connsiteY4" fmla="*/ 288132 h 294004"/>
                  <a:gd name="connsiteX5" fmla="*/ 180975 w 371475"/>
                  <a:gd name="connsiteY5" fmla="*/ 264319 h 294004"/>
                  <a:gd name="connsiteX6" fmla="*/ 178594 w 371475"/>
                  <a:gd name="connsiteY6" fmla="*/ 223837 h 294004"/>
                  <a:gd name="connsiteX7" fmla="*/ 207169 w 371475"/>
                  <a:gd name="connsiteY7" fmla="*/ 261937 h 294004"/>
                  <a:gd name="connsiteX8" fmla="*/ 245269 w 371475"/>
                  <a:gd name="connsiteY8" fmla="*/ 281686 h 294004"/>
                  <a:gd name="connsiteX9" fmla="*/ 273844 w 371475"/>
                  <a:gd name="connsiteY9" fmla="*/ 266700 h 294004"/>
                  <a:gd name="connsiteX10" fmla="*/ 295275 w 371475"/>
                  <a:gd name="connsiteY10" fmla="*/ 226219 h 294004"/>
                  <a:gd name="connsiteX11" fmla="*/ 333375 w 371475"/>
                  <a:gd name="connsiteY11" fmla="*/ 216694 h 294004"/>
                  <a:gd name="connsiteX12" fmla="*/ 342900 w 371475"/>
                  <a:gd name="connsiteY12" fmla="*/ 176212 h 294004"/>
                  <a:gd name="connsiteX13" fmla="*/ 319088 w 371475"/>
                  <a:gd name="connsiteY13" fmla="*/ 128587 h 294004"/>
                  <a:gd name="connsiteX14" fmla="*/ 316706 w 371475"/>
                  <a:gd name="connsiteY14" fmla="*/ 109537 h 294004"/>
                  <a:gd name="connsiteX15" fmla="*/ 366712 w 371475"/>
                  <a:gd name="connsiteY15" fmla="*/ 90487 h 294004"/>
                  <a:gd name="connsiteX16" fmla="*/ 371475 w 371475"/>
                  <a:gd name="connsiteY16" fmla="*/ 50006 h 294004"/>
                  <a:gd name="connsiteX17" fmla="*/ 347663 w 371475"/>
                  <a:gd name="connsiteY17" fmla="*/ 14287 h 294004"/>
                  <a:gd name="connsiteX18" fmla="*/ 319088 w 371475"/>
                  <a:gd name="connsiteY18" fmla="*/ 14287 h 294004"/>
                  <a:gd name="connsiteX19" fmla="*/ 290513 w 371475"/>
                  <a:gd name="connsiteY19" fmla="*/ 16669 h 294004"/>
                  <a:gd name="connsiteX20" fmla="*/ 264319 w 371475"/>
                  <a:gd name="connsiteY20" fmla="*/ 7144 h 294004"/>
                  <a:gd name="connsiteX21" fmla="*/ 240506 w 371475"/>
                  <a:gd name="connsiteY21" fmla="*/ 19050 h 294004"/>
                  <a:gd name="connsiteX22" fmla="*/ 209550 w 371475"/>
                  <a:gd name="connsiteY22" fmla="*/ 23812 h 294004"/>
                  <a:gd name="connsiteX23" fmla="*/ 154781 w 371475"/>
                  <a:gd name="connsiteY23" fmla="*/ 19050 h 294004"/>
                  <a:gd name="connsiteX24" fmla="*/ 90488 w 371475"/>
                  <a:gd name="connsiteY24" fmla="*/ 0 h 294004"/>
                  <a:gd name="connsiteX25" fmla="*/ 38100 w 371475"/>
                  <a:gd name="connsiteY25" fmla="*/ 9525 h 294004"/>
                  <a:gd name="connsiteX26" fmla="*/ 0 w 371475"/>
                  <a:gd name="connsiteY26" fmla="*/ 52387 h 294004"/>
                  <a:gd name="connsiteX27" fmla="*/ 21431 w 371475"/>
                  <a:gd name="connsiteY27" fmla="*/ 111919 h 294004"/>
                  <a:gd name="connsiteX28" fmla="*/ 80963 w 371475"/>
                  <a:gd name="connsiteY28" fmla="*/ 121444 h 294004"/>
                  <a:gd name="connsiteX29" fmla="*/ 142875 w 371475"/>
                  <a:gd name="connsiteY29" fmla="*/ 121444 h 294004"/>
                  <a:gd name="connsiteX30" fmla="*/ 185738 w 371475"/>
                  <a:gd name="connsiteY30" fmla="*/ 152400 h 294004"/>
                  <a:gd name="connsiteX31" fmla="*/ 242888 w 371475"/>
                  <a:gd name="connsiteY31" fmla="*/ 173831 h 294004"/>
                  <a:gd name="connsiteX32" fmla="*/ 261938 w 371475"/>
                  <a:gd name="connsiteY32" fmla="*/ 176212 h 294004"/>
                  <a:gd name="connsiteX33" fmla="*/ 240506 w 371475"/>
                  <a:gd name="connsiteY33" fmla="*/ 195262 h 294004"/>
                  <a:gd name="connsiteX34" fmla="*/ 235744 w 371475"/>
                  <a:gd name="connsiteY34" fmla="*/ 209550 h 294004"/>
                  <a:gd name="connsiteX35" fmla="*/ 211931 w 371475"/>
                  <a:gd name="connsiteY35" fmla="*/ 171450 h 294004"/>
                  <a:gd name="connsiteX36" fmla="*/ 159544 w 371475"/>
                  <a:gd name="connsiteY36" fmla="*/ 133350 h 294004"/>
                  <a:gd name="connsiteX37" fmla="*/ 109538 w 371475"/>
                  <a:gd name="connsiteY37" fmla="*/ 123825 h 294004"/>
                  <a:gd name="connsiteX38" fmla="*/ 71438 w 371475"/>
                  <a:gd name="connsiteY38" fmla="*/ 140494 h 294004"/>
                  <a:gd name="connsiteX39" fmla="*/ 76200 w 371475"/>
                  <a:gd name="connsiteY39" fmla="*/ 176212 h 294004"/>
                  <a:gd name="connsiteX40" fmla="*/ 21431 w 371475"/>
                  <a:gd name="connsiteY40" fmla="*/ 180975 h 294004"/>
                  <a:gd name="connsiteX0" fmla="*/ 21431 w 371475"/>
                  <a:gd name="connsiteY0" fmla="*/ 180975 h 295549"/>
                  <a:gd name="connsiteX1" fmla="*/ 26194 w 371475"/>
                  <a:gd name="connsiteY1" fmla="*/ 230981 h 295549"/>
                  <a:gd name="connsiteX2" fmla="*/ 54769 w 371475"/>
                  <a:gd name="connsiteY2" fmla="*/ 223837 h 295549"/>
                  <a:gd name="connsiteX3" fmla="*/ 111919 w 371475"/>
                  <a:gd name="connsiteY3" fmla="*/ 288131 h 295549"/>
                  <a:gd name="connsiteX4" fmla="*/ 166688 w 371475"/>
                  <a:gd name="connsiteY4" fmla="*/ 288132 h 295549"/>
                  <a:gd name="connsiteX5" fmla="*/ 180975 w 371475"/>
                  <a:gd name="connsiteY5" fmla="*/ 264319 h 295549"/>
                  <a:gd name="connsiteX6" fmla="*/ 178594 w 371475"/>
                  <a:gd name="connsiteY6" fmla="*/ 223837 h 295549"/>
                  <a:gd name="connsiteX7" fmla="*/ 207169 w 371475"/>
                  <a:gd name="connsiteY7" fmla="*/ 261937 h 295549"/>
                  <a:gd name="connsiteX8" fmla="*/ 245269 w 371475"/>
                  <a:gd name="connsiteY8" fmla="*/ 281686 h 295549"/>
                  <a:gd name="connsiteX9" fmla="*/ 273844 w 371475"/>
                  <a:gd name="connsiteY9" fmla="*/ 266700 h 295549"/>
                  <a:gd name="connsiteX10" fmla="*/ 295275 w 371475"/>
                  <a:gd name="connsiteY10" fmla="*/ 226219 h 295549"/>
                  <a:gd name="connsiteX11" fmla="*/ 333375 w 371475"/>
                  <a:gd name="connsiteY11" fmla="*/ 216694 h 295549"/>
                  <a:gd name="connsiteX12" fmla="*/ 342900 w 371475"/>
                  <a:gd name="connsiteY12" fmla="*/ 176212 h 295549"/>
                  <a:gd name="connsiteX13" fmla="*/ 319088 w 371475"/>
                  <a:gd name="connsiteY13" fmla="*/ 128587 h 295549"/>
                  <a:gd name="connsiteX14" fmla="*/ 316706 w 371475"/>
                  <a:gd name="connsiteY14" fmla="*/ 109537 h 295549"/>
                  <a:gd name="connsiteX15" fmla="*/ 366712 w 371475"/>
                  <a:gd name="connsiteY15" fmla="*/ 90487 h 295549"/>
                  <a:gd name="connsiteX16" fmla="*/ 371475 w 371475"/>
                  <a:gd name="connsiteY16" fmla="*/ 50006 h 295549"/>
                  <a:gd name="connsiteX17" fmla="*/ 347663 w 371475"/>
                  <a:gd name="connsiteY17" fmla="*/ 14287 h 295549"/>
                  <a:gd name="connsiteX18" fmla="*/ 319088 w 371475"/>
                  <a:gd name="connsiteY18" fmla="*/ 14287 h 295549"/>
                  <a:gd name="connsiteX19" fmla="*/ 290513 w 371475"/>
                  <a:gd name="connsiteY19" fmla="*/ 16669 h 295549"/>
                  <a:gd name="connsiteX20" fmla="*/ 264319 w 371475"/>
                  <a:gd name="connsiteY20" fmla="*/ 7144 h 295549"/>
                  <a:gd name="connsiteX21" fmla="*/ 240506 w 371475"/>
                  <a:gd name="connsiteY21" fmla="*/ 19050 h 295549"/>
                  <a:gd name="connsiteX22" fmla="*/ 209550 w 371475"/>
                  <a:gd name="connsiteY22" fmla="*/ 23812 h 295549"/>
                  <a:gd name="connsiteX23" fmla="*/ 154781 w 371475"/>
                  <a:gd name="connsiteY23" fmla="*/ 19050 h 295549"/>
                  <a:gd name="connsiteX24" fmla="*/ 90488 w 371475"/>
                  <a:gd name="connsiteY24" fmla="*/ 0 h 295549"/>
                  <a:gd name="connsiteX25" fmla="*/ 38100 w 371475"/>
                  <a:gd name="connsiteY25" fmla="*/ 9525 h 295549"/>
                  <a:gd name="connsiteX26" fmla="*/ 0 w 371475"/>
                  <a:gd name="connsiteY26" fmla="*/ 52387 h 295549"/>
                  <a:gd name="connsiteX27" fmla="*/ 21431 w 371475"/>
                  <a:gd name="connsiteY27" fmla="*/ 111919 h 295549"/>
                  <a:gd name="connsiteX28" fmla="*/ 80963 w 371475"/>
                  <a:gd name="connsiteY28" fmla="*/ 121444 h 295549"/>
                  <a:gd name="connsiteX29" fmla="*/ 142875 w 371475"/>
                  <a:gd name="connsiteY29" fmla="*/ 121444 h 295549"/>
                  <a:gd name="connsiteX30" fmla="*/ 185738 w 371475"/>
                  <a:gd name="connsiteY30" fmla="*/ 152400 h 295549"/>
                  <a:gd name="connsiteX31" fmla="*/ 242888 w 371475"/>
                  <a:gd name="connsiteY31" fmla="*/ 173831 h 295549"/>
                  <a:gd name="connsiteX32" fmla="*/ 261938 w 371475"/>
                  <a:gd name="connsiteY32" fmla="*/ 176212 h 295549"/>
                  <a:gd name="connsiteX33" fmla="*/ 240506 w 371475"/>
                  <a:gd name="connsiteY33" fmla="*/ 195262 h 295549"/>
                  <a:gd name="connsiteX34" fmla="*/ 235744 w 371475"/>
                  <a:gd name="connsiteY34" fmla="*/ 209550 h 295549"/>
                  <a:gd name="connsiteX35" fmla="*/ 211931 w 371475"/>
                  <a:gd name="connsiteY35" fmla="*/ 171450 h 295549"/>
                  <a:gd name="connsiteX36" fmla="*/ 159544 w 371475"/>
                  <a:gd name="connsiteY36" fmla="*/ 133350 h 295549"/>
                  <a:gd name="connsiteX37" fmla="*/ 109538 w 371475"/>
                  <a:gd name="connsiteY37" fmla="*/ 123825 h 295549"/>
                  <a:gd name="connsiteX38" fmla="*/ 71438 w 371475"/>
                  <a:gd name="connsiteY38" fmla="*/ 140494 h 295549"/>
                  <a:gd name="connsiteX39" fmla="*/ 76200 w 371475"/>
                  <a:gd name="connsiteY39" fmla="*/ 176212 h 295549"/>
                  <a:gd name="connsiteX40" fmla="*/ 21431 w 371475"/>
                  <a:gd name="connsiteY40" fmla="*/ 180975 h 295549"/>
                  <a:gd name="connsiteX0" fmla="*/ 21431 w 371475"/>
                  <a:gd name="connsiteY0" fmla="*/ 180975 h 295549"/>
                  <a:gd name="connsiteX1" fmla="*/ 26194 w 371475"/>
                  <a:gd name="connsiteY1" fmla="*/ 230981 h 295549"/>
                  <a:gd name="connsiteX2" fmla="*/ 54769 w 371475"/>
                  <a:gd name="connsiteY2" fmla="*/ 223837 h 295549"/>
                  <a:gd name="connsiteX3" fmla="*/ 111919 w 371475"/>
                  <a:gd name="connsiteY3" fmla="*/ 288131 h 295549"/>
                  <a:gd name="connsiteX4" fmla="*/ 166688 w 371475"/>
                  <a:gd name="connsiteY4" fmla="*/ 288132 h 295549"/>
                  <a:gd name="connsiteX5" fmla="*/ 180975 w 371475"/>
                  <a:gd name="connsiteY5" fmla="*/ 264319 h 295549"/>
                  <a:gd name="connsiteX6" fmla="*/ 178594 w 371475"/>
                  <a:gd name="connsiteY6" fmla="*/ 223837 h 295549"/>
                  <a:gd name="connsiteX7" fmla="*/ 207169 w 371475"/>
                  <a:gd name="connsiteY7" fmla="*/ 261937 h 295549"/>
                  <a:gd name="connsiteX8" fmla="*/ 245269 w 371475"/>
                  <a:gd name="connsiteY8" fmla="*/ 281686 h 295549"/>
                  <a:gd name="connsiteX9" fmla="*/ 273844 w 371475"/>
                  <a:gd name="connsiteY9" fmla="*/ 266700 h 295549"/>
                  <a:gd name="connsiteX10" fmla="*/ 295275 w 371475"/>
                  <a:gd name="connsiteY10" fmla="*/ 226219 h 295549"/>
                  <a:gd name="connsiteX11" fmla="*/ 333375 w 371475"/>
                  <a:gd name="connsiteY11" fmla="*/ 216694 h 295549"/>
                  <a:gd name="connsiteX12" fmla="*/ 342900 w 371475"/>
                  <a:gd name="connsiteY12" fmla="*/ 176212 h 295549"/>
                  <a:gd name="connsiteX13" fmla="*/ 319088 w 371475"/>
                  <a:gd name="connsiteY13" fmla="*/ 128587 h 295549"/>
                  <a:gd name="connsiteX14" fmla="*/ 316706 w 371475"/>
                  <a:gd name="connsiteY14" fmla="*/ 109537 h 295549"/>
                  <a:gd name="connsiteX15" fmla="*/ 366712 w 371475"/>
                  <a:gd name="connsiteY15" fmla="*/ 90487 h 295549"/>
                  <a:gd name="connsiteX16" fmla="*/ 371475 w 371475"/>
                  <a:gd name="connsiteY16" fmla="*/ 50006 h 295549"/>
                  <a:gd name="connsiteX17" fmla="*/ 347663 w 371475"/>
                  <a:gd name="connsiteY17" fmla="*/ 14287 h 295549"/>
                  <a:gd name="connsiteX18" fmla="*/ 319088 w 371475"/>
                  <a:gd name="connsiteY18" fmla="*/ 14287 h 295549"/>
                  <a:gd name="connsiteX19" fmla="*/ 290513 w 371475"/>
                  <a:gd name="connsiteY19" fmla="*/ 16669 h 295549"/>
                  <a:gd name="connsiteX20" fmla="*/ 264319 w 371475"/>
                  <a:gd name="connsiteY20" fmla="*/ 7144 h 295549"/>
                  <a:gd name="connsiteX21" fmla="*/ 240506 w 371475"/>
                  <a:gd name="connsiteY21" fmla="*/ 19050 h 295549"/>
                  <a:gd name="connsiteX22" fmla="*/ 209550 w 371475"/>
                  <a:gd name="connsiteY22" fmla="*/ 23812 h 295549"/>
                  <a:gd name="connsiteX23" fmla="*/ 154781 w 371475"/>
                  <a:gd name="connsiteY23" fmla="*/ 19050 h 295549"/>
                  <a:gd name="connsiteX24" fmla="*/ 90488 w 371475"/>
                  <a:gd name="connsiteY24" fmla="*/ 0 h 295549"/>
                  <a:gd name="connsiteX25" fmla="*/ 38100 w 371475"/>
                  <a:gd name="connsiteY25" fmla="*/ 9525 h 295549"/>
                  <a:gd name="connsiteX26" fmla="*/ 0 w 371475"/>
                  <a:gd name="connsiteY26" fmla="*/ 52387 h 295549"/>
                  <a:gd name="connsiteX27" fmla="*/ 21431 w 371475"/>
                  <a:gd name="connsiteY27" fmla="*/ 111919 h 295549"/>
                  <a:gd name="connsiteX28" fmla="*/ 80963 w 371475"/>
                  <a:gd name="connsiteY28" fmla="*/ 121444 h 295549"/>
                  <a:gd name="connsiteX29" fmla="*/ 142875 w 371475"/>
                  <a:gd name="connsiteY29" fmla="*/ 121444 h 295549"/>
                  <a:gd name="connsiteX30" fmla="*/ 185738 w 371475"/>
                  <a:gd name="connsiteY30" fmla="*/ 152400 h 295549"/>
                  <a:gd name="connsiteX31" fmla="*/ 242888 w 371475"/>
                  <a:gd name="connsiteY31" fmla="*/ 173831 h 295549"/>
                  <a:gd name="connsiteX32" fmla="*/ 261938 w 371475"/>
                  <a:gd name="connsiteY32" fmla="*/ 176212 h 295549"/>
                  <a:gd name="connsiteX33" fmla="*/ 240506 w 371475"/>
                  <a:gd name="connsiteY33" fmla="*/ 195262 h 295549"/>
                  <a:gd name="connsiteX34" fmla="*/ 235744 w 371475"/>
                  <a:gd name="connsiteY34" fmla="*/ 209550 h 295549"/>
                  <a:gd name="connsiteX35" fmla="*/ 211931 w 371475"/>
                  <a:gd name="connsiteY35" fmla="*/ 171450 h 295549"/>
                  <a:gd name="connsiteX36" fmla="*/ 159544 w 371475"/>
                  <a:gd name="connsiteY36" fmla="*/ 133350 h 295549"/>
                  <a:gd name="connsiteX37" fmla="*/ 109538 w 371475"/>
                  <a:gd name="connsiteY37" fmla="*/ 123825 h 295549"/>
                  <a:gd name="connsiteX38" fmla="*/ 71438 w 371475"/>
                  <a:gd name="connsiteY38" fmla="*/ 140494 h 295549"/>
                  <a:gd name="connsiteX39" fmla="*/ 76200 w 371475"/>
                  <a:gd name="connsiteY39" fmla="*/ 176212 h 295549"/>
                  <a:gd name="connsiteX40" fmla="*/ 21431 w 371475"/>
                  <a:gd name="connsiteY40" fmla="*/ 180975 h 295549"/>
                  <a:gd name="connsiteX0" fmla="*/ 21431 w 371475"/>
                  <a:gd name="connsiteY0" fmla="*/ 180975 h 296396"/>
                  <a:gd name="connsiteX1" fmla="*/ 26194 w 371475"/>
                  <a:gd name="connsiteY1" fmla="*/ 230981 h 296396"/>
                  <a:gd name="connsiteX2" fmla="*/ 54769 w 371475"/>
                  <a:gd name="connsiteY2" fmla="*/ 223837 h 296396"/>
                  <a:gd name="connsiteX3" fmla="*/ 111919 w 371475"/>
                  <a:gd name="connsiteY3" fmla="*/ 288131 h 296396"/>
                  <a:gd name="connsiteX4" fmla="*/ 169418 w 371475"/>
                  <a:gd name="connsiteY4" fmla="*/ 289498 h 296396"/>
                  <a:gd name="connsiteX5" fmla="*/ 180975 w 371475"/>
                  <a:gd name="connsiteY5" fmla="*/ 264319 h 296396"/>
                  <a:gd name="connsiteX6" fmla="*/ 178594 w 371475"/>
                  <a:gd name="connsiteY6" fmla="*/ 223837 h 296396"/>
                  <a:gd name="connsiteX7" fmla="*/ 207169 w 371475"/>
                  <a:gd name="connsiteY7" fmla="*/ 261937 h 296396"/>
                  <a:gd name="connsiteX8" fmla="*/ 245269 w 371475"/>
                  <a:gd name="connsiteY8" fmla="*/ 281686 h 296396"/>
                  <a:gd name="connsiteX9" fmla="*/ 273844 w 371475"/>
                  <a:gd name="connsiteY9" fmla="*/ 266700 h 296396"/>
                  <a:gd name="connsiteX10" fmla="*/ 295275 w 371475"/>
                  <a:gd name="connsiteY10" fmla="*/ 226219 h 296396"/>
                  <a:gd name="connsiteX11" fmla="*/ 333375 w 371475"/>
                  <a:gd name="connsiteY11" fmla="*/ 216694 h 296396"/>
                  <a:gd name="connsiteX12" fmla="*/ 342900 w 371475"/>
                  <a:gd name="connsiteY12" fmla="*/ 176212 h 296396"/>
                  <a:gd name="connsiteX13" fmla="*/ 319088 w 371475"/>
                  <a:gd name="connsiteY13" fmla="*/ 128587 h 296396"/>
                  <a:gd name="connsiteX14" fmla="*/ 316706 w 371475"/>
                  <a:gd name="connsiteY14" fmla="*/ 109537 h 296396"/>
                  <a:gd name="connsiteX15" fmla="*/ 366712 w 371475"/>
                  <a:gd name="connsiteY15" fmla="*/ 90487 h 296396"/>
                  <a:gd name="connsiteX16" fmla="*/ 371475 w 371475"/>
                  <a:gd name="connsiteY16" fmla="*/ 50006 h 296396"/>
                  <a:gd name="connsiteX17" fmla="*/ 347663 w 371475"/>
                  <a:gd name="connsiteY17" fmla="*/ 14287 h 296396"/>
                  <a:gd name="connsiteX18" fmla="*/ 319088 w 371475"/>
                  <a:gd name="connsiteY18" fmla="*/ 14287 h 296396"/>
                  <a:gd name="connsiteX19" fmla="*/ 290513 w 371475"/>
                  <a:gd name="connsiteY19" fmla="*/ 16669 h 296396"/>
                  <a:gd name="connsiteX20" fmla="*/ 264319 w 371475"/>
                  <a:gd name="connsiteY20" fmla="*/ 7144 h 296396"/>
                  <a:gd name="connsiteX21" fmla="*/ 240506 w 371475"/>
                  <a:gd name="connsiteY21" fmla="*/ 19050 h 296396"/>
                  <a:gd name="connsiteX22" fmla="*/ 209550 w 371475"/>
                  <a:gd name="connsiteY22" fmla="*/ 23812 h 296396"/>
                  <a:gd name="connsiteX23" fmla="*/ 154781 w 371475"/>
                  <a:gd name="connsiteY23" fmla="*/ 19050 h 296396"/>
                  <a:gd name="connsiteX24" fmla="*/ 90488 w 371475"/>
                  <a:gd name="connsiteY24" fmla="*/ 0 h 296396"/>
                  <a:gd name="connsiteX25" fmla="*/ 38100 w 371475"/>
                  <a:gd name="connsiteY25" fmla="*/ 9525 h 296396"/>
                  <a:gd name="connsiteX26" fmla="*/ 0 w 371475"/>
                  <a:gd name="connsiteY26" fmla="*/ 52387 h 296396"/>
                  <a:gd name="connsiteX27" fmla="*/ 21431 w 371475"/>
                  <a:gd name="connsiteY27" fmla="*/ 111919 h 296396"/>
                  <a:gd name="connsiteX28" fmla="*/ 80963 w 371475"/>
                  <a:gd name="connsiteY28" fmla="*/ 121444 h 296396"/>
                  <a:gd name="connsiteX29" fmla="*/ 142875 w 371475"/>
                  <a:gd name="connsiteY29" fmla="*/ 121444 h 296396"/>
                  <a:gd name="connsiteX30" fmla="*/ 185738 w 371475"/>
                  <a:gd name="connsiteY30" fmla="*/ 152400 h 296396"/>
                  <a:gd name="connsiteX31" fmla="*/ 242888 w 371475"/>
                  <a:gd name="connsiteY31" fmla="*/ 173831 h 296396"/>
                  <a:gd name="connsiteX32" fmla="*/ 261938 w 371475"/>
                  <a:gd name="connsiteY32" fmla="*/ 176212 h 296396"/>
                  <a:gd name="connsiteX33" fmla="*/ 240506 w 371475"/>
                  <a:gd name="connsiteY33" fmla="*/ 195262 h 296396"/>
                  <a:gd name="connsiteX34" fmla="*/ 235744 w 371475"/>
                  <a:gd name="connsiteY34" fmla="*/ 209550 h 296396"/>
                  <a:gd name="connsiteX35" fmla="*/ 211931 w 371475"/>
                  <a:gd name="connsiteY35" fmla="*/ 171450 h 296396"/>
                  <a:gd name="connsiteX36" fmla="*/ 159544 w 371475"/>
                  <a:gd name="connsiteY36" fmla="*/ 133350 h 296396"/>
                  <a:gd name="connsiteX37" fmla="*/ 109538 w 371475"/>
                  <a:gd name="connsiteY37" fmla="*/ 123825 h 296396"/>
                  <a:gd name="connsiteX38" fmla="*/ 71438 w 371475"/>
                  <a:gd name="connsiteY38" fmla="*/ 140494 h 296396"/>
                  <a:gd name="connsiteX39" fmla="*/ 76200 w 371475"/>
                  <a:gd name="connsiteY39" fmla="*/ 176212 h 296396"/>
                  <a:gd name="connsiteX40" fmla="*/ 21431 w 371475"/>
                  <a:gd name="connsiteY40" fmla="*/ 180975 h 296396"/>
                  <a:gd name="connsiteX0" fmla="*/ 21431 w 371475"/>
                  <a:gd name="connsiteY0" fmla="*/ 180975 h 296396"/>
                  <a:gd name="connsiteX1" fmla="*/ 26194 w 371475"/>
                  <a:gd name="connsiteY1" fmla="*/ 230981 h 296396"/>
                  <a:gd name="connsiteX2" fmla="*/ 54769 w 371475"/>
                  <a:gd name="connsiteY2" fmla="*/ 223837 h 296396"/>
                  <a:gd name="connsiteX3" fmla="*/ 111919 w 371475"/>
                  <a:gd name="connsiteY3" fmla="*/ 288131 h 296396"/>
                  <a:gd name="connsiteX4" fmla="*/ 169418 w 371475"/>
                  <a:gd name="connsiteY4" fmla="*/ 289498 h 296396"/>
                  <a:gd name="connsiteX5" fmla="*/ 180975 w 371475"/>
                  <a:gd name="connsiteY5" fmla="*/ 264319 h 296396"/>
                  <a:gd name="connsiteX6" fmla="*/ 178594 w 371475"/>
                  <a:gd name="connsiteY6" fmla="*/ 223837 h 296396"/>
                  <a:gd name="connsiteX7" fmla="*/ 207169 w 371475"/>
                  <a:gd name="connsiteY7" fmla="*/ 261937 h 296396"/>
                  <a:gd name="connsiteX8" fmla="*/ 245269 w 371475"/>
                  <a:gd name="connsiteY8" fmla="*/ 281686 h 296396"/>
                  <a:gd name="connsiteX9" fmla="*/ 273844 w 371475"/>
                  <a:gd name="connsiteY9" fmla="*/ 266700 h 296396"/>
                  <a:gd name="connsiteX10" fmla="*/ 295275 w 371475"/>
                  <a:gd name="connsiteY10" fmla="*/ 226219 h 296396"/>
                  <a:gd name="connsiteX11" fmla="*/ 333375 w 371475"/>
                  <a:gd name="connsiteY11" fmla="*/ 216694 h 296396"/>
                  <a:gd name="connsiteX12" fmla="*/ 342900 w 371475"/>
                  <a:gd name="connsiteY12" fmla="*/ 176212 h 296396"/>
                  <a:gd name="connsiteX13" fmla="*/ 319088 w 371475"/>
                  <a:gd name="connsiteY13" fmla="*/ 128587 h 296396"/>
                  <a:gd name="connsiteX14" fmla="*/ 316706 w 371475"/>
                  <a:gd name="connsiteY14" fmla="*/ 109537 h 296396"/>
                  <a:gd name="connsiteX15" fmla="*/ 366712 w 371475"/>
                  <a:gd name="connsiteY15" fmla="*/ 90487 h 296396"/>
                  <a:gd name="connsiteX16" fmla="*/ 371475 w 371475"/>
                  <a:gd name="connsiteY16" fmla="*/ 50006 h 296396"/>
                  <a:gd name="connsiteX17" fmla="*/ 347663 w 371475"/>
                  <a:gd name="connsiteY17" fmla="*/ 14287 h 296396"/>
                  <a:gd name="connsiteX18" fmla="*/ 319088 w 371475"/>
                  <a:gd name="connsiteY18" fmla="*/ 14287 h 296396"/>
                  <a:gd name="connsiteX19" fmla="*/ 290513 w 371475"/>
                  <a:gd name="connsiteY19" fmla="*/ 16669 h 296396"/>
                  <a:gd name="connsiteX20" fmla="*/ 264319 w 371475"/>
                  <a:gd name="connsiteY20" fmla="*/ 7144 h 296396"/>
                  <a:gd name="connsiteX21" fmla="*/ 240506 w 371475"/>
                  <a:gd name="connsiteY21" fmla="*/ 19050 h 296396"/>
                  <a:gd name="connsiteX22" fmla="*/ 209550 w 371475"/>
                  <a:gd name="connsiteY22" fmla="*/ 23812 h 296396"/>
                  <a:gd name="connsiteX23" fmla="*/ 154781 w 371475"/>
                  <a:gd name="connsiteY23" fmla="*/ 19050 h 296396"/>
                  <a:gd name="connsiteX24" fmla="*/ 90488 w 371475"/>
                  <a:gd name="connsiteY24" fmla="*/ 0 h 296396"/>
                  <a:gd name="connsiteX25" fmla="*/ 38100 w 371475"/>
                  <a:gd name="connsiteY25" fmla="*/ 9525 h 296396"/>
                  <a:gd name="connsiteX26" fmla="*/ 0 w 371475"/>
                  <a:gd name="connsiteY26" fmla="*/ 52387 h 296396"/>
                  <a:gd name="connsiteX27" fmla="*/ 21431 w 371475"/>
                  <a:gd name="connsiteY27" fmla="*/ 111919 h 296396"/>
                  <a:gd name="connsiteX28" fmla="*/ 80963 w 371475"/>
                  <a:gd name="connsiteY28" fmla="*/ 121444 h 296396"/>
                  <a:gd name="connsiteX29" fmla="*/ 142875 w 371475"/>
                  <a:gd name="connsiteY29" fmla="*/ 121444 h 296396"/>
                  <a:gd name="connsiteX30" fmla="*/ 185738 w 371475"/>
                  <a:gd name="connsiteY30" fmla="*/ 152400 h 296396"/>
                  <a:gd name="connsiteX31" fmla="*/ 242888 w 371475"/>
                  <a:gd name="connsiteY31" fmla="*/ 173831 h 296396"/>
                  <a:gd name="connsiteX32" fmla="*/ 261938 w 371475"/>
                  <a:gd name="connsiteY32" fmla="*/ 176212 h 296396"/>
                  <a:gd name="connsiteX33" fmla="*/ 240506 w 371475"/>
                  <a:gd name="connsiteY33" fmla="*/ 195262 h 296396"/>
                  <a:gd name="connsiteX34" fmla="*/ 235744 w 371475"/>
                  <a:gd name="connsiteY34" fmla="*/ 209550 h 296396"/>
                  <a:gd name="connsiteX35" fmla="*/ 211931 w 371475"/>
                  <a:gd name="connsiteY35" fmla="*/ 171450 h 296396"/>
                  <a:gd name="connsiteX36" fmla="*/ 159544 w 371475"/>
                  <a:gd name="connsiteY36" fmla="*/ 133350 h 296396"/>
                  <a:gd name="connsiteX37" fmla="*/ 109538 w 371475"/>
                  <a:gd name="connsiteY37" fmla="*/ 123825 h 296396"/>
                  <a:gd name="connsiteX38" fmla="*/ 71438 w 371475"/>
                  <a:gd name="connsiteY38" fmla="*/ 140494 h 296396"/>
                  <a:gd name="connsiteX39" fmla="*/ 76200 w 371475"/>
                  <a:gd name="connsiteY39" fmla="*/ 176212 h 296396"/>
                  <a:gd name="connsiteX40" fmla="*/ 21431 w 371475"/>
                  <a:gd name="connsiteY40" fmla="*/ 180975 h 296396"/>
                  <a:gd name="connsiteX0" fmla="*/ 21431 w 371475"/>
                  <a:gd name="connsiteY0" fmla="*/ 180975 h 296396"/>
                  <a:gd name="connsiteX1" fmla="*/ 26194 w 371475"/>
                  <a:gd name="connsiteY1" fmla="*/ 230981 h 296396"/>
                  <a:gd name="connsiteX2" fmla="*/ 54769 w 371475"/>
                  <a:gd name="connsiteY2" fmla="*/ 223837 h 296396"/>
                  <a:gd name="connsiteX3" fmla="*/ 111919 w 371475"/>
                  <a:gd name="connsiteY3" fmla="*/ 288131 h 296396"/>
                  <a:gd name="connsiteX4" fmla="*/ 169418 w 371475"/>
                  <a:gd name="connsiteY4" fmla="*/ 289498 h 296396"/>
                  <a:gd name="connsiteX5" fmla="*/ 180975 w 371475"/>
                  <a:gd name="connsiteY5" fmla="*/ 264319 h 296396"/>
                  <a:gd name="connsiteX6" fmla="*/ 178594 w 371475"/>
                  <a:gd name="connsiteY6" fmla="*/ 223837 h 296396"/>
                  <a:gd name="connsiteX7" fmla="*/ 207169 w 371475"/>
                  <a:gd name="connsiteY7" fmla="*/ 261937 h 296396"/>
                  <a:gd name="connsiteX8" fmla="*/ 245269 w 371475"/>
                  <a:gd name="connsiteY8" fmla="*/ 281686 h 296396"/>
                  <a:gd name="connsiteX9" fmla="*/ 273844 w 371475"/>
                  <a:gd name="connsiteY9" fmla="*/ 266700 h 296396"/>
                  <a:gd name="connsiteX10" fmla="*/ 295275 w 371475"/>
                  <a:gd name="connsiteY10" fmla="*/ 226219 h 296396"/>
                  <a:gd name="connsiteX11" fmla="*/ 333375 w 371475"/>
                  <a:gd name="connsiteY11" fmla="*/ 216694 h 296396"/>
                  <a:gd name="connsiteX12" fmla="*/ 342900 w 371475"/>
                  <a:gd name="connsiteY12" fmla="*/ 176212 h 296396"/>
                  <a:gd name="connsiteX13" fmla="*/ 319088 w 371475"/>
                  <a:gd name="connsiteY13" fmla="*/ 128587 h 296396"/>
                  <a:gd name="connsiteX14" fmla="*/ 316706 w 371475"/>
                  <a:gd name="connsiteY14" fmla="*/ 109537 h 296396"/>
                  <a:gd name="connsiteX15" fmla="*/ 366712 w 371475"/>
                  <a:gd name="connsiteY15" fmla="*/ 90487 h 296396"/>
                  <a:gd name="connsiteX16" fmla="*/ 371475 w 371475"/>
                  <a:gd name="connsiteY16" fmla="*/ 50006 h 296396"/>
                  <a:gd name="connsiteX17" fmla="*/ 347663 w 371475"/>
                  <a:gd name="connsiteY17" fmla="*/ 14287 h 296396"/>
                  <a:gd name="connsiteX18" fmla="*/ 319088 w 371475"/>
                  <a:gd name="connsiteY18" fmla="*/ 14287 h 296396"/>
                  <a:gd name="connsiteX19" fmla="*/ 290513 w 371475"/>
                  <a:gd name="connsiteY19" fmla="*/ 16669 h 296396"/>
                  <a:gd name="connsiteX20" fmla="*/ 264319 w 371475"/>
                  <a:gd name="connsiteY20" fmla="*/ 7144 h 296396"/>
                  <a:gd name="connsiteX21" fmla="*/ 240506 w 371475"/>
                  <a:gd name="connsiteY21" fmla="*/ 19050 h 296396"/>
                  <a:gd name="connsiteX22" fmla="*/ 209550 w 371475"/>
                  <a:gd name="connsiteY22" fmla="*/ 23812 h 296396"/>
                  <a:gd name="connsiteX23" fmla="*/ 154781 w 371475"/>
                  <a:gd name="connsiteY23" fmla="*/ 19050 h 296396"/>
                  <a:gd name="connsiteX24" fmla="*/ 90488 w 371475"/>
                  <a:gd name="connsiteY24" fmla="*/ 0 h 296396"/>
                  <a:gd name="connsiteX25" fmla="*/ 38100 w 371475"/>
                  <a:gd name="connsiteY25" fmla="*/ 9525 h 296396"/>
                  <a:gd name="connsiteX26" fmla="*/ 0 w 371475"/>
                  <a:gd name="connsiteY26" fmla="*/ 52387 h 296396"/>
                  <a:gd name="connsiteX27" fmla="*/ 21431 w 371475"/>
                  <a:gd name="connsiteY27" fmla="*/ 111919 h 296396"/>
                  <a:gd name="connsiteX28" fmla="*/ 80963 w 371475"/>
                  <a:gd name="connsiteY28" fmla="*/ 121444 h 296396"/>
                  <a:gd name="connsiteX29" fmla="*/ 142875 w 371475"/>
                  <a:gd name="connsiteY29" fmla="*/ 121444 h 296396"/>
                  <a:gd name="connsiteX30" fmla="*/ 185738 w 371475"/>
                  <a:gd name="connsiteY30" fmla="*/ 152400 h 296396"/>
                  <a:gd name="connsiteX31" fmla="*/ 242888 w 371475"/>
                  <a:gd name="connsiteY31" fmla="*/ 173831 h 296396"/>
                  <a:gd name="connsiteX32" fmla="*/ 261938 w 371475"/>
                  <a:gd name="connsiteY32" fmla="*/ 176212 h 296396"/>
                  <a:gd name="connsiteX33" fmla="*/ 240506 w 371475"/>
                  <a:gd name="connsiteY33" fmla="*/ 195262 h 296396"/>
                  <a:gd name="connsiteX34" fmla="*/ 235744 w 371475"/>
                  <a:gd name="connsiteY34" fmla="*/ 209550 h 296396"/>
                  <a:gd name="connsiteX35" fmla="*/ 211931 w 371475"/>
                  <a:gd name="connsiteY35" fmla="*/ 171450 h 296396"/>
                  <a:gd name="connsiteX36" fmla="*/ 159544 w 371475"/>
                  <a:gd name="connsiteY36" fmla="*/ 133350 h 296396"/>
                  <a:gd name="connsiteX37" fmla="*/ 109538 w 371475"/>
                  <a:gd name="connsiteY37" fmla="*/ 123825 h 296396"/>
                  <a:gd name="connsiteX38" fmla="*/ 71438 w 371475"/>
                  <a:gd name="connsiteY38" fmla="*/ 140494 h 296396"/>
                  <a:gd name="connsiteX39" fmla="*/ 76200 w 371475"/>
                  <a:gd name="connsiteY39" fmla="*/ 176212 h 296396"/>
                  <a:gd name="connsiteX40" fmla="*/ 21431 w 371475"/>
                  <a:gd name="connsiteY40" fmla="*/ 180975 h 296396"/>
                  <a:gd name="connsiteX0" fmla="*/ 21431 w 371475"/>
                  <a:gd name="connsiteY0" fmla="*/ 180975 h 296396"/>
                  <a:gd name="connsiteX1" fmla="*/ 26194 w 371475"/>
                  <a:gd name="connsiteY1" fmla="*/ 230981 h 296396"/>
                  <a:gd name="connsiteX2" fmla="*/ 54769 w 371475"/>
                  <a:gd name="connsiteY2" fmla="*/ 223837 h 296396"/>
                  <a:gd name="connsiteX3" fmla="*/ 111919 w 371475"/>
                  <a:gd name="connsiteY3" fmla="*/ 288131 h 296396"/>
                  <a:gd name="connsiteX4" fmla="*/ 169418 w 371475"/>
                  <a:gd name="connsiteY4" fmla="*/ 289498 h 296396"/>
                  <a:gd name="connsiteX5" fmla="*/ 180975 w 371475"/>
                  <a:gd name="connsiteY5" fmla="*/ 264319 h 296396"/>
                  <a:gd name="connsiteX6" fmla="*/ 178594 w 371475"/>
                  <a:gd name="connsiteY6" fmla="*/ 223837 h 296396"/>
                  <a:gd name="connsiteX7" fmla="*/ 207169 w 371475"/>
                  <a:gd name="connsiteY7" fmla="*/ 261937 h 296396"/>
                  <a:gd name="connsiteX8" fmla="*/ 245269 w 371475"/>
                  <a:gd name="connsiteY8" fmla="*/ 281686 h 296396"/>
                  <a:gd name="connsiteX9" fmla="*/ 273844 w 371475"/>
                  <a:gd name="connsiteY9" fmla="*/ 266700 h 296396"/>
                  <a:gd name="connsiteX10" fmla="*/ 295275 w 371475"/>
                  <a:gd name="connsiteY10" fmla="*/ 226219 h 296396"/>
                  <a:gd name="connsiteX11" fmla="*/ 333375 w 371475"/>
                  <a:gd name="connsiteY11" fmla="*/ 216694 h 296396"/>
                  <a:gd name="connsiteX12" fmla="*/ 342900 w 371475"/>
                  <a:gd name="connsiteY12" fmla="*/ 176212 h 296396"/>
                  <a:gd name="connsiteX13" fmla="*/ 319088 w 371475"/>
                  <a:gd name="connsiteY13" fmla="*/ 128587 h 296396"/>
                  <a:gd name="connsiteX14" fmla="*/ 316706 w 371475"/>
                  <a:gd name="connsiteY14" fmla="*/ 109537 h 296396"/>
                  <a:gd name="connsiteX15" fmla="*/ 366712 w 371475"/>
                  <a:gd name="connsiteY15" fmla="*/ 90487 h 296396"/>
                  <a:gd name="connsiteX16" fmla="*/ 371475 w 371475"/>
                  <a:gd name="connsiteY16" fmla="*/ 50006 h 296396"/>
                  <a:gd name="connsiteX17" fmla="*/ 347663 w 371475"/>
                  <a:gd name="connsiteY17" fmla="*/ 14287 h 296396"/>
                  <a:gd name="connsiteX18" fmla="*/ 319088 w 371475"/>
                  <a:gd name="connsiteY18" fmla="*/ 14287 h 296396"/>
                  <a:gd name="connsiteX19" fmla="*/ 290513 w 371475"/>
                  <a:gd name="connsiteY19" fmla="*/ 16669 h 296396"/>
                  <a:gd name="connsiteX20" fmla="*/ 264319 w 371475"/>
                  <a:gd name="connsiteY20" fmla="*/ 7144 h 296396"/>
                  <a:gd name="connsiteX21" fmla="*/ 240506 w 371475"/>
                  <a:gd name="connsiteY21" fmla="*/ 19050 h 296396"/>
                  <a:gd name="connsiteX22" fmla="*/ 209550 w 371475"/>
                  <a:gd name="connsiteY22" fmla="*/ 23812 h 296396"/>
                  <a:gd name="connsiteX23" fmla="*/ 154781 w 371475"/>
                  <a:gd name="connsiteY23" fmla="*/ 19050 h 296396"/>
                  <a:gd name="connsiteX24" fmla="*/ 90488 w 371475"/>
                  <a:gd name="connsiteY24" fmla="*/ 0 h 296396"/>
                  <a:gd name="connsiteX25" fmla="*/ 38100 w 371475"/>
                  <a:gd name="connsiteY25" fmla="*/ 9525 h 296396"/>
                  <a:gd name="connsiteX26" fmla="*/ 0 w 371475"/>
                  <a:gd name="connsiteY26" fmla="*/ 52387 h 296396"/>
                  <a:gd name="connsiteX27" fmla="*/ 21431 w 371475"/>
                  <a:gd name="connsiteY27" fmla="*/ 111919 h 296396"/>
                  <a:gd name="connsiteX28" fmla="*/ 80963 w 371475"/>
                  <a:gd name="connsiteY28" fmla="*/ 121444 h 296396"/>
                  <a:gd name="connsiteX29" fmla="*/ 142875 w 371475"/>
                  <a:gd name="connsiteY29" fmla="*/ 121444 h 296396"/>
                  <a:gd name="connsiteX30" fmla="*/ 185738 w 371475"/>
                  <a:gd name="connsiteY30" fmla="*/ 152400 h 296396"/>
                  <a:gd name="connsiteX31" fmla="*/ 242888 w 371475"/>
                  <a:gd name="connsiteY31" fmla="*/ 173831 h 296396"/>
                  <a:gd name="connsiteX32" fmla="*/ 261938 w 371475"/>
                  <a:gd name="connsiteY32" fmla="*/ 176212 h 296396"/>
                  <a:gd name="connsiteX33" fmla="*/ 240506 w 371475"/>
                  <a:gd name="connsiteY33" fmla="*/ 195262 h 296396"/>
                  <a:gd name="connsiteX34" fmla="*/ 235744 w 371475"/>
                  <a:gd name="connsiteY34" fmla="*/ 209550 h 296396"/>
                  <a:gd name="connsiteX35" fmla="*/ 211931 w 371475"/>
                  <a:gd name="connsiteY35" fmla="*/ 171450 h 296396"/>
                  <a:gd name="connsiteX36" fmla="*/ 159544 w 371475"/>
                  <a:gd name="connsiteY36" fmla="*/ 133350 h 296396"/>
                  <a:gd name="connsiteX37" fmla="*/ 109538 w 371475"/>
                  <a:gd name="connsiteY37" fmla="*/ 123825 h 296396"/>
                  <a:gd name="connsiteX38" fmla="*/ 71438 w 371475"/>
                  <a:gd name="connsiteY38" fmla="*/ 140494 h 296396"/>
                  <a:gd name="connsiteX39" fmla="*/ 76200 w 371475"/>
                  <a:gd name="connsiteY39" fmla="*/ 176212 h 296396"/>
                  <a:gd name="connsiteX40" fmla="*/ 21431 w 371475"/>
                  <a:gd name="connsiteY40" fmla="*/ 180975 h 296396"/>
                  <a:gd name="connsiteX0" fmla="*/ 23101 w 373145"/>
                  <a:gd name="connsiteY0" fmla="*/ 180975 h 296396"/>
                  <a:gd name="connsiteX1" fmla="*/ 27864 w 373145"/>
                  <a:gd name="connsiteY1" fmla="*/ 230981 h 296396"/>
                  <a:gd name="connsiteX2" fmla="*/ 56439 w 373145"/>
                  <a:gd name="connsiteY2" fmla="*/ 223837 h 296396"/>
                  <a:gd name="connsiteX3" fmla="*/ 113589 w 373145"/>
                  <a:gd name="connsiteY3" fmla="*/ 288131 h 296396"/>
                  <a:gd name="connsiteX4" fmla="*/ 171088 w 373145"/>
                  <a:gd name="connsiteY4" fmla="*/ 289498 h 296396"/>
                  <a:gd name="connsiteX5" fmla="*/ 182645 w 373145"/>
                  <a:gd name="connsiteY5" fmla="*/ 264319 h 296396"/>
                  <a:gd name="connsiteX6" fmla="*/ 180264 w 373145"/>
                  <a:gd name="connsiteY6" fmla="*/ 223837 h 296396"/>
                  <a:gd name="connsiteX7" fmla="*/ 208839 w 373145"/>
                  <a:gd name="connsiteY7" fmla="*/ 261937 h 296396"/>
                  <a:gd name="connsiteX8" fmla="*/ 246939 w 373145"/>
                  <a:gd name="connsiteY8" fmla="*/ 281686 h 296396"/>
                  <a:gd name="connsiteX9" fmla="*/ 275514 w 373145"/>
                  <a:gd name="connsiteY9" fmla="*/ 266700 h 296396"/>
                  <a:gd name="connsiteX10" fmla="*/ 296945 w 373145"/>
                  <a:gd name="connsiteY10" fmla="*/ 226219 h 296396"/>
                  <a:gd name="connsiteX11" fmla="*/ 335045 w 373145"/>
                  <a:gd name="connsiteY11" fmla="*/ 216694 h 296396"/>
                  <a:gd name="connsiteX12" fmla="*/ 344570 w 373145"/>
                  <a:gd name="connsiteY12" fmla="*/ 176212 h 296396"/>
                  <a:gd name="connsiteX13" fmla="*/ 320758 w 373145"/>
                  <a:gd name="connsiteY13" fmla="*/ 128587 h 296396"/>
                  <a:gd name="connsiteX14" fmla="*/ 318376 w 373145"/>
                  <a:gd name="connsiteY14" fmla="*/ 109537 h 296396"/>
                  <a:gd name="connsiteX15" fmla="*/ 368382 w 373145"/>
                  <a:gd name="connsiteY15" fmla="*/ 90487 h 296396"/>
                  <a:gd name="connsiteX16" fmla="*/ 373145 w 373145"/>
                  <a:gd name="connsiteY16" fmla="*/ 50006 h 296396"/>
                  <a:gd name="connsiteX17" fmla="*/ 349333 w 373145"/>
                  <a:gd name="connsiteY17" fmla="*/ 14287 h 296396"/>
                  <a:gd name="connsiteX18" fmla="*/ 320758 w 373145"/>
                  <a:gd name="connsiteY18" fmla="*/ 14287 h 296396"/>
                  <a:gd name="connsiteX19" fmla="*/ 292183 w 373145"/>
                  <a:gd name="connsiteY19" fmla="*/ 16669 h 296396"/>
                  <a:gd name="connsiteX20" fmla="*/ 265989 w 373145"/>
                  <a:gd name="connsiteY20" fmla="*/ 7144 h 296396"/>
                  <a:gd name="connsiteX21" fmla="*/ 242176 w 373145"/>
                  <a:gd name="connsiteY21" fmla="*/ 19050 h 296396"/>
                  <a:gd name="connsiteX22" fmla="*/ 211220 w 373145"/>
                  <a:gd name="connsiteY22" fmla="*/ 23812 h 296396"/>
                  <a:gd name="connsiteX23" fmla="*/ 156451 w 373145"/>
                  <a:gd name="connsiteY23" fmla="*/ 19050 h 296396"/>
                  <a:gd name="connsiteX24" fmla="*/ 92158 w 373145"/>
                  <a:gd name="connsiteY24" fmla="*/ 0 h 296396"/>
                  <a:gd name="connsiteX25" fmla="*/ 39770 w 373145"/>
                  <a:gd name="connsiteY25" fmla="*/ 9525 h 296396"/>
                  <a:gd name="connsiteX26" fmla="*/ 1670 w 373145"/>
                  <a:gd name="connsiteY26" fmla="*/ 52387 h 296396"/>
                  <a:gd name="connsiteX27" fmla="*/ 23101 w 373145"/>
                  <a:gd name="connsiteY27" fmla="*/ 111919 h 296396"/>
                  <a:gd name="connsiteX28" fmla="*/ 82633 w 373145"/>
                  <a:gd name="connsiteY28" fmla="*/ 121444 h 296396"/>
                  <a:gd name="connsiteX29" fmla="*/ 144545 w 373145"/>
                  <a:gd name="connsiteY29" fmla="*/ 121444 h 296396"/>
                  <a:gd name="connsiteX30" fmla="*/ 187408 w 373145"/>
                  <a:gd name="connsiteY30" fmla="*/ 152400 h 296396"/>
                  <a:gd name="connsiteX31" fmla="*/ 244558 w 373145"/>
                  <a:gd name="connsiteY31" fmla="*/ 173831 h 296396"/>
                  <a:gd name="connsiteX32" fmla="*/ 263608 w 373145"/>
                  <a:gd name="connsiteY32" fmla="*/ 176212 h 296396"/>
                  <a:gd name="connsiteX33" fmla="*/ 242176 w 373145"/>
                  <a:gd name="connsiteY33" fmla="*/ 195262 h 296396"/>
                  <a:gd name="connsiteX34" fmla="*/ 237414 w 373145"/>
                  <a:gd name="connsiteY34" fmla="*/ 209550 h 296396"/>
                  <a:gd name="connsiteX35" fmla="*/ 213601 w 373145"/>
                  <a:gd name="connsiteY35" fmla="*/ 171450 h 296396"/>
                  <a:gd name="connsiteX36" fmla="*/ 161214 w 373145"/>
                  <a:gd name="connsiteY36" fmla="*/ 133350 h 296396"/>
                  <a:gd name="connsiteX37" fmla="*/ 111208 w 373145"/>
                  <a:gd name="connsiteY37" fmla="*/ 123825 h 296396"/>
                  <a:gd name="connsiteX38" fmla="*/ 73108 w 373145"/>
                  <a:gd name="connsiteY38" fmla="*/ 140494 h 296396"/>
                  <a:gd name="connsiteX39" fmla="*/ 77870 w 373145"/>
                  <a:gd name="connsiteY39" fmla="*/ 176212 h 296396"/>
                  <a:gd name="connsiteX40" fmla="*/ 23101 w 373145"/>
                  <a:gd name="connsiteY40" fmla="*/ 180975 h 296396"/>
                  <a:gd name="connsiteX0" fmla="*/ 21945 w 371989"/>
                  <a:gd name="connsiteY0" fmla="*/ 180975 h 296396"/>
                  <a:gd name="connsiteX1" fmla="*/ 26708 w 371989"/>
                  <a:gd name="connsiteY1" fmla="*/ 230981 h 296396"/>
                  <a:gd name="connsiteX2" fmla="*/ 55283 w 371989"/>
                  <a:gd name="connsiteY2" fmla="*/ 223837 h 296396"/>
                  <a:gd name="connsiteX3" fmla="*/ 112433 w 371989"/>
                  <a:gd name="connsiteY3" fmla="*/ 288131 h 296396"/>
                  <a:gd name="connsiteX4" fmla="*/ 169932 w 371989"/>
                  <a:gd name="connsiteY4" fmla="*/ 289498 h 296396"/>
                  <a:gd name="connsiteX5" fmla="*/ 181489 w 371989"/>
                  <a:gd name="connsiteY5" fmla="*/ 264319 h 296396"/>
                  <a:gd name="connsiteX6" fmla="*/ 179108 w 371989"/>
                  <a:gd name="connsiteY6" fmla="*/ 223837 h 296396"/>
                  <a:gd name="connsiteX7" fmla="*/ 207683 w 371989"/>
                  <a:gd name="connsiteY7" fmla="*/ 261937 h 296396"/>
                  <a:gd name="connsiteX8" fmla="*/ 245783 w 371989"/>
                  <a:gd name="connsiteY8" fmla="*/ 281686 h 296396"/>
                  <a:gd name="connsiteX9" fmla="*/ 274358 w 371989"/>
                  <a:gd name="connsiteY9" fmla="*/ 266700 h 296396"/>
                  <a:gd name="connsiteX10" fmla="*/ 295789 w 371989"/>
                  <a:gd name="connsiteY10" fmla="*/ 226219 h 296396"/>
                  <a:gd name="connsiteX11" fmla="*/ 333889 w 371989"/>
                  <a:gd name="connsiteY11" fmla="*/ 216694 h 296396"/>
                  <a:gd name="connsiteX12" fmla="*/ 343414 w 371989"/>
                  <a:gd name="connsiteY12" fmla="*/ 176212 h 296396"/>
                  <a:gd name="connsiteX13" fmla="*/ 319602 w 371989"/>
                  <a:gd name="connsiteY13" fmla="*/ 128587 h 296396"/>
                  <a:gd name="connsiteX14" fmla="*/ 317220 w 371989"/>
                  <a:gd name="connsiteY14" fmla="*/ 109537 h 296396"/>
                  <a:gd name="connsiteX15" fmla="*/ 367226 w 371989"/>
                  <a:gd name="connsiteY15" fmla="*/ 90487 h 296396"/>
                  <a:gd name="connsiteX16" fmla="*/ 371989 w 371989"/>
                  <a:gd name="connsiteY16" fmla="*/ 50006 h 296396"/>
                  <a:gd name="connsiteX17" fmla="*/ 348177 w 371989"/>
                  <a:gd name="connsiteY17" fmla="*/ 14287 h 296396"/>
                  <a:gd name="connsiteX18" fmla="*/ 319602 w 371989"/>
                  <a:gd name="connsiteY18" fmla="*/ 14287 h 296396"/>
                  <a:gd name="connsiteX19" fmla="*/ 291027 w 371989"/>
                  <a:gd name="connsiteY19" fmla="*/ 16669 h 296396"/>
                  <a:gd name="connsiteX20" fmla="*/ 264833 w 371989"/>
                  <a:gd name="connsiteY20" fmla="*/ 7144 h 296396"/>
                  <a:gd name="connsiteX21" fmla="*/ 241020 w 371989"/>
                  <a:gd name="connsiteY21" fmla="*/ 19050 h 296396"/>
                  <a:gd name="connsiteX22" fmla="*/ 210064 w 371989"/>
                  <a:gd name="connsiteY22" fmla="*/ 23812 h 296396"/>
                  <a:gd name="connsiteX23" fmla="*/ 155295 w 371989"/>
                  <a:gd name="connsiteY23" fmla="*/ 19050 h 296396"/>
                  <a:gd name="connsiteX24" fmla="*/ 91002 w 371989"/>
                  <a:gd name="connsiteY24" fmla="*/ 0 h 296396"/>
                  <a:gd name="connsiteX25" fmla="*/ 38614 w 371989"/>
                  <a:gd name="connsiteY25" fmla="*/ 9525 h 296396"/>
                  <a:gd name="connsiteX26" fmla="*/ 514 w 371989"/>
                  <a:gd name="connsiteY26" fmla="*/ 52387 h 296396"/>
                  <a:gd name="connsiteX27" fmla="*/ 21945 w 371989"/>
                  <a:gd name="connsiteY27" fmla="*/ 111919 h 296396"/>
                  <a:gd name="connsiteX28" fmla="*/ 81477 w 371989"/>
                  <a:gd name="connsiteY28" fmla="*/ 121444 h 296396"/>
                  <a:gd name="connsiteX29" fmla="*/ 143389 w 371989"/>
                  <a:gd name="connsiteY29" fmla="*/ 121444 h 296396"/>
                  <a:gd name="connsiteX30" fmla="*/ 186252 w 371989"/>
                  <a:gd name="connsiteY30" fmla="*/ 152400 h 296396"/>
                  <a:gd name="connsiteX31" fmla="*/ 243402 w 371989"/>
                  <a:gd name="connsiteY31" fmla="*/ 173831 h 296396"/>
                  <a:gd name="connsiteX32" fmla="*/ 262452 w 371989"/>
                  <a:gd name="connsiteY32" fmla="*/ 176212 h 296396"/>
                  <a:gd name="connsiteX33" fmla="*/ 241020 w 371989"/>
                  <a:gd name="connsiteY33" fmla="*/ 195262 h 296396"/>
                  <a:gd name="connsiteX34" fmla="*/ 236258 w 371989"/>
                  <a:gd name="connsiteY34" fmla="*/ 209550 h 296396"/>
                  <a:gd name="connsiteX35" fmla="*/ 212445 w 371989"/>
                  <a:gd name="connsiteY35" fmla="*/ 171450 h 296396"/>
                  <a:gd name="connsiteX36" fmla="*/ 160058 w 371989"/>
                  <a:gd name="connsiteY36" fmla="*/ 133350 h 296396"/>
                  <a:gd name="connsiteX37" fmla="*/ 110052 w 371989"/>
                  <a:gd name="connsiteY37" fmla="*/ 123825 h 296396"/>
                  <a:gd name="connsiteX38" fmla="*/ 71952 w 371989"/>
                  <a:gd name="connsiteY38" fmla="*/ 140494 h 296396"/>
                  <a:gd name="connsiteX39" fmla="*/ 76714 w 371989"/>
                  <a:gd name="connsiteY39" fmla="*/ 176212 h 296396"/>
                  <a:gd name="connsiteX40" fmla="*/ 21945 w 371989"/>
                  <a:gd name="connsiteY40" fmla="*/ 180975 h 296396"/>
                  <a:gd name="connsiteX0" fmla="*/ 16662 w 366706"/>
                  <a:gd name="connsiteY0" fmla="*/ 180975 h 296396"/>
                  <a:gd name="connsiteX1" fmla="*/ 21425 w 366706"/>
                  <a:gd name="connsiteY1" fmla="*/ 230981 h 296396"/>
                  <a:gd name="connsiteX2" fmla="*/ 50000 w 366706"/>
                  <a:gd name="connsiteY2" fmla="*/ 223837 h 296396"/>
                  <a:gd name="connsiteX3" fmla="*/ 107150 w 366706"/>
                  <a:gd name="connsiteY3" fmla="*/ 288131 h 296396"/>
                  <a:gd name="connsiteX4" fmla="*/ 164649 w 366706"/>
                  <a:gd name="connsiteY4" fmla="*/ 289498 h 296396"/>
                  <a:gd name="connsiteX5" fmla="*/ 176206 w 366706"/>
                  <a:gd name="connsiteY5" fmla="*/ 264319 h 296396"/>
                  <a:gd name="connsiteX6" fmla="*/ 173825 w 366706"/>
                  <a:gd name="connsiteY6" fmla="*/ 223837 h 296396"/>
                  <a:gd name="connsiteX7" fmla="*/ 202400 w 366706"/>
                  <a:gd name="connsiteY7" fmla="*/ 261937 h 296396"/>
                  <a:gd name="connsiteX8" fmla="*/ 240500 w 366706"/>
                  <a:gd name="connsiteY8" fmla="*/ 281686 h 296396"/>
                  <a:gd name="connsiteX9" fmla="*/ 269075 w 366706"/>
                  <a:gd name="connsiteY9" fmla="*/ 266700 h 296396"/>
                  <a:gd name="connsiteX10" fmla="*/ 290506 w 366706"/>
                  <a:gd name="connsiteY10" fmla="*/ 226219 h 296396"/>
                  <a:gd name="connsiteX11" fmla="*/ 328606 w 366706"/>
                  <a:gd name="connsiteY11" fmla="*/ 216694 h 296396"/>
                  <a:gd name="connsiteX12" fmla="*/ 338131 w 366706"/>
                  <a:gd name="connsiteY12" fmla="*/ 176212 h 296396"/>
                  <a:gd name="connsiteX13" fmla="*/ 314319 w 366706"/>
                  <a:gd name="connsiteY13" fmla="*/ 128587 h 296396"/>
                  <a:gd name="connsiteX14" fmla="*/ 311937 w 366706"/>
                  <a:gd name="connsiteY14" fmla="*/ 109537 h 296396"/>
                  <a:gd name="connsiteX15" fmla="*/ 361943 w 366706"/>
                  <a:gd name="connsiteY15" fmla="*/ 90487 h 296396"/>
                  <a:gd name="connsiteX16" fmla="*/ 366706 w 366706"/>
                  <a:gd name="connsiteY16" fmla="*/ 50006 h 296396"/>
                  <a:gd name="connsiteX17" fmla="*/ 342894 w 366706"/>
                  <a:gd name="connsiteY17" fmla="*/ 14287 h 296396"/>
                  <a:gd name="connsiteX18" fmla="*/ 314319 w 366706"/>
                  <a:gd name="connsiteY18" fmla="*/ 14287 h 296396"/>
                  <a:gd name="connsiteX19" fmla="*/ 285744 w 366706"/>
                  <a:gd name="connsiteY19" fmla="*/ 16669 h 296396"/>
                  <a:gd name="connsiteX20" fmla="*/ 259550 w 366706"/>
                  <a:gd name="connsiteY20" fmla="*/ 7144 h 296396"/>
                  <a:gd name="connsiteX21" fmla="*/ 235737 w 366706"/>
                  <a:gd name="connsiteY21" fmla="*/ 19050 h 296396"/>
                  <a:gd name="connsiteX22" fmla="*/ 204781 w 366706"/>
                  <a:gd name="connsiteY22" fmla="*/ 23812 h 296396"/>
                  <a:gd name="connsiteX23" fmla="*/ 150012 w 366706"/>
                  <a:gd name="connsiteY23" fmla="*/ 19050 h 296396"/>
                  <a:gd name="connsiteX24" fmla="*/ 85719 w 366706"/>
                  <a:gd name="connsiteY24" fmla="*/ 0 h 296396"/>
                  <a:gd name="connsiteX25" fmla="*/ 33331 w 366706"/>
                  <a:gd name="connsiteY25" fmla="*/ 9525 h 296396"/>
                  <a:gd name="connsiteX26" fmla="*/ 692 w 366706"/>
                  <a:gd name="connsiteY26" fmla="*/ 51022 h 296396"/>
                  <a:gd name="connsiteX27" fmla="*/ 16662 w 366706"/>
                  <a:gd name="connsiteY27" fmla="*/ 111919 h 296396"/>
                  <a:gd name="connsiteX28" fmla="*/ 76194 w 366706"/>
                  <a:gd name="connsiteY28" fmla="*/ 121444 h 296396"/>
                  <a:gd name="connsiteX29" fmla="*/ 138106 w 366706"/>
                  <a:gd name="connsiteY29" fmla="*/ 121444 h 296396"/>
                  <a:gd name="connsiteX30" fmla="*/ 180969 w 366706"/>
                  <a:gd name="connsiteY30" fmla="*/ 152400 h 296396"/>
                  <a:gd name="connsiteX31" fmla="*/ 238119 w 366706"/>
                  <a:gd name="connsiteY31" fmla="*/ 173831 h 296396"/>
                  <a:gd name="connsiteX32" fmla="*/ 257169 w 366706"/>
                  <a:gd name="connsiteY32" fmla="*/ 176212 h 296396"/>
                  <a:gd name="connsiteX33" fmla="*/ 235737 w 366706"/>
                  <a:gd name="connsiteY33" fmla="*/ 195262 h 296396"/>
                  <a:gd name="connsiteX34" fmla="*/ 230975 w 366706"/>
                  <a:gd name="connsiteY34" fmla="*/ 209550 h 296396"/>
                  <a:gd name="connsiteX35" fmla="*/ 207162 w 366706"/>
                  <a:gd name="connsiteY35" fmla="*/ 171450 h 296396"/>
                  <a:gd name="connsiteX36" fmla="*/ 154775 w 366706"/>
                  <a:gd name="connsiteY36" fmla="*/ 133350 h 296396"/>
                  <a:gd name="connsiteX37" fmla="*/ 104769 w 366706"/>
                  <a:gd name="connsiteY37" fmla="*/ 123825 h 296396"/>
                  <a:gd name="connsiteX38" fmla="*/ 66669 w 366706"/>
                  <a:gd name="connsiteY38" fmla="*/ 140494 h 296396"/>
                  <a:gd name="connsiteX39" fmla="*/ 71431 w 366706"/>
                  <a:gd name="connsiteY39" fmla="*/ 176212 h 296396"/>
                  <a:gd name="connsiteX40" fmla="*/ 16662 w 366706"/>
                  <a:gd name="connsiteY40" fmla="*/ 180975 h 296396"/>
                  <a:gd name="connsiteX0" fmla="*/ 16662 w 366706"/>
                  <a:gd name="connsiteY0" fmla="*/ 180975 h 296396"/>
                  <a:gd name="connsiteX1" fmla="*/ 21425 w 366706"/>
                  <a:gd name="connsiteY1" fmla="*/ 230981 h 296396"/>
                  <a:gd name="connsiteX2" fmla="*/ 50000 w 366706"/>
                  <a:gd name="connsiteY2" fmla="*/ 223837 h 296396"/>
                  <a:gd name="connsiteX3" fmla="*/ 107150 w 366706"/>
                  <a:gd name="connsiteY3" fmla="*/ 288131 h 296396"/>
                  <a:gd name="connsiteX4" fmla="*/ 164649 w 366706"/>
                  <a:gd name="connsiteY4" fmla="*/ 289498 h 296396"/>
                  <a:gd name="connsiteX5" fmla="*/ 176206 w 366706"/>
                  <a:gd name="connsiteY5" fmla="*/ 264319 h 296396"/>
                  <a:gd name="connsiteX6" fmla="*/ 173825 w 366706"/>
                  <a:gd name="connsiteY6" fmla="*/ 223837 h 296396"/>
                  <a:gd name="connsiteX7" fmla="*/ 202400 w 366706"/>
                  <a:gd name="connsiteY7" fmla="*/ 261937 h 296396"/>
                  <a:gd name="connsiteX8" fmla="*/ 240500 w 366706"/>
                  <a:gd name="connsiteY8" fmla="*/ 281686 h 296396"/>
                  <a:gd name="connsiteX9" fmla="*/ 269075 w 366706"/>
                  <a:gd name="connsiteY9" fmla="*/ 266700 h 296396"/>
                  <a:gd name="connsiteX10" fmla="*/ 290506 w 366706"/>
                  <a:gd name="connsiteY10" fmla="*/ 226219 h 296396"/>
                  <a:gd name="connsiteX11" fmla="*/ 328606 w 366706"/>
                  <a:gd name="connsiteY11" fmla="*/ 216694 h 296396"/>
                  <a:gd name="connsiteX12" fmla="*/ 338131 w 366706"/>
                  <a:gd name="connsiteY12" fmla="*/ 176212 h 296396"/>
                  <a:gd name="connsiteX13" fmla="*/ 314319 w 366706"/>
                  <a:gd name="connsiteY13" fmla="*/ 128587 h 296396"/>
                  <a:gd name="connsiteX14" fmla="*/ 311937 w 366706"/>
                  <a:gd name="connsiteY14" fmla="*/ 109537 h 296396"/>
                  <a:gd name="connsiteX15" fmla="*/ 361943 w 366706"/>
                  <a:gd name="connsiteY15" fmla="*/ 90487 h 296396"/>
                  <a:gd name="connsiteX16" fmla="*/ 366706 w 366706"/>
                  <a:gd name="connsiteY16" fmla="*/ 50006 h 296396"/>
                  <a:gd name="connsiteX17" fmla="*/ 342894 w 366706"/>
                  <a:gd name="connsiteY17" fmla="*/ 14287 h 296396"/>
                  <a:gd name="connsiteX18" fmla="*/ 314319 w 366706"/>
                  <a:gd name="connsiteY18" fmla="*/ 14287 h 296396"/>
                  <a:gd name="connsiteX19" fmla="*/ 285744 w 366706"/>
                  <a:gd name="connsiteY19" fmla="*/ 16669 h 296396"/>
                  <a:gd name="connsiteX20" fmla="*/ 259550 w 366706"/>
                  <a:gd name="connsiteY20" fmla="*/ 7144 h 296396"/>
                  <a:gd name="connsiteX21" fmla="*/ 235737 w 366706"/>
                  <a:gd name="connsiteY21" fmla="*/ 19050 h 296396"/>
                  <a:gd name="connsiteX22" fmla="*/ 204781 w 366706"/>
                  <a:gd name="connsiteY22" fmla="*/ 23812 h 296396"/>
                  <a:gd name="connsiteX23" fmla="*/ 150012 w 366706"/>
                  <a:gd name="connsiteY23" fmla="*/ 19050 h 296396"/>
                  <a:gd name="connsiteX24" fmla="*/ 85719 w 366706"/>
                  <a:gd name="connsiteY24" fmla="*/ 0 h 296396"/>
                  <a:gd name="connsiteX25" fmla="*/ 33331 w 366706"/>
                  <a:gd name="connsiteY25" fmla="*/ 9525 h 296396"/>
                  <a:gd name="connsiteX26" fmla="*/ 692 w 366706"/>
                  <a:gd name="connsiteY26" fmla="*/ 51022 h 296396"/>
                  <a:gd name="connsiteX27" fmla="*/ 16662 w 366706"/>
                  <a:gd name="connsiteY27" fmla="*/ 111919 h 296396"/>
                  <a:gd name="connsiteX28" fmla="*/ 76194 w 366706"/>
                  <a:gd name="connsiteY28" fmla="*/ 121444 h 296396"/>
                  <a:gd name="connsiteX29" fmla="*/ 138106 w 366706"/>
                  <a:gd name="connsiteY29" fmla="*/ 121444 h 296396"/>
                  <a:gd name="connsiteX30" fmla="*/ 180969 w 366706"/>
                  <a:gd name="connsiteY30" fmla="*/ 152400 h 296396"/>
                  <a:gd name="connsiteX31" fmla="*/ 238119 w 366706"/>
                  <a:gd name="connsiteY31" fmla="*/ 173831 h 296396"/>
                  <a:gd name="connsiteX32" fmla="*/ 257169 w 366706"/>
                  <a:gd name="connsiteY32" fmla="*/ 176212 h 296396"/>
                  <a:gd name="connsiteX33" fmla="*/ 235737 w 366706"/>
                  <a:gd name="connsiteY33" fmla="*/ 195262 h 296396"/>
                  <a:gd name="connsiteX34" fmla="*/ 230975 w 366706"/>
                  <a:gd name="connsiteY34" fmla="*/ 209550 h 296396"/>
                  <a:gd name="connsiteX35" fmla="*/ 207162 w 366706"/>
                  <a:gd name="connsiteY35" fmla="*/ 171450 h 296396"/>
                  <a:gd name="connsiteX36" fmla="*/ 154775 w 366706"/>
                  <a:gd name="connsiteY36" fmla="*/ 133350 h 296396"/>
                  <a:gd name="connsiteX37" fmla="*/ 104769 w 366706"/>
                  <a:gd name="connsiteY37" fmla="*/ 123825 h 296396"/>
                  <a:gd name="connsiteX38" fmla="*/ 66669 w 366706"/>
                  <a:gd name="connsiteY38" fmla="*/ 140494 h 296396"/>
                  <a:gd name="connsiteX39" fmla="*/ 71431 w 366706"/>
                  <a:gd name="connsiteY39" fmla="*/ 176212 h 296396"/>
                  <a:gd name="connsiteX40" fmla="*/ 16662 w 366706"/>
                  <a:gd name="connsiteY40" fmla="*/ 180975 h 296396"/>
                  <a:gd name="connsiteX0" fmla="*/ 16662 w 366706"/>
                  <a:gd name="connsiteY0" fmla="*/ 180975 h 296396"/>
                  <a:gd name="connsiteX1" fmla="*/ 21425 w 366706"/>
                  <a:gd name="connsiteY1" fmla="*/ 230981 h 296396"/>
                  <a:gd name="connsiteX2" fmla="*/ 50000 w 366706"/>
                  <a:gd name="connsiteY2" fmla="*/ 223837 h 296396"/>
                  <a:gd name="connsiteX3" fmla="*/ 107150 w 366706"/>
                  <a:gd name="connsiteY3" fmla="*/ 288131 h 296396"/>
                  <a:gd name="connsiteX4" fmla="*/ 164649 w 366706"/>
                  <a:gd name="connsiteY4" fmla="*/ 289498 h 296396"/>
                  <a:gd name="connsiteX5" fmla="*/ 176206 w 366706"/>
                  <a:gd name="connsiteY5" fmla="*/ 264319 h 296396"/>
                  <a:gd name="connsiteX6" fmla="*/ 173825 w 366706"/>
                  <a:gd name="connsiteY6" fmla="*/ 223837 h 296396"/>
                  <a:gd name="connsiteX7" fmla="*/ 202400 w 366706"/>
                  <a:gd name="connsiteY7" fmla="*/ 261937 h 296396"/>
                  <a:gd name="connsiteX8" fmla="*/ 240500 w 366706"/>
                  <a:gd name="connsiteY8" fmla="*/ 281686 h 296396"/>
                  <a:gd name="connsiteX9" fmla="*/ 269075 w 366706"/>
                  <a:gd name="connsiteY9" fmla="*/ 266700 h 296396"/>
                  <a:gd name="connsiteX10" fmla="*/ 290506 w 366706"/>
                  <a:gd name="connsiteY10" fmla="*/ 226219 h 296396"/>
                  <a:gd name="connsiteX11" fmla="*/ 328606 w 366706"/>
                  <a:gd name="connsiteY11" fmla="*/ 216694 h 296396"/>
                  <a:gd name="connsiteX12" fmla="*/ 338131 w 366706"/>
                  <a:gd name="connsiteY12" fmla="*/ 176212 h 296396"/>
                  <a:gd name="connsiteX13" fmla="*/ 314319 w 366706"/>
                  <a:gd name="connsiteY13" fmla="*/ 128587 h 296396"/>
                  <a:gd name="connsiteX14" fmla="*/ 311937 w 366706"/>
                  <a:gd name="connsiteY14" fmla="*/ 109537 h 296396"/>
                  <a:gd name="connsiteX15" fmla="*/ 361943 w 366706"/>
                  <a:gd name="connsiteY15" fmla="*/ 90487 h 296396"/>
                  <a:gd name="connsiteX16" fmla="*/ 366706 w 366706"/>
                  <a:gd name="connsiteY16" fmla="*/ 50006 h 296396"/>
                  <a:gd name="connsiteX17" fmla="*/ 342894 w 366706"/>
                  <a:gd name="connsiteY17" fmla="*/ 14287 h 296396"/>
                  <a:gd name="connsiteX18" fmla="*/ 314319 w 366706"/>
                  <a:gd name="connsiteY18" fmla="*/ 14287 h 296396"/>
                  <a:gd name="connsiteX19" fmla="*/ 285744 w 366706"/>
                  <a:gd name="connsiteY19" fmla="*/ 16669 h 296396"/>
                  <a:gd name="connsiteX20" fmla="*/ 259550 w 366706"/>
                  <a:gd name="connsiteY20" fmla="*/ 7144 h 296396"/>
                  <a:gd name="connsiteX21" fmla="*/ 235737 w 366706"/>
                  <a:gd name="connsiteY21" fmla="*/ 19050 h 296396"/>
                  <a:gd name="connsiteX22" fmla="*/ 204781 w 366706"/>
                  <a:gd name="connsiteY22" fmla="*/ 23812 h 296396"/>
                  <a:gd name="connsiteX23" fmla="*/ 150012 w 366706"/>
                  <a:gd name="connsiteY23" fmla="*/ 19050 h 296396"/>
                  <a:gd name="connsiteX24" fmla="*/ 85719 w 366706"/>
                  <a:gd name="connsiteY24" fmla="*/ 0 h 296396"/>
                  <a:gd name="connsiteX25" fmla="*/ 33331 w 366706"/>
                  <a:gd name="connsiteY25" fmla="*/ 9525 h 296396"/>
                  <a:gd name="connsiteX26" fmla="*/ 692 w 366706"/>
                  <a:gd name="connsiteY26" fmla="*/ 51022 h 296396"/>
                  <a:gd name="connsiteX27" fmla="*/ 16662 w 366706"/>
                  <a:gd name="connsiteY27" fmla="*/ 111919 h 296396"/>
                  <a:gd name="connsiteX28" fmla="*/ 76194 w 366706"/>
                  <a:gd name="connsiteY28" fmla="*/ 121444 h 296396"/>
                  <a:gd name="connsiteX29" fmla="*/ 138106 w 366706"/>
                  <a:gd name="connsiteY29" fmla="*/ 121444 h 296396"/>
                  <a:gd name="connsiteX30" fmla="*/ 180969 w 366706"/>
                  <a:gd name="connsiteY30" fmla="*/ 152400 h 296396"/>
                  <a:gd name="connsiteX31" fmla="*/ 238119 w 366706"/>
                  <a:gd name="connsiteY31" fmla="*/ 173831 h 296396"/>
                  <a:gd name="connsiteX32" fmla="*/ 257169 w 366706"/>
                  <a:gd name="connsiteY32" fmla="*/ 176212 h 296396"/>
                  <a:gd name="connsiteX33" fmla="*/ 235737 w 366706"/>
                  <a:gd name="connsiteY33" fmla="*/ 195262 h 296396"/>
                  <a:gd name="connsiteX34" fmla="*/ 230975 w 366706"/>
                  <a:gd name="connsiteY34" fmla="*/ 209550 h 296396"/>
                  <a:gd name="connsiteX35" fmla="*/ 207162 w 366706"/>
                  <a:gd name="connsiteY35" fmla="*/ 171450 h 296396"/>
                  <a:gd name="connsiteX36" fmla="*/ 154775 w 366706"/>
                  <a:gd name="connsiteY36" fmla="*/ 133350 h 296396"/>
                  <a:gd name="connsiteX37" fmla="*/ 104769 w 366706"/>
                  <a:gd name="connsiteY37" fmla="*/ 123825 h 296396"/>
                  <a:gd name="connsiteX38" fmla="*/ 66669 w 366706"/>
                  <a:gd name="connsiteY38" fmla="*/ 140494 h 296396"/>
                  <a:gd name="connsiteX39" fmla="*/ 71431 w 366706"/>
                  <a:gd name="connsiteY39" fmla="*/ 176212 h 296396"/>
                  <a:gd name="connsiteX40" fmla="*/ 16662 w 366706"/>
                  <a:gd name="connsiteY40" fmla="*/ 180975 h 296396"/>
                  <a:gd name="connsiteX0" fmla="*/ 16662 w 366706"/>
                  <a:gd name="connsiteY0" fmla="*/ 180975 h 296396"/>
                  <a:gd name="connsiteX1" fmla="*/ 21425 w 366706"/>
                  <a:gd name="connsiteY1" fmla="*/ 230981 h 296396"/>
                  <a:gd name="connsiteX2" fmla="*/ 50000 w 366706"/>
                  <a:gd name="connsiteY2" fmla="*/ 223837 h 296396"/>
                  <a:gd name="connsiteX3" fmla="*/ 107150 w 366706"/>
                  <a:gd name="connsiteY3" fmla="*/ 288131 h 296396"/>
                  <a:gd name="connsiteX4" fmla="*/ 164649 w 366706"/>
                  <a:gd name="connsiteY4" fmla="*/ 289498 h 296396"/>
                  <a:gd name="connsiteX5" fmla="*/ 176206 w 366706"/>
                  <a:gd name="connsiteY5" fmla="*/ 264319 h 296396"/>
                  <a:gd name="connsiteX6" fmla="*/ 173825 w 366706"/>
                  <a:gd name="connsiteY6" fmla="*/ 223837 h 296396"/>
                  <a:gd name="connsiteX7" fmla="*/ 202400 w 366706"/>
                  <a:gd name="connsiteY7" fmla="*/ 261937 h 296396"/>
                  <a:gd name="connsiteX8" fmla="*/ 240500 w 366706"/>
                  <a:gd name="connsiteY8" fmla="*/ 281686 h 296396"/>
                  <a:gd name="connsiteX9" fmla="*/ 269075 w 366706"/>
                  <a:gd name="connsiteY9" fmla="*/ 266700 h 296396"/>
                  <a:gd name="connsiteX10" fmla="*/ 290506 w 366706"/>
                  <a:gd name="connsiteY10" fmla="*/ 226219 h 296396"/>
                  <a:gd name="connsiteX11" fmla="*/ 328606 w 366706"/>
                  <a:gd name="connsiteY11" fmla="*/ 216694 h 296396"/>
                  <a:gd name="connsiteX12" fmla="*/ 338131 w 366706"/>
                  <a:gd name="connsiteY12" fmla="*/ 176212 h 296396"/>
                  <a:gd name="connsiteX13" fmla="*/ 314319 w 366706"/>
                  <a:gd name="connsiteY13" fmla="*/ 128587 h 296396"/>
                  <a:gd name="connsiteX14" fmla="*/ 311937 w 366706"/>
                  <a:gd name="connsiteY14" fmla="*/ 109537 h 296396"/>
                  <a:gd name="connsiteX15" fmla="*/ 361943 w 366706"/>
                  <a:gd name="connsiteY15" fmla="*/ 90487 h 296396"/>
                  <a:gd name="connsiteX16" fmla="*/ 366706 w 366706"/>
                  <a:gd name="connsiteY16" fmla="*/ 50006 h 296396"/>
                  <a:gd name="connsiteX17" fmla="*/ 342894 w 366706"/>
                  <a:gd name="connsiteY17" fmla="*/ 14287 h 296396"/>
                  <a:gd name="connsiteX18" fmla="*/ 314319 w 366706"/>
                  <a:gd name="connsiteY18" fmla="*/ 14287 h 296396"/>
                  <a:gd name="connsiteX19" fmla="*/ 285744 w 366706"/>
                  <a:gd name="connsiteY19" fmla="*/ 16669 h 296396"/>
                  <a:gd name="connsiteX20" fmla="*/ 259550 w 366706"/>
                  <a:gd name="connsiteY20" fmla="*/ 7144 h 296396"/>
                  <a:gd name="connsiteX21" fmla="*/ 235737 w 366706"/>
                  <a:gd name="connsiteY21" fmla="*/ 19050 h 296396"/>
                  <a:gd name="connsiteX22" fmla="*/ 204781 w 366706"/>
                  <a:gd name="connsiteY22" fmla="*/ 23812 h 296396"/>
                  <a:gd name="connsiteX23" fmla="*/ 150012 w 366706"/>
                  <a:gd name="connsiteY23" fmla="*/ 19050 h 296396"/>
                  <a:gd name="connsiteX24" fmla="*/ 85719 w 366706"/>
                  <a:gd name="connsiteY24" fmla="*/ 0 h 296396"/>
                  <a:gd name="connsiteX25" fmla="*/ 33331 w 366706"/>
                  <a:gd name="connsiteY25" fmla="*/ 9525 h 296396"/>
                  <a:gd name="connsiteX26" fmla="*/ 692 w 366706"/>
                  <a:gd name="connsiteY26" fmla="*/ 51022 h 296396"/>
                  <a:gd name="connsiteX27" fmla="*/ 16662 w 366706"/>
                  <a:gd name="connsiteY27" fmla="*/ 111919 h 296396"/>
                  <a:gd name="connsiteX28" fmla="*/ 76194 w 366706"/>
                  <a:gd name="connsiteY28" fmla="*/ 121444 h 296396"/>
                  <a:gd name="connsiteX29" fmla="*/ 138106 w 366706"/>
                  <a:gd name="connsiteY29" fmla="*/ 121444 h 296396"/>
                  <a:gd name="connsiteX30" fmla="*/ 180969 w 366706"/>
                  <a:gd name="connsiteY30" fmla="*/ 152400 h 296396"/>
                  <a:gd name="connsiteX31" fmla="*/ 238119 w 366706"/>
                  <a:gd name="connsiteY31" fmla="*/ 173831 h 296396"/>
                  <a:gd name="connsiteX32" fmla="*/ 257169 w 366706"/>
                  <a:gd name="connsiteY32" fmla="*/ 176212 h 296396"/>
                  <a:gd name="connsiteX33" fmla="*/ 235737 w 366706"/>
                  <a:gd name="connsiteY33" fmla="*/ 195262 h 296396"/>
                  <a:gd name="connsiteX34" fmla="*/ 230975 w 366706"/>
                  <a:gd name="connsiteY34" fmla="*/ 209550 h 296396"/>
                  <a:gd name="connsiteX35" fmla="*/ 207162 w 366706"/>
                  <a:gd name="connsiteY35" fmla="*/ 171450 h 296396"/>
                  <a:gd name="connsiteX36" fmla="*/ 154775 w 366706"/>
                  <a:gd name="connsiteY36" fmla="*/ 133350 h 296396"/>
                  <a:gd name="connsiteX37" fmla="*/ 104769 w 366706"/>
                  <a:gd name="connsiteY37" fmla="*/ 123825 h 296396"/>
                  <a:gd name="connsiteX38" fmla="*/ 73494 w 366706"/>
                  <a:gd name="connsiteY38" fmla="*/ 140494 h 296396"/>
                  <a:gd name="connsiteX39" fmla="*/ 71431 w 366706"/>
                  <a:gd name="connsiteY39" fmla="*/ 176212 h 296396"/>
                  <a:gd name="connsiteX40" fmla="*/ 16662 w 366706"/>
                  <a:gd name="connsiteY40" fmla="*/ 180975 h 296396"/>
                  <a:gd name="connsiteX0" fmla="*/ 17937 w 367981"/>
                  <a:gd name="connsiteY0" fmla="*/ 180975 h 296396"/>
                  <a:gd name="connsiteX1" fmla="*/ 22700 w 367981"/>
                  <a:gd name="connsiteY1" fmla="*/ 230981 h 296396"/>
                  <a:gd name="connsiteX2" fmla="*/ 51275 w 367981"/>
                  <a:gd name="connsiteY2" fmla="*/ 223837 h 296396"/>
                  <a:gd name="connsiteX3" fmla="*/ 108425 w 367981"/>
                  <a:gd name="connsiteY3" fmla="*/ 288131 h 296396"/>
                  <a:gd name="connsiteX4" fmla="*/ 165924 w 367981"/>
                  <a:gd name="connsiteY4" fmla="*/ 289498 h 296396"/>
                  <a:gd name="connsiteX5" fmla="*/ 177481 w 367981"/>
                  <a:gd name="connsiteY5" fmla="*/ 264319 h 296396"/>
                  <a:gd name="connsiteX6" fmla="*/ 175100 w 367981"/>
                  <a:gd name="connsiteY6" fmla="*/ 223837 h 296396"/>
                  <a:gd name="connsiteX7" fmla="*/ 203675 w 367981"/>
                  <a:gd name="connsiteY7" fmla="*/ 261937 h 296396"/>
                  <a:gd name="connsiteX8" fmla="*/ 241775 w 367981"/>
                  <a:gd name="connsiteY8" fmla="*/ 281686 h 296396"/>
                  <a:gd name="connsiteX9" fmla="*/ 270350 w 367981"/>
                  <a:gd name="connsiteY9" fmla="*/ 266700 h 296396"/>
                  <a:gd name="connsiteX10" fmla="*/ 291781 w 367981"/>
                  <a:gd name="connsiteY10" fmla="*/ 226219 h 296396"/>
                  <a:gd name="connsiteX11" fmla="*/ 329881 w 367981"/>
                  <a:gd name="connsiteY11" fmla="*/ 216694 h 296396"/>
                  <a:gd name="connsiteX12" fmla="*/ 339406 w 367981"/>
                  <a:gd name="connsiteY12" fmla="*/ 176212 h 296396"/>
                  <a:gd name="connsiteX13" fmla="*/ 315594 w 367981"/>
                  <a:gd name="connsiteY13" fmla="*/ 128587 h 296396"/>
                  <a:gd name="connsiteX14" fmla="*/ 313212 w 367981"/>
                  <a:gd name="connsiteY14" fmla="*/ 109537 h 296396"/>
                  <a:gd name="connsiteX15" fmla="*/ 363218 w 367981"/>
                  <a:gd name="connsiteY15" fmla="*/ 90487 h 296396"/>
                  <a:gd name="connsiteX16" fmla="*/ 367981 w 367981"/>
                  <a:gd name="connsiteY16" fmla="*/ 50006 h 296396"/>
                  <a:gd name="connsiteX17" fmla="*/ 344169 w 367981"/>
                  <a:gd name="connsiteY17" fmla="*/ 14287 h 296396"/>
                  <a:gd name="connsiteX18" fmla="*/ 315594 w 367981"/>
                  <a:gd name="connsiteY18" fmla="*/ 14287 h 296396"/>
                  <a:gd name="connsiteX19" fmla="*/ 287019 w 367981"/>
                  <a:gd name="connsiteY19" fmla="*/ 16669 h 296396"/>
                  <a:gd name="connsiteX20" fmla="*/ 260825 w 367981"/>
                  <a:gd name="connsiteY20" fmla="*/ 7144 h 296396"/>
                  <a:gd name="connsiteX21" fmla="*/ 237012 w 367981"/>
                  <a:gd name="connsiteY21" fmla="*/ 19050 h 296396"/>
                  <a:gd name="connsiteX22" fmla="*/ 206056 w 367981"/>
                  <a:gd name="connsiteY22" fmla="*/ 23812 h 296396"/>
                  <a:gd name="connsiteX23" fmla="*/ 151287 w 367981"/>
                  <a:gd name="connsiteY23" fmla="*/ 19050 h 296396"/>
                  <a:gd name="connsiteX24" fmla="*/ 86994 w 367981"/>
                  <a:gd name="connsiteY24" fmla="*/ 0 h 296396"/>
                  <a:gd name="connsiteX25" fmla="*/ 34606 w 367981"/>
                  <a:gd name="connsiteY25" fmla="*/ 9525 h 296396"/>
                  <a:gd name="connsiteX26" fmla="*/ 1967 w 367981"/>
                  <a:gd name="connsiteY26" fmla="*/ 51022 h 296396"/>
                  <a:gd name="connsiteX27" fmla="*/ 17937 w 367981"/>
                  <a:gd name="connsiteY27" fmla="*/ 111919 h 296396"/>
                  <a:gd name="connsiteX28" fmla="*/ 77469 w 367981"/>
                  <a:gd name="connsiteY28" fmla="*/ 121444 h 296396"/>
                  <a:gd name="connsiteX29" fmla="*/ 139381 w 367981"/>
                  <a:gd name="connsiteY29" fmla="*/ 121444 h 296396"/>
                  <a:gd name="connsiteX30" fmla="*/ 182244 w 367981"/>
                  <a:gd name="connsiteY30" fmla="*/ 152400 h 296396"/>
                  <a:gd name="connsiteX31" fmla="*/ 239394 w 367981"/>
                  <a:gd name="connsiteY31" fmla="*/ 173831 h 296396"/>
                  <a:gd name="connsiteX32" fmla="*/ 258444 w 367981"/>
                  <a:gd name="connsiteY32" fmla="*/ 176212 h 296396"/>
                  <a:gd name="connsiteX33" fmla="*/ 237012 w 367981"/>
                  <a:gd name="connsiteY33" fmla="*/ 195262 h 296396"/>
                  <a:gd name="connsiteX34" fmla="*/ 232250 w 367981"/>
                  <a:gd name="connsiteY34" fmla="*/ 209550 h 296396"/>
                  <a:gd name="connsiteX35" fmla="*/ 208437 w 367981"/>
                  <a:gd name="connsiteY35" fmla="*/ 171450 h 296396"/>
                  <a:gd name="connsiteX36" fmla="*/ 156050 w 367981"/>
                  <a:gd name="connsiteY36" fmla="*/ 133350 h 296396"/>
                  <a:gd name="connsiteX37" fmla="*/ 106044 w 367981"/>
                  <a:gd name="connsiteY37" fmla="*/ 123825 h 296396"/>
                  <a:gd name="connsiteX38" fmla="*/ 74769 w 367981"/>
                  <a:gd name="connsiteY38" fmla="*/ 140494 h 296396"/>
                  <a:gd name="connsiteX39" fmla="*/ 72706 w 367981"/>
                  <a:gd name="connsiteY39" fmla="*/ 176212 h 296396"/>
                  <a:gd name="connsiteX40" fmla="*/ 17937 w 367981"/>
                  <a:gd name="connsiteY40" fmla="*/ 180975 h 296396"/>
                  <a:gd name="connsiteX0" fmla="*/ 17294 w 367338"/>
                  <a:gd name="connsiteY0" fmla="*/ 180975 h 296396"/>
                  <a:gd name="connsiteX1" fmla="*/ 22057 w 367338"/>
                  <a:gd name="connsiteY1" fmla="*/ 230981 h 296396"/>
                  <a:gd name="connsiteX2" fmla="*/ 50632 w 367338"/>
                  <a:gd name="connsiteY2" fmla="*/ 223837 h 296396"/>
                  <a:gd name="connsiteX3" fmla="*/ 107782 w 367338"/>
                  <a:gd name="connsiteY3" fmla="*/ 288131 h 296396"/>
                  <a:gd name="connsiteX4" fmla="*/ 165281 w 367338"/>
                  <a:gd name="connsiteY4" fmla="*/ 289498 h 296396"/>
                  <a:gd name="connsiteX5" fmla="*/ 176838 w 367338"/>
                  <a:gd name="connsiteY5" fmla="*/ 264319 h 296396"/>
                  <a:gd name="connsiteX6" fmla="*/ 174457 w 367338"/>
                  <a:gd name="connsiteY6" fmla="*/ 223837 h 296396"/>
                  <a:gd name="connsiteX7" fmla="*/ 203032 w 367338"/>
                  <a:gd name="connsiteY7" fmla="*/ 261937 h 296396"/>
                  <a:gd name="connsiteX8" fmla="*/ 241132 w 367338"/>
                  <a:gd name="connsiteY8" fmla="*/ 281686 h 296396"/>
                  <a:gd name="connsiteX9" fmla="*/ 269707 w 367338"/>
                  <a:gd name="connsiteY9" fmla="*/ 266700 h 296396"/>
                  <a:gd name="connsiteX10" fmla="*/ 291138 w 367338"/>
                  <a:gd name="connsiteY10" fmla="*/ 226219 h 296396"/>
                  <a:gd name="connsiteX11" fmla="*/ 329238 w 367338"/>
                  <a:gd name="connsiteY11" fmla="*/ 216694 h 296396"/>
                  <a:gd name="connsiteX12" fmla="*/ 338763 w 367338"/>
                  <a:gd name="connsiteY12" fmla="*/ 176212 h 296396"/>
                  <a:gd name="connsiteX13" fmla="*/ 314951 w 367338"/>
                  <a:gd name="connsiteY13" fmla="*/ 128587 h 296396"/>
                  <a:gd name="connsiteX14" fmla="*/ 312569 w 367338"/>
                  <a:gd name="connsiteY14" fmla="*/ 109537 h 296396"/>
                  <a:gd name="connsiteX15" fmla="*/ 362575 w 367338"/>
                  <a:gd name="connsiteY15" fmla="*/ 90487 h 296396"/>
                  <a:gd name="connsiteX16" fmla="*/ 367338 w 367338"/>
                  <a:gd name="connsiteY16" fmla="*/ 50006 h 296396"/>
                  <a:gd name="connsiteX17" fmla="*/ 343526 w 367338"/>
                  <a:gd name="connsiteY17" fmla="*/ 14287 h 296396"/>
                  <a:gd name="connsiteX18" fmla="*/ 314951 w 367338"/>
                  <a:gd name="connsiteY18" fmla="*/ 14287 h 296396"/>
                  <a:gd name="connsiteX19" fmla="*/ 286376 w 367338"/>
                  <a:gd name="connsiteY19" fmla="*/ 16669 h 296396"/>
                  <a:gd name="connsiteX20" fmla="*/ 260182 w 367338"/>
                  <a:gd name="connsiteY20" fmla="*/ 7144 h 296396"/>
                  <a:gd name="connsiteX21" fmla="*/ 236369 w 367338"/>
                  <a:gd name="connsiteY21" fmla="*/ 19050 h 296396"/>
                  <a:gd name="connsiteX22" fmla="*/ 205413 w 367338"/>
                  <a:gd name="connsiteY22" fmla="*/ 23812 h 296396"/>
                  <a:gd name="connsiteX23" fmla="*/ 150644 w 367338"/>
                  <a:gd name="connsiteY23" fmla="*/ 19050 h 296396"/>
                  <a:gd name="connsiteX24" fmla="*/ 86351 w 367338"/>
                  <a:gd name="connsiteY24" fmla="*/ 0 h 296396"/>
                  <a:gd name="connsiteX25" fmla="*/ 33963 w 367338"/>
                  <a:gd name="connsiteY25" fmla="*/ 9525 h 296396"/>
                  <a:gd name="connsiteX26" fmla="*/ 1324 w 367338"/>
                  <a:gd name="connsiteY26" fmla="*/ 51022 h 296396"/>
                  <a:gd name="connsiteX27" fmla="*/ 17294 w 367338"/>
                  <a:gd name="connsiteY27" fmla="*/ 111919 h 296396"/>
                  <a:gd name="connsiteX28" fmla="*/ 76826 w 367338"/>
                  <a:gd name="connsiteY28" fmla="*/ 121444 h 296396"/>
                  <a:gd name="connsiteX29" fmla="*/ 138738 w 367338"/>
                  <a:gd name="connsiteY29" fmla="*/ 121444 h 296396"/>
                  <a:gd name="connsiteX30" fmla="*/ 181601 w 367338"/>
                  <a:gd name="connsiteY30" fmla="*/ 152400 h 296396"/>
                  <a:gd name="connsiteX31" fmla="*/ 238751 w 367338"/>
                  <a:gd name="connsiteY31" fmla="*/ 173831 h 296396"/>
                  <a:gd name="connsiteX32" fmla="*/ 257801 w 367338"/>
                  <a:gd name="connsiteY32" fmla="*/ 176212 h 296396"/>
                  <a:gd name="connsiteX33" fmla="*/ 236369 w 367338"/>
                  <a:gd name="connsiteY33" fmla="*/ 195262 h 296396"/>
                  <a:gd name="connsiteX34" fmla="*/ 231607 w 367338"/>
                  <a:gd name="connsiteY34" fmla="*/ 209550 h 296396"/>
                  <a:gd name="connsiteX35" fmla="*/ 207794 w 367338"/>
                  <a:gd name="connsiteY35" fmla="*/ 171450 h 296396"/>
                  <a:gd name="connsiteX36" fmla="*/ 155407 w 367338"/>
                  <a:gd name="connsiteY36" fmla="*/ 133350 h 296396"/>
                  <a:gd name="connsiteX37" fmla="*/ 105401 w 367338"/>
                  <a:gd name="connsiteY37" fmla="*/ 123825 h 296396"/>
                  <a:gd name="connsiteX38" fmla="*/ 74126 w 367338"/>
                  <a:gd name="connsiteY38" fmla="*/ 140494 h 296396"/>
                  <a:gd name="connsiteX39" fmla="*/ 72063 w 367338"/>
                  <a:gd name="connsiteY39" fmla="*/ 176212 h 296396"/>
                  <a:gd name="connsiteX40" fmla="*/ 17294 w 367338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8126 w 366713"/>
                  <a:gd name="connsiteY31" fmla="*/ 173831 h 296396"/>
                  <a:gd name="connsiteX32" fmla="*/ 257176 w 366713"/>
                  <a:gd name="connsiteY32" fmla="*/ 176212 h 296396"/>
                  <a:gd name="connsiteX33" fmla="*/ 235744 w 366713"/>
                  <a:gd name="connsiteY33" fmla="*/ 195262 h 296396"/>
                  <a:gd name="connsiteX34" fmla="*/ 230982 w 366713"/>
                  <a:gd name="connsiteY34" fmla="*/ 209550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5744 w 366713"/>
                  <a:gd name="connsiteY33" fmla="*/ 195262 h 296396"/>
                  <a:gd name="connsiteX34" fmla="*/ 230982 w 366713"/>
                  <a:gd name="connsiteY34" fmla="*/ 209550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30982 w 366713"/>
                  <a:gd name="connsiteY34" fmla="*/ 209550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30982 w 366713"/>
                  <a:gd name="connsiteY34" fmla="*/ 209550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26886 w 366713"/>
                  <a:gd name="connsiteY34" fmla="*/ 202725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311944 w 366713"/>
                  <a:gd name="connsiteY14" fmla="*/ 109537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26886 w 366713"/>
                  <a:gd name="connsiteY34" fmla="*/ 202725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4326 w 366713"/>
                  <a:gd name="connsiteY13" fmla="*/ 128587 h 296396"/>
                  <a:gd name="connsiteX14" fmla="*/ 286008 w 366713"/>
                  <a:gd name="connsiteY14" fmla="*/ 113632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26886 w 366713"/>
                  <a:gd name="connsiteY34" fmla="*/ 202725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1596 w 366713"/>
                  <a:gd name="connsiteY13" fmla="*/ 128587 h 296396"/>
                  <a:gd name="connsiteX14" fmla="*/ 286008 w 366713"/>
                  <a:gd name="connsiteY14" fmla="*/ 113632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26886 w 366713"/>
                  <a:gd name="connsiteY34" fmla="*/ 202725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  <a:gd name="connsiteX0" fmla="*/ 16669 w 366713"/>
                  <a:gd name="connsiteY0" fmla="*/ 180975 h 296396"/>
                  <a:gd name="connsiteX1" fmla="*/ 21432 w 366713"/>
                  <a:gd name="connsiteY1" fmla="*/ 230981 h 296396"/>
                  <a:gd name="connsiteX2" fmla="*/ 50007 w 366713"/>
                  <a:gd name="connsiteY2" fmla="*/ 223837 h 296396"/>
                  <a:gd name="connsiteX3" fmla="*/ 107157 w 366713"/>
                  <a:gd name="connsiteY3" fmla="*/ 288131 h 296396"/>
                  <a:gd name="connsiteX4" fmla="*/ 164656 w 366713"/>
                  <a:gd name="connsiteY4" fmla="*/ 289498 h 296396"/>
                  <a:gd name="connsiteX5" fmla="*/ 176213 w 366713"/>
                  <a:gd name="connsiteY5" fmla="*/ 264319 h 296396"/>
                  <a:gd name="connsiteX6" fmla="*/ 173832 w 366713"/>
                  <a:gd name="connsiteY6" fmla="*/ 223837 h 296396"/>
                  <a:gd name="connsiteX7" fmla="*/ 202407 w 366713"/>
                  <a:gd name="connsiteY7" fmla="*/ 261937 h 296396"/>
                  <a:gd name="connsiteX8" fmla="*/ 240507 w 366713"/>
                  <a:gd name="connsiteY8" fmla="*/ 281686 h 296396"/>
                  <a:gd name="connsiteX9" fmla="*/ 269082 w 366713"/>
                  <a:gd name="connsiteY9" fmla="*/ 266700 h 296396"/>
                  <a:gd name="connsiteX10" fmla="*/ 290513 w 366713"/>
                  <a:gd name="connsiteY10" fmla="*/ 226219 h 296396"/>
                  <a:gd name="connsiteX11" fmla="*/ 328613 w 366713"/>
                  <a:gd name="connsiteY11" fmla="*/ 216694 h 296396"/>
                  <a:gd name="connsiteX12" fmla="*/ 338138 w 366713"/>
                  <a:gd name="connsiteY12" fmla="*/ 176212 h 296396"/>
                  <a:gd name="connsiteX13" fmla="*/ 311596 w 366713"/>
                  <a:gd name="connsiteY13" fmla="*/ 128587 h 296396"/>
                  <a:gd name="connsiteX14" fmla="*/ 286008 w 366713"/>
                  <a:gd name="connsiteY14" fmla="*/ 113632 h 296396"/>
                  <a:gd name="connsiteX15" fmla="*/ 361950 w 366713"/>
                  <a:gd name="connsiteY15" fmla="*/ 90487 h 296396"/>
                  <a:gd name="connsiteX16" fmla="*/ 366713 w 366713"/>
                  <a:gd name="connsiteY16" fmla="*/ 50006 h 296396"/>
                  <a:gd name="connsiteX17" fmla="*/ 342901 w 366713"/>
                  <a:gd name="connsiteY17" fmla="*/ 14287 h 296396"/>
                  <a:gd name="connsiteX18" fmla="*/ 314326 w 366713"/>
                  <a:gd name="connsiteY18" fmla="*/ 14287 h 296396"/>
                  <a:gd name="connsiteX19" fmla="*/ 285751 w 366713"/>
                  <a:gd name="connsiteY19" fmla="*/ 16669 h 296396"/>
                  <a:gd name="connsiteX20" fmla="*/ 259557 w 366713"/>
                  <a:gd name="connsiteY20" fmla="*/ 7144 h 296396"/>
                  <a:gd name="connsiteX21" fmla="*/ 235744 w 366713"/>
                  <a:gd name="connsiteY21" fmla="*/ 19050 h 296396"/>
                  <a:gd name="connsiteX22" fmla="*/ 204788 w 366713"/>
                  <a:gd name="connsiteY22" fmla="*/ 23812 h 296396"/>
                  <a:gd name="connsiteX23" fmla="*/ 150019 w 366713"/>
                  <a:gd name="connsiteY23" fmla="*/ 19050 h 296396"/>
                  <a:gd name="connsiteX24" fmla="*/ 85726 w 366713"/>
                  <a:gd name="connsiteY24" fmla="*/ 0 h 296396"/>
                  <a:gd name="connsiteX25" fmla="*/ 33338 w 366713"/>
                  <a:gd name="connsiteY25" fmla="*/ 9525 h 296396"/>
                  <a:gd name="connsiteX26" fmla="*/ 699 w 366713"/>
                  <a:gd name="connsiteY26" fmla="*/ 51022 h 296396"/>
                  <a:gd name="connsiteX27" fmla="*/ 18034 w 366713"/>
                  <a:gd name="connsiteY27" fmla="*/ 100999 h 296396"/>
                  <a:gd name="connsiteX28" fmla="*/ 76201 w 366713"/>
                  <a:gd name="connsiteY28" fmla="*/ 121444 h 296396"/>
                  <a:gd name="connsiteX29" fmla="*/ 138113 w 366713"/>
                  <a:gd name="connsiteY29" fmla="*/ 121444 h 296396"/>
                  <a:gd name="connsiteX30" fmla="*/ 180976 w 366713"/>
                  <a:gd name="connsiteY30" fmla="*/ 152400 h 296396"/>
                  <a:gd name="connsiteX31" fmla="*/ 239491 w 366713"/>
                  <a:gd name="connsiteY31" fmla="*/ 176561 h 296396"/>
                  <a:gd name="connsiteX32" fmla="*/ 257176 w 366713"/>
                  <a:gd name="connsiteY32" fmla="*/ 176212 h 296396"/>
                  <a:gd name="connsiteX33" fmla="*/ 237109 w 366713"/>
                  <a:gd name="connsiteY33" fmla="*/ 191167 h 296396"/>
                  <a:gd name="connsiteX34" fmla="*/ 226886 w 366713"/>
                  <a:gd name="connsiteY34" fmla="*/ 202725 h 296396"/>
                  <a:gd name="connsiteX35" fmla="*/ 207169 w 366713"/>
                  <a:gd name="connsiteY35" fmla="*/ 171450 h 296396"/>
                  <a:gd name="connsiteX36" fmla="*/ 154782 w 366713"/>
                  <a:gd name="connsiteY36" fmla="*/ 133350 h 296396"/>
                  <a:gd name="connsiteX37" fmla="*/ 104776 w 366713"/>
                  <a:gd name="connsiteY37" fmla="*/ 123825 h 296396"/>
                  <a:gd name="connsiteX38" fmla="*/ 73501 w 366713"/>
                  <a:gd name="connsiteY38" fmla="*/ 140494 h 296396"/>
                  <a:gd name="connsiteX39" fmla="*/ 71438 w 366713"/>
                  <a:gd name="connsiteY39" fmla="*/ 176212 h 296396"/>
                  <a:gd name="connsiteX40" fmla="*/ 16669 w 366713"/>
                  <a:gd name="connsiteY40" fmla="*/ 180975 h 296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66713" h="296396">
                    <a:moveTo>
                      <a:pt x="16669" y="180975"/>
                    </a:moveTo>
                    <a:lnTo>
                      <a:pt x="21432" y="230981"/>
                    </a:lnTo>
                    <a:cubicBezTo>
                      <a:pt x="30957" y="228600"/>
                      <a:pt x="32291" y="220758"/>
                      <a:pt x="50007" y="223837"/>
                    </a:cubicBezTo>
                    <a:cubicBezTo>
                      <a:pt x="69057" y="245268"/>
                      <a:pt x="84011" y="270796"/>
                      <a:pt x="107157" y="288131"/>
                    </a:cubicBezTo>
                    <a:cubicBezTo>
                      <a:pt x="127921" y="295179"/>
                      <a:pt x="125827" y="301879"/>
                      <a:pt x="164656" y="289498"/>
                    </a:cubicBezTo>
                    <a:cubicBezTo>
                      <a:pt x="169418" y="281560"/>
                      <a:pt x="174181" y="276352"/>
                      <a:pt x="176213" y="264319"/>
                    </a:cubicBezTo>
                    <a:lnTo>
                      <a:pt x="173832" y="223837"/>
                    </a:lnTo>
                    <a:lnTo>
                      <a:pt x="202407" y="261937"/>
                    </a:lnTo>
                    <a:lnTo>
                      <a:pt x="240507" y="281686"/>
                    </a:lnTo>
                    <a:lnTo>
                      <a:pt x="269082" y="266700"/>
                    </a:lnTo>
                    <a:lnTo>
                      <a:pt x="290513" y="226219"/>
                    </a:lnTo>
                    <a:cubicBezTo>
                      <a:pt x="307308" y="227139"/>
                      <a:pt x="315913" y="219869"/>
                      <a:pt x="328613" y="216694"/>
                    </a:cubicBezTo>
                    <a:lnTo>
                      <a:pt x="338138" y="176212"/>
                    </a:lnTo>
                    <a:lnTo>
                      <a:pt x="311596" y="128587"/>
                    </a:lnTo>
                    <a:lnTo>
                      <a:pt x="286008" y="113632"/>
                    </a:lnTo>
                    <a:cubicBezTo>
                      <a:pt x="305407" y="115472"/>
                      <a:pt x="327535" y="109122"/>
                      <a:pt x="361950" y="90487"/>
                    </a:cubicBezTo>
                    <a:lnTo>
                      <a:pt x="366713" y="50006"/>
                    </a:lnTo>
                    <a:cubicBezTo>
                      <a:pt x="361507" y="31275"/>
                      <a:pt x="360394" y="24828"/>
                      <a:pt x="342901" y="14287"/>
                    </a:cubicBezTo>
                    <a:cubicBezTo>
                      <a:pt x="333376" y="10191"/>
                      <a:pt x="326581" y="3366"/>
                      <a:pt x="314326" y="14287"/>
                    </a:cubicBezTo>
                    <a:lnTo>
                      <a:pt x="285751" y="16669"/>
                    </a:lnTo>
                    <a:lnTo>
                      <a:pt x="259557" y="7144"/>
                    </a:lnTo>
                    <a:lnTo>
                      <a:pt x="235744" y="19050"/>
                    </a:lnTo>
                    <a:lnTo>
                      <a:pt x="204788" y="23812"/>
                    </a:lnTo>
                    <a:lnTo>
                      <a:pt x="150019" y="19050"/>
                    </a:lnTo>
                    <a:lnTo>
                      <a:pt x="85726" y="0"/>
                    </a:lnTo>
                    <a:cubicBezTo>
                      <a:pt x="68263" y="3175"/>
                      <a:pt x="50801" y="890"/>
                      <a:pt x="33338" y="9525"/>
                    </a:cubicBezTo>
                    <a:cubicBezTo>
                      <a:pt x="12447" y="19717"/>
                      <a:pt x="3250" y="35776"/>
                      <a:pt x="699" y="51022"/>
                    </a:cubicBezTo>
                    <a:cubicBezTo>
                      <a:pt x="-1852" y="66268"/>
                      <a:pt x="2285" y="84173"/>
                      <a:pt x="18034" y="100999"/>
                    </a:cubicBezTo>
                    <a:cubicBezTo>
                      <a:pt x="33783" y="117825"/>
                      <a:pt x="56357" y="118269"/>
                      <a:pt x="76201" y="121444"/>
                    </a:cubicBezTo>
                    <a:lnTo>
                      <a:pt x="138113" y="121444"/>
                    </a:lnTo>
                    <a:lnTo>
                      <a:pt x="180976" y="152400"/>
                    </a:lnTo>
                    <a:cubicBezTo>
                      <a:pt x="200026" y="159544"/>
                      <a:pt x="220441" y="180337"/>
                      <a:pt x="239491" y="176561"/>
                    </a:cubicBezTo>
                    <a:lnTo>
                      <a:pt x="257176" y="176212"/>
                    </a:lnTo>
                    <a:cubicBezTo>
                      <a:pt x="256779" y="178646"/>
                      <a:pt x="242157" y="186748"/>
                      <a:pt x="237109" y="191167"/>
                    </a:cubicBezTo>
                    <a:cubicBezTo>
                      <a:pt x="232061" y="195586"/>
                      <a:pt x="231876" y="206011"/>
                      <a:pt x="226886" y="202725"/>
                    </a:cubicBezTo>
                    <a:lnTo>
                      <a:pt x="207169" y="171450"/>
                    </a:lnTo>
                    <a:lnTo>
                      <a:pt x="154782" y="133350"/>
                    </a:lnTo>
                    <a:lnTo>
                      <a:pt x="104776" y="123825"/>
                    </a:lnTo>
                    <a:cubicBezTo>
                      <a:pt x="90092" y="125016"/>
                      <a:pt x="81470" y="132683"/>
                      <a:pt x="73501" y="140494"/>
                    </a:cubicBezTo>
                    <a:cubicBezTo>
                      <a:pt x="65532" y="148305"/>
                      <a:pt x="69851" y="164306"/>
                      <a:pt x="71438" y="176212"/>
                    </a:cubicBezTo>
                    <a:cubicBezTo>
                      <a:pt x="35436" y="170974"/>
                      <a:pt x="34925" y="173926"/>
                      <a:pt x="16669" y="180975"/>
                    </a:cubicBezTo>
                    <a:close/>
                  </a:path>
                </a:pathLst>
              </a:custGeom>
              <a:solidFill>
                <a:srgbClr val="FFD4B7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 kern="0">
                  <a:solidFill>
                    <a:srgbClr val="FFFFFF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  <p:sp>
            <p:nvSpPr>
              <p:cNvPr id="1122" name="Freeform 18">
                <a:extLst>
                  <a:ext uri="{FF2B5EF4-FFF2-40B4-BE49-F238E27FC236}">
                    <a16:creationId xmlns:a16="http://schemas.microsoft.com/office/drawing/2014/main" xmlns="" id="{50CAD0AA-D0FF-40D1-8CBC-7D40D7F4223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595052" y="3648636"/>
                <a:ext cx="704239" cy="771603"/>
              </a:xfrm>
              <a:custGeom>
                <a:avLst/>
                <a:gdLst>
                  <a:gd name="T0" fmla="*/ 308 w 751"/>
                  <a:gd name="T1" fmla="*/ 263 h 823"/>
                  <a:gd name="T2" fmla="*/ 133 w 751"/>
                  <a:gd name="T3" fmla="*/ 201 h 823"/>
                  <a:gd name="T4" fmla="*/ 133 w 751"/>
                  <a:gd name="T5" fmla="*/ 326 h 823"/>
                  <a:gd name="T6" fmla="*/ 170 w 751"/>
                  <a:gd name="T7" fmla="*/ 450 h 823"/>
                  <a:gd name="T8" fmla="*/ 228 w 751"/>
                  <a:gd name="T9" fmla="*/ 447 h 823"/>
                  <a:gd name="T10" fmla="*/ 446 w 751"/>
                  <a:gd name="T11" fmla="*/ 447 h 823"/>
                  <a:gd name="T12" fmla="*/ 191 w 751"/>
                  <a:gd name="T13" fmla="*/ 383 h 823"/>
                  <a:gd name="T14" fmla="*/ 477 w 751"/>
                  <a:gd name="T15" fmla="*/ 312 h 823"/>
                  <a:gd name="T16" fmla="*/ 359 w 751"/>
                  <a:gd name="T17" fmla="*/ 285 h 823"/>
                  <a:gd name="T18" fmla="*/ 502 w 751"/>
                  <a:gd name="T19" fmla="*/ 268 h 823"/>
                  <a:gd name="T20" fmla="*/ 461 w 751"/>
                  <a:gd name="T21" fmla="*/ 383 h 823"/>
                  <a:gd name="T22" fmla="*/ 425 w 751"/>
                  <a:gd name="T23" fmla="*/ 382 h 823"/>
                  <a:gd name="T24" fmla="*/ 308 w 751"/>
                  <a:gd name="T25" fmla="*/ 451 h 823"/>
                  <a:gd name="T26" fmla="*/ 173 w 751"/>
                  <a:gd name="T27" fmla="*/ 505 h 823"/>
                  <a:gd name="T28" fmla="*/ 223 w 751"/>
                  <a:gd name="T29" fmla="*/ 592 h 823"/>
                  <a:gd name="T30" fmla="*/ 41 w 751"/>
                  <a:gd name="T31" fmla="*/ 509 h 823"/>
                  <a:gd name="T32" fmla="*/ 19 w 751"/>
                  <a:gd name="T33" fmla="*/ 349 h 823"/>
                  <a:gd name="T34" fmla="*/ 16 w 751"/>
                  <a:gd name="T35" fmla="*/ 182 h 823"/>
                  <a:gd name="T36" fmla="*/ 78 w 751"/>
                  <a:gd name="T37" fmla="*/ 54 h 823"/>
                  <a:gd name="T38" fmla="*/ 268 w 751"/>
                  <a:gd name="T39" fmla="*/ 126 h 823"/>
                  <a:gd name="T40" fmla="*/ 417 w 751"/>
                  <a:gd name="T41" fmla="*/ 157 h 823"/>
                  <a:gd name="T42" fmla="*/ 548 w 751"/>
                  <a:gd name="T43" fmla="*/ 107 h 823"/>
                  <a:gd name="T44" fmla="*/ 693 w 751"/>
                  <a:gd name="T45" fmla="*/ 57 h 823"/>
                  <a:gd name="T46" fmla="*/ 709 w 751"/>
                  <a:gd name="T47" fmla="*/ 204 h 823"/>
                  <a:gd name="T48" fmla="*/ 678 w 751"/>
                  <a:gd name="T49" fmla="*/ 375 h 823"/>
                  <a:gd name="T50" fmla="*/ 642 w 751"/>
                  <a:gd name="T51" fmla="*/ 569 h 823"/>
                  <a:gd name="T52" fmla="*/ 500 w 751"/>
                  <a:gd name="T53" fmla="*/ 711 h 823"/>
                  <a:gd name="T54" fmla="*/ 369 w 751"/>
                  <a:gd name="T55" fmla="*/ 823 h 823"/>
                  <a:gd name="T56" fmla="*/ 293 w 751"/>
                  <a:gd name="T57" fmla="*/ 729 h 823"/>
                  <a:gd name="T58" fmla="*/ 349 w 751"/>
                  <a:gd name="T59" fmla="*/ 559 h 823"/>
                  <a:gd name="T60" fmla="*/ 488 w 751"/>
                  <a:gd name="T61" fmla="*/ 599 h 823"/>
                  <a:gd name="T62" fmla="*/ 564 w 751"/>
                  <a:gd name="T63" fmla="*/ 456 h 823"/>
                  <a:gd name="T64" fmla="*/ 594 w 751"/>
                  <a:gd name="T65" fmla="*/ 267 h 823"/>
                  <a:gd name="T66" fmla="*/ 579 w 751"/>
                  <a:gd name="T67" fmla="*/ 241 h 823"/>
                  <a:gd name="T68" fmla="*/ 502 w 751"/>
                  <a:gd name="T69" fmla="*/ 268 h 8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51" h="823">
                    <a:moveTo>
                      <a:pt x="359" y="285"/>
                    </a:moveTo>
                    <a:cubicBezTo>
                      <a:pt x="330" y="282"/>
                      <a:pt x="305" y="271"/>
                      <a:pt x="308" y="263"/>
                    </a:cubicBezTo>
                    <a:cubicBezTo>
                      <a:pt x="295" y="278"/>
                      <a:pt x="210" y="266"/>
                      <a:pt x="209" y="228"/>
                    </a:cubicBezTo>
                    <a:cubicBezTo>
                      <a:pt x="172" y="243"/>
                      <a:pt x="142" y="211"/>
                      <a:pt x="133" y="201"/>
                    </a:cubicBezTo>
                    <a:cubicBezTo>
                      <a:pt x="138" y="223"/>
                      <a:pt x="134" y="245"/>
                      <a:pt x="127" y="247"/>
                    </a:cubicBezTo>
                    <a:cubicBezTo>
                      <a:pt x="146" y="252"/>
                      <a:pt x="145" y="319"/>
                      <a:pt x="133" y="326"/>
                    </a:cubicBezTo>
                    <a:cubicBezTo>
                      <a:pt x="146" y="334"/>
                      <a:pt x="157" y="392"/>
                      <a:pt x="148" y="410"/>
                    </a:cubicBezTo>
                    <a:cubicBezTo>
                      <a:pt x="173" y="422"/>
                      <a:pt x="170" y="450"/>
                      <a:pt x="170" y="450"/>
                    </a:cubicBezTo>
                    <a:cubicBezTo>
                      <a:pt x="192" y="444"/>
                      <a:pt x="212" y="443"/>
                      <a:pt x="229" y="449"/>
                    </a:cubicBezTo>
                    <a:cubicBezTo>
                      <a:pt x="228" y="447"/>
                      <a:pt x="228" y="447"/>
                      <a:pt x="228" y="447"/>
                    </a:cubicBezTo>
                    <a:cubicBezTo>
                      <a:pt x="201" y="348"/>
                      <a:pt x="386" y="396"/>
                      <a:pt x="402" y="507"/>
                    </a:cubicBezTo>
                    <a:cubicBezTo>
                      <a:pt x="382" y="439"/>
                      <a:pt x="449" y="455"/>
                      <a:pt x="446" y="447"/>
                    </a:cubicBezTo>
                    <a:cubicBezTo>
                      <a:pt x="368" y="467"/>
                      <a:pt x="347" y="409"/>
                      <a:pt x="294" y="393"/>
                    </a:cubicBezTo>
                    <a:cubicBezTo>
                      <a:pt x="239" y="375"/>
                      <a:pt x="221" y="397"/>
                      <a:pt x="191" y="383"/>
                    </a:cubicBezTo>
                    <a:cubicBezTo>
                      <a:pt x="119" y="349"/>
                      <a:pt x="156" y="261"/>
                      <a:pt x="220" y="260"/>
                    </a:cubicBezTo>
                    <a:cubicBezTo>
                      <a:pt x="291" y="259"/>
                      <a:pt x="465" y="347"/>
                      <a:pt x="477" y="312"/>
                    </a:cubicBezTo>
                    <a:cubicBezTo>
                      <a:pt x="442" y="331"/>
                      <a:pt x="376" y="293"/>
                      <a:pt x="369" y="290"/>
                    </a:cubicBezTo>
                    <a:cubicBezTo>
                      <a:pt x="359" y="285"/>
                      <a:pt x="359" y="285"/>
                      <a:pt x="359" y="285"/>
                    </a:cubicBezTo>
                    <a:cubicBezTo>
                      <a:pt x="384" y="287"/>
                      <a:pt x="411" y="284"/>
                      <a:pt x="427" y="269"/>
                    </a:cubicBezTo>
                    <a:cubicBezTo>
                      <a:pt x="438" y="287"/>
                      <a:pt x="474" y="280"/>
                      <a:pt x="502" y="268"/>
                    </a:cubicBezTo>
                    <a:cubicBezTo>
                      <a:pt x="504" y="268"/>
                      <a:pt x="504" y="268"/>
                      <a:pt x="504" y="268"/>
                    </a:cubicBezTo>
                    <a:cubicBezTo>
                      <a:pt x="561" y="282"/>
                      <a:pt x="572" y="379"/>
                      <a:pt x="461" y="383"/>
                    </a:cubicBezTo>
                    <a:cubicBezTo>
                      <a:pt x="373" y="386"/>
                      <a:pt x="295" y="310"/>
                      <a:pt x="237" y="323"/>
                    </a:cubicBezTo>
                    <a:cubicBezTo>
                      <a:pt x="302" y="316"/>
                      <a:pt x="359" y="390"/>
                      <a:pt x="425" y="382"/>
                    </a:cubicBezTo>
                    <a:cubicBezTo>
                      <a:pt x="515" y="372"/>
                      <a:pt x="547" y="513"/>
                      <a:pt x="464" y="503"/>
                    </a:cubicBezTo>
                    <a:cubicBezTo>
                      <a:pt x="423" y="609"/>
                      <a:pt x="362" y="539"/>
                      <a:pt x="308" y="451"/>
                    </a:cubicBezTo>
                    <a:cubicBezTo>
                      <a:pt x="410" y="599"/>
                      <a:pt x="256" y="609"/>
                      <a:pt x="230" y="522"/>
                    </a:cubicBezTo>
                    <a:cubicBezTo>
                      <a:pt x="200" y="475"/>
                      <a:pt x="173" y="505"/>
                      <a:pt x="173" y="505"/>
                    </a:cubicBezTo>
                    <a:cubicBezTo>
                      <a:pt x="178" y="521"/>
                      <a:pt x="181" y="526"/>
                      <a:pt x="177" y="535"/>
                    </a:cubicBezTo>
                    <a:cubicBezTo>
                      <a:pt x="186" y="535"/>
                      <a:pt x="243" y="562"/>
                      <a:pt x="223" y="592"/>
                    </a:cubicBezTo>
                    <a:cubicBezTo>
                      <a:pt x="208" y="550"/>
                      <a:pt x="180" y="571"/>
                      <a:pt x="168" y="552"/>
                    </a:cubicBezTo>
                    <a:cubicBezTo>
                      <a:pt x="109" y="608"/>
                      <a:pt x="10" y="560"/>
                      <a:pt x="41" y="509"/>
                    </a:cubicBezTo>
                    <a:cubicBezTo>
                      <a:pt x="4" y="512"/>
                      <a:pt x="11" y="425"/>
                      <a:pt x="24" y="425"/>
                    </a:cubicBezTo>
                    <a:cubicBezTo>
                      <a:pt x="6" y="403"/>
                      <a:pt x="3" y="369"/>
                      <a:pt x="19" y="349"/>
                    </a:cubicBezTo>
                    <a:cubicBezTo>
                      <a:pt x="7" y="325"/>
                      <a:pt x="6" y="286"/>
                      <a:pt x="18" y="272"/>
                    </a:cubicBezTo>
                    <a:cubicBezTo>
                      <a:pt x="0" y="250"/>
                      <a:pt x="8" y="191"/>
                      <a:pt x="16" y="182"/>
                    </a:cubicBezTo>
                    <a:cubicBezTo>
                      <a:pt x="5" y="166"/>
                      <a:pt x="5" y="135"/>
                      <a:pt x="10" y="119"/>
                    </a:cubicBezTo>
                    <a:cubicBezTo>
                      <a:pt x="20" y="89"/>
                      <a:pt x="56" y="63"/>
                      <a:pt x="78" y="54"/>
                    </a:cubicBezTo>
                    <a:cubicBezTo>
                      <a:pt x="117" y="38"/>
                      <a:pt x="184" y="53"/>
                      <a:pt x="188" y="89"/>
                    </a:cubicBezTo>
                    <a:cubicBezTo>
                      <a:pt x="196" y="79"/>
                      <a:pt x="269" y="101"/>
                      <a:pt x="268" y="126"/>
                    </a:cubicBezTo>
                    <a:cubicBezTo>
                      <a:pt x="287" y="107"/>
                      <a:pt x="338" y="128"/>
                      <a:pt x="340" y="148"/>
                    </a:cubicBezTo>
                    <a:cubicBezTo>
                      <a:pt x="368" y="119"/>
                      <a:pt x="415" y="151"/>
                      <a:pt x="417" y="157"/>
                    </a:cubicBezTo>
                    <a:cubicBezTo>
                      <a:pt x="417" y="141"/>
                      <a:pt x="484" y="129"/>
                      <a:pt x="493" y="144"/>
                    </a:cubicBezTo>
                    <a:cubicBezTo>
                      <a:pt x="492" y="126"/>
                      <a:pt x="531" y="101"/>
                      <a:pt x="548" y="107"/>
                    </a:cubicBezTo>
                    <a:cubicBezTo>
                      <a:pt x="544" y="88"/>
                      <a:pt x="608" y="57"/>
                      <a:pt x="610" y="70"/>
                    </a:cubicBezTo>
                    <a:cubicBezTo>
                      <a:pt x="607" y="49"/>
                      <a:pt x="684" y="0"/>
                      <a:pt x="693" y="57"/>
                    </a:cubicBezTo>
                    <a:cubicBezTo>
                      <a:pt x="703" y="56"/>
                      <a:pt x="751" y="81"/>
                      <a:pt x="723" y="133"/>
                    </a:cubicBezTo>
                    <a:cubicBezTo>
                      <a:pt x="734" y="144"/>
                      <a:pt x="724" y="191"/>
                      <a:pt x="709" y="204"/>
                    </a:cubicBezTo>
                    <a:cubicBezTo>
                      <a:pt x="726" y="213"/>
                      <a:pt x="703" y="272"/>
                      <a:pt x="687" y="284"/>
                    </a:cubicBezTo>
                    <a:cubicBezTo>
                      <a:pt x="703" y="294"/>
                      <a:pt x="693" y="365"/>
                      <a:pt x="678" y="375"/>
                    </a:cubicBezTo>
                    <a:cubicBezTo>
                      <a:pt x="700" y="402"/>
                      <a:pt x="687" y="452"/>
                      <a:pt x="666" y="470"/>
                    </a:cubicBezTo>
                    <a:cubicBezTo>
                      <a:pt x="693" y="483"/>
                      <a:pt x="662" y="567"/>
                      <a:pt x="642" y="569"/>
                    </a:cubicBezTo>
                    <a:cubicBezTo>
                      <a:pt x="656" y="602"/>
                      <a:pt x="596" y="658"/>
                      <a:pt x="578" y="646"/>
                    </a:cubicBezTo>
                    <a:cubicBezTo>
                      <a:pt x="582" y="680"/>
                      <a:pt x="516" y="720"/>
                      <a:pt x="500" y="711"/>
                    </a:cubicBezTo>
                    <a:cubicBezTo>
                      <a:pt x="493" y="741"/>
                      <a:pt x="455" y="764"/>
                      <a:pt x="401" y="743"/>
                    </a:cubicBezTo>
                    <a:cubicBezTo>
                      <a:pt x="385" y="755"/>
                      <a:pt x="365" y="802"/>
                      <a:pt x="369" y="823"/>
                    </a:cubicBezTo>
                    <a:cubicBezTo>
                      <a:pt x="351" y="807"/>
                      <a:pt x="349" y="815"/>
                      <a:pt x="337" y="823"/>
                    </a:cubicBezTo>
                    <a:cubicBezTo>
                      <a:pt x="336" y="770"/>
                      <a:pt x="309" y="787"/>
                      <a:pt x="293" y="729"/>
                    </a:cubicBezTo>
                    <a:cubicBezTo>
                      <a:pt x="265" y="695"/>
                      <a:pt x="276" y="642"/>
                      <a:pt x="292" y="627"/>
                    </a:cubicBezTo>
                    <a:cubicBezTo>
                      <a:pt x="279" y="604"/>
                      <a:pt x="323" y="567"/>
                      <a:pt x="349" y="559"/>
                    </a:cubicBezTo>
                    <a:cubicBezTo>
                      <a:pt x="376" y="550"/>
                      <a:pt x="439" y="545"/>
                      <a:pt x="447" y="607"/>
                    </a:cubicBezTo>
                    <a:cubicBezTo>
                      <a:pt x="457" y="603"/>
                      <a:pt x="467" y="594"/>
                      <a:pt x="488" y="599"/>
                    </a:cubicBezTo>
                    <a:cubicBezTo>
                      <a:pt x="482" y="577"/>
                      <a:pt x="508" y="535"/>
                      <a:pt x="536" y="531"/>
                    </a:cubicBezTo>
                    <a:cubicBezTo>
                      <a:pt x="524" y="521"/>
                      <a:pt x="551" y="459"/>
                      <a:pt x="564" y="456"/>
                    </a:cubicBezTo>
                    <a:cubicBezTo>
                      <a:pt x="552" y="447"/>
                      <a:pt x="558" y="376"/>
                      <a:pt x="575" y="363"/>
                    </a:cubicBezTo>
                    <a:cubicBezTo>
                      <a:pt x="566" y="352"/>
                      <a:pt x="572" y="272"/>
                      <a:pt x="594" y="267"/>
                    </a:cubicBezTo>
                    <a:cubicBezTo>
                      <a:pt x="585" y="264"/>
                      <a:pt x="586" y="250"/>
                      <a:pt x="586" y="237"/>
                    </a:cubicBezTo>
                    <a:cubicBezTo>
                      <a:pt x="579" y="241"/>
                      <a:pt x="579" y="241"/>
                      <a:pt x="579" y="241"/>
                    </a:cubicBezTo>
                    <a:cubicBezTo>
                      <a:pt x="565" y="250"/>
                      <a:pt x="554" y="250"/>
                      <a:pt x="534" y="246"/>
                    </a:cubicBezTo>
                    <a:cubicBezTo>
                      <a:pt x="532" y="252"/>
                      <a:pt x="519" y="261"/>
                      <a:pt x="502" y="268"/>
                    </a:cubicBezTo>
                  </a:path>
                </a:pathLst>
              </a:custGeom>
              <a:noFill/>
              <a:ln w="6350" cap="rnd">
                <a:solidFill>
                  <a:srgbClr val="FF6600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219170">
                  <a:defRPr/>
                </a:pPr>
                <a:endParaRPr lang="en-US" sz="2400" kern="0">
                  <a:solidFill>
                    <a:srgbClr val="001965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endParaRPr>
              </a:p>
            </p:txBody>
          </p:sp>
        </p:grpSp>
        <p:cxnSp>
          <p:nvCxnSpPr>
            <p:cNvPr id="1123" name="Straight Connector 1122">
              <a:extLst>
                <a:ext uri="{FF2B5EF4-FFF2-40B4-BE49-F238E27FC236}">
                  <a16:creationId xmlns:a16="http://schemas.microsoft.com/office/drawing/2014/main" xmlns="" id="{BA59D41F-3894-4E9D-8864-E9EA68493FA5}"/>
                </a:ext>
              </a:extLst>
            </p:cNvPr>
            <p:cNvCxnSpPr/>
            <p:nvPr/>
          </p:nvCxnSpPr>
          <p:spPr>
            <a:xfrm>
              <a:off x="10182297" y="3816213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4" name="Straight Connector 1123">
              <a:extLst>
                <a:ext uri="{FF2B5EF4-FFF2-40B4-BE49-F238E27FC236}">
                  <a16:creationId xmlns:a16="http://schemas.microsoft.com/office/drawing/2014/main" xmlns="" id="{CD31FF3E-8CC4-4CD7-ACF5-5DD3AEBAF32B}"/>
                </a:ext>
              </a:extLst>
            </p:cNvPr>
            <p:cNvCxnSpPr/>
            <p:nvPr/>
          </p:nvCxnSpPr>
          <p:spPr>
            <a:xfrm>
              <a:off x="10182297" y="3988345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5" name="Straight Connector 1124">
              <a:extLst>
                <a:ext uri="{FF2B5EF4-FFF2-40B4-BE49-F238E27FC236}">
                  <a16:creationId xmlns:a16="http://schemas.microsoft.com/office/drawing/2014/main" xmlns="" id="{DF9AD23F-D78A-4F82-AFD3-D077B2A631E0}"/>
                </a:ext>
              </a:extLst>
            </p:cNvPr>
            <p:cNvCxnSpPr/>
            <p:nvPr/>
          </p:nvCxnSpPr>
          <p:spPr>
            <a:xfrm>
              <a:off x="10182297" y="4160477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6" name="Straight Connector 1125">
              <a:extLst>
                <a:ext uri="{FF2B5EF4-FFF2-40B4-BE49-F238E27FC236}">
                  <a16:creationId xmlns:a16="http://schemas.microsoft.com/office/drawing/2014/main" xmlns="" id="{6E9B6294-14A6-4980-BB98-C8308FE0F2E1}"/>
                </a:ext>
              </a:extLst>
            </p:cNvPr>
            <p:cNvCxnSpPr/>
            <p:nvPr/>
          </p:nvCxnSpPr>
          <p:spPr>
            <a:xfrm>
              <a:off x="10182297" y="4332609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7" name="Straight Connector 1126">
              <a:extLst>
                <a:ext uri="{FF2B5EF4-FFF2-40B4-BE49-F238E27FC236}">
                  <a16:creationId xmlns:a16="http://schemas.microsoft.com/office/drawing/2014/main" xmlns="" id="{61282240-7642-4643-AFA2-CB06CC8ECF62}"/>
                </a:ext>
              </a:extLst>
            </p:cNvPr>
            <p:cNvCxnSpPr/>
            <p:nvPr/>
          </p:nvCxnSpPr>
          <p:spPr>
            <a:xfrm>
              <a:off x="10182297" y="4669864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8" name="Straight Connector 1127">
              <a:extLst>
                <a:ext uri="{FF2B5EF4-FFF2-40B4-BE49-F238E27FC236}">
                  <a16:creationId xmlns:a16="http://schemas.microsoft.com/office/drawing/2014/main" xmlns="" id="{CEB22440-DC5E-4D2C-9C6B-EB9D1C735077}"/>
                </a:ext>
              </a:extLst>
            </p:cNvPr>
            <p:cNvCxnSpPr/>
            <p:nvPr/>
          </p:nvCxnSpPr>
          <p:spPr>
            <a:xfrm>
              <a:off x="10182297" y="4864709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29" name="Straight Connector 1128">
              <a:extLst>
                <a:ext uri="{FF2B5EF4-FFF2-40B4-BE49-F238E27FC236}">
                  <a16:creationId xmlns:a16="http://schemas.microsoft.com/office/drawing/2014/main" xmlns="" id="{FB376AC6-9CC6-4623-BD65-4EB6A6BC652C}"/>
                </a:ext>
              </a:extLst>
            </p:cNvPr>
            <p:cNvCxnSpPr/>
            <p:nvPr/>
          </p:nvCxnSpPr>
          <p:spPr>
            <a:xfrm>
              <a:off x="10182297" y="5084161"/>
              <a:ext cx="159172" cy="0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1130" name="Arrow: Left 1129">
              <a:extLst>
                <a:ext uri="{FF2B5EF4-FFF2-40B4-BE49-F238E27FC236}">
                  <a16:creationId xmlns:a16="http://schemas.microsoft.com/office/drawing/2014/main" xmlns="" id="{8BC302EB-6A57-481A-97C9-F5FB5DBA27F8}"/>
                </a:ext>
              </a:extLst>
            </p:cNvPr>
            <p:cNvSpPr/>
            <p:nvPr/>
          </p:nvSpPr>
          <p:spPr>
            <a:xfrm>
              <a:off x="10341469" y="3745662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1" name="Arrow: Left 1130">
              <a:extLst>
                <a:ext uri="{FF2B5EF4-FFF2-40B4-BE49-F238E27FC236}">
                  <a16:creationId xmlns:a16="http://schemas.microsoft.com/office/drawing/2014/main" xmlns="" id="{ABC9178A-A047-4E33-9BC3-F90EA655A81A}"/>
                </a:ext>
              </a:extLst>
            </p:cNvPr>
            <p:cNvSpPr/>
            <p:nvPr/>
          </p:nvSpPr>
          <p:spPr>
            <a:xfrm>
              <a:off x="10341469" y="3917692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2" name="Arrow: Left 1131">
              <a:extLst>
                <a:ext uri="{FF2B5EF4-FFF2-40B4-BE49-F238E27FC236}">
                  <a16:creationId xmlns:a16="http://schemas.microsoft.com/office/drawing/2014/main" xmlns="" id="{F7B25FEB-40D6-4D34-8DB2-AEEE52D619C4}"/>
                </a:ext>
              </a:extLst>
            </p:cNvPr>
            <p:cNvSpPr/>
            <p:nvPr/>
          </p:nvSpPr>
          <p:spPr>
            <a:xfrm>
              <a:off x="10341469" y="4089723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3" name="Arrow: Left 1132">
              <a:extLst>
                <a:ext uri="{FF2B5EF4-FFF2-40B4-BE49-F238E27FC236}">
                  <a16:creationId xmlns:a16="http://schemas.microsoft.com/office/drawing/2014/main" xmlns="" id="{B056AB4E-4854-4550-B44C-CDBBEBDDA90B}"/>
                </a:ext>
              </a:extLst>
            </p:cNvPr>
            <p:cNvSpPr/>
            <p:nvPr/>
          </p:nvSpPr>
          <p:spPr>
            <a:xfrm>
              <a:off x="10341469" y="4261754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4" name="Arrow: Left 1133">
              <a:extLst>
                <a:ext uri="{FF2B5EF4-FFF2-40B4-BE49-F238E27FC236}">
                  <a16:creationId xmlns:a16="http://schemas.microsoft.com/office/drawing/2014/main" xmlns="" id="{E5F55271-51E6-4A16-BF77-A3CEEF20DEBF}"/>
                </a:ext>
              </a:extLst>
            </p:cNvPr>
            <p:cNvSpPr/>
            <p:nvPr/>
          </p:nvSpPr>
          <p:spPr>
            <a:xfrm>
              <a:off x="10341469" y="4607144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5" name="Arrow: Left 1134">
              <a:extLst>
                <a:ext uri="{FF2B5EF4-FFF2-40B4-BE49-F238E27FC236}">
                  <a16:creationId xmlns:a16="http://schemas.microsoft.com/office/drawing/2014/main" xmlns="" id="{FAB380BD-2D08-4583-A7D2-7C4BD2D61FB8}"/>
                </a:ext>
              </a:extLst>
            </p:cNvPr>
            <p:cNvSpPr/>
            <p:nvPr/>
          </p:nvSpPr>
          <p:spPr>
            <a:xfrm>
              <a:off x="10341469" y="4808980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6" name="Arrow: Left 1135">
              <a:extLst>
                <a:ext uri="{FF2B5EF4-FFF2-40B4-BE49-F238E27FC236}">
                  <a16:creationId xmlns:a16="http://schemas.microsoft.com/office/drawing/2014/main" xmlns="" id="{DF2FF612-325C-4F53-967C-12E0825F3E2D}"/>
                </a:ext>
              </a:extLst>
            </p:cNvPr>
            <p:cNvSpPr/>
            <p:nvPr/>
          </p:nvSpPr>
          <p:spPr>
            <a:xfrm>
              <a:off x="10341469" y="5012722"/>
              <a:ext cx="171345" cy="128957"/>
            </a:xfrm>
            <a:prstGeom prst="leftArrow">
              <a:avLst/>
            </a:prstGeom>
            <a:solidFill>
              <a:srgbClr val="C59C6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FFFFFF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xmlns="" id="{33162406-126E-45C6-B532-702297D9B7D3}"/>
                </a:ext>
              </a:extLst>
            </p:cNvPr>
            <p:cNvSpPr/>
            <p:nvPr/>
          </p:nvSpPr>
          <p:spPr>
            <a:xfrm flipV="1">
              <a:off x="8835140" y="3758710"/>
              <a:ext cx="568395" cy="60959"/>
            </a:xfrm>
            <a:custGeom>
              <a:avLst/>
              <a:gdLst>
                <a:gd name="connsiteX0" fmla="*/ 508000 w 508000"/>
                <a:gd name="connsiteY0" fmla="*/ 0 h 0"/>
                <a:gd name="connsiteX1" fmla="*/ 0 w 508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8000">
                  <a:moveTo>
                    <a:pt x="508000" y="0"/>
                  </a:move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xmlns="" id="{E5578EEA-9534-4A15-9A60-EE20DF40B43A}"/>
                </a:ext>
              </a:extLst>
            </p:cNvPr>
            <p:cNvSpPr/>
            <p:nvPr/>
          </p:nvSpPr>
          <p:spPr>
            <a:xfrm>
              <a:off x="8846993" y="3980535"/>
              <a:ext cx="338667" cy="0"/>
            </a:xfrm>
            <a:custGeom>
              <a:avLst/>
              <a:gdLst>
                <a:gd name="connsiteX0" fmla="*/ 254000 w 254000"/>
                <a:gd name="connsiteY0" fmla="*/ 0 h 0"/>
                <a:gd name="connsiteX1" fmla="*/ 0 w 254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00">
                  <a:moveTo>
                    <a:pt x="254000" y="0"/>
                  </a:move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xmlns="" id="{623E8843-F341-4C9C-B71D-0AE3DC45D679}"/>
                </a:ext>
              </a:extLst>
            </p:cNvPr>
            <p:cNvSpPr/>
            <p:nvPr/>
          </p:nvSpPr>
          <p:spPr>
            <a:xfrm>
              <a:off x="9007860" y="4234535"/>
              <a:ext cx="626533" cy="110067"/>
            </a:xfrm>
            <a:custGeom>
              <a:avLst/>
              <a:gdLst>
                <a:gd name="connsiteX0" fmla="*/ 469900 w 469900"/>
                <a:gd name="connsiteY0" fmla="*/ 82550 h 82550"/>
                <a:gd name="connsiteX1" fmla="*/ 0 w 469900"/>
                <a:gd name="connsiteY1" fmla="*/ 82550 h 82550"/>
                <a:gd name="connsiteX2" fmla="*/ 0 w 469900"/>
                <a:gd name="connsiteY2" fmla="*/ 0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9900" h="82550">
                  <a:moveTo>
                    <a:pt x="469900" y="82550"/>
                  </a:moveTo>
                  <a:lnTo>
                    <a:pt x="0" y="8255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oval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xmlns="" id="{ED2FA7B9-BDA0-43C7-A286-8ED0456B0149}"/>
                </a:ext>
              </a:extLst>
            </p:cNvPr>
            <p:cNvSpPr/>
            <p:nvPr/>
          </p:nvSpPr>
          <p:spPr>
            <a:xfrm>
              <a:off x="9160260" y="4183735"/>
              <a:ext cx="389467" cy="0"/>
            </a:xfrm>
            <a:custGeom>
              <a:avLst/>
              <a:gdLst>
                <a:gd name="connsiteX0" fmla="*/ 292100 w 292100"/>
                <a:gd name="connsiteY0" fmla="*/ 0 h 0"/>
                <a:gd name="connsiteX1" fmla="*/ 0 w 2921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100">
                  <a:moveTo>
                    <a:pt x="292100" y="0"/>
                  </a:move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1" name="Arrow: Bent 1140">
              <a:extLst>
                <a:ext uri="{FF2B5EF4-FFF2-40B4-BE49-F238E27FC236}">
                  <a16:creationId xmlns:a16="http://schemas.microsoft.com/office/drawing/2014/main" xmlns="" id="{323E6129-1300-480A-A028-1824FE7F11B4}"/>
                </a:ext>
              </a:extLst>
            </p:cNvPr>
            <p:cNvSpPr/>
            <p:nvPr/>
          </p:nvSpPr>
          <p:spPr>
            <a:xfrm rot="10800000">
              <a:off x="9635109" y="3709173"/>
              <a:ext cx="788327" cy="1769063"/>
            </a:xfrm>
            <a:prstGeom prst="bentArrow">
              <a:avLst>
                <a:gd name="adj1" fmla="val 11346"/>
                <a:gd name="adj2" fmla="val 13052"/>
                <a:gd name="adj3" fmla="val 19311"/>
                <a:gd name="adj4" fmla="val 25544"/>
              </a:avLst>
            </a:prstGeom>
            <a:solidFill>
              <a:srgbClr val="00142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2" name="TextBox 1141">
              <a:extLst>
                <a:ext uri="{FF2B5EF4-FFF2-40B4-BE49-F238E27FC236}">
                  <a16:creationId xmlns:a16="http://schemas.microsoft.com/office/drawing/2014/main" xmlns="" id="{87C9A32E-9ED6-46EE-BF5D-BAE277991D5F}"/>
                </a:ext>
              </a:extLst>
            </p:cNvPr>
            <p:cNvSpPr txBox="1"/>
            <p:nvPr/>
          </p:nvSpPr>
          <p:spPr>
            <a:xfrm>
              <a:off x="5440440" y="4669864"/>
              <a:ext cx="1117653" cy="584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Insulin</a:t>
              </a:r>
              <a:b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P</a:t>
              </a:r>
              <a:b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Amylin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3" name="TextBox 1142">
              <a:extLst>
                <a:ext uri="{FF2B5EF4-FFF2-40B4-BE49-F238E27FC236}">
                  <a16:creationId xmlns:a16="http://schemas.microsoft.com/office/drawing/2014/main" xmlns="" id="{4523E720-F4FB-4801-AFA3-37933FF52A2B}"/>
                </a:ext>
              </a:extLst>
            </p:cNvPr>
            <p:cNvSpPr txBox="1"/>
            <p:nvPr/>
          </p:nvSpPr>
          <p:spPr>
            <a:xfrm>
              <a:off x="4404492" y="4696650"/>
              <a:ext cx="1117653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Leptin</a:t>
              </a:r>
              <a:b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</a:br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Adiponectin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4" name="TextBox 1143">
              <a:extLst>
                <a:ext uri="{FF2B5EF4-FFF2-40B4-BE49-F238E27FC236}">
                  <a16:creationId xmlns:a16="http://schemas.microsoft.com/office/drawing/2014/main" xmlns="" id="{E03236AA-6399-4CB4-84DE-27509723192B}"/>
                </a:ext>
              </a:extLst>
            </p:cNvPr>
            <p:cNvSpPr txBox="1"/>
            <p:nvPr/>
          </p:nvSpPr>
          <p:spPr>
            <a:xfrm>
              <a:off x="9513390" y="3495489"/>
              <a:ext cx="69118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Taste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145" name="Straight Connector 1144">
              <a:extLst>
                <a:ext uri="{FF2B5EF4-FFF2-40B4-BE49-F238E27FC236}">
                  <a16:creationId xmlns:a16="http://schemas.microsoft.com/office/drawing/2014/main" xmlns="" id="{86B3B473-5C2C-407E-8088-4C2F7A818CB7}"/>
                </a:ext>
              </a:extLst>
            </p:cNvPr>
            <p:cNvCxnSpPr>
              <a:cxnSpLocks/>
            </p:cNvCxnSpPr>
            <p:nvPr/>
          </p:nvCxnSpPr>
          <p:spPr>
            <a:xfrm>
              <a:off x="7387332" y="4253502"/>
              <a:ext cx="0" cy="630765"/>
            </a:xfrm>
            <a:prstGeom prst="line">
              <a:avLst/>
            </a:pr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46" name="Straight Connector 1145">
              <a:extLst>
                <a:ext uri="{FF2B5EF4-FFF2-40B4-BE49-F238E27FC236}">
                  <a16:creationId xmlns:a16="http://schemas.microsoft.com/office/drawing/2014/main" xmlns="" id="{860A18D0-FD8D-4058-9AB0-B649F61CC7C7}"/>
                </a:ext>
              </a:extLst>
            </p:cNvPr>
            <p:cNvCxnSpPr>
              <a:cxnSpLocks/>
            </p:cNvCxnSpPr>
            <p:nvPr/>
          </p:nvCxnSpPr>
          <p:spPr>
            <a:xfrm>
              <a:off x="8840408" y="4253502"/>
              <a:ext cx="0" cy="630765"/>
            </a:xfrm>
            <a:prstGeom prst="line">
              <a:avLst/>
            </a:pr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1147" name="TextBox 1146">
              <a:extLst>
                <a:ext uri="{FF2B5EF4-FFF2-40B4-BE49-F238E27FC236}">
                  <a16:creationId xmlns:a16="http://schemas.microsoft.com/office/drawing/2014/main" xmlns="" id="{DC81B63A-3B8E-4B5B-B57B-C707F02961FB}"/>
                </a:ext>
              </a:extLst>
            </p:cNvPr>
            <p:cNvSpPr txBox="1"/>
            <p:nvPr/>
          </p:nvSpPr>
          <p:spPr>
            <a:xfrm>
              <a:off x="9086926" y="3670163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Ghrelin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8" name="TextBox 1147">
              <a:extLst>
                <a:ext uri="{FF2B5EF4-FFF2-40B4-BE49-F238E27FC236}">
                  <a16:creationId xmlns:a16="http://schemas.microsoft.com/office/drawing/2014/main" xmlns="" id="{3DDE956C-FE1C-47C5-8095-6A56F54CF90C}"/>
                </a:ext>
              </a:extLst>
            </p:cNvPr>
            <p:cNvSpPr txBox="1"/>
            <p:nvPr/>
          </p:nvSpPr>
          <p:spPr>
            <a:xfrm>
              <a:off x="9086926" y="3844836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Stretching</a:t>
              </a:r>
              <a:endParaRPr lang="en-US" sz="1067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49" name="TextBox 1148">
              <a:extLst>
                <a:ext uri="{FF2B5EF4-FFF2-40B4-BE49-F238E27FC236}">
                  <a16:creationId xmlns:a16="http://schemas.microsoft.com/office/drawing/2014/main" xmlns="" id="{12C51BAC-FD76-4D87-9B70-7AEB891FBE0D}"/>
                </a:ext>
              </a:extLst>
            </p:cNvPr>
            <p:cNvSpPr txBox="1"/>
            <p:nvPr/>
          </p:nvSpPr>
          <p:spPr>
            <a:xfrm>
              <a:off x="9086926" y="4019510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Leptin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0" name="TextBox 1149">
              <a:extLst>
                <a:ext uri="{FF2B5EF4-FFF2-40B4-BE49-F238E27FC236}">
                  <a16:creationId xmlns:a16="http://schemas.microsoft.com/office/drawing/2014/main" xmlns="" id="{16C492C9-C1A4-4AAC-9A11-A3F14C4600BF}"/>
                </a:ext>
              </a:extLst>
            </p:cNvPr>
            <p:cNvSpPr txBox="1"/>
            <p:nvPr/>
          </p:nvSpPr>
          <p:spPr>
            <a:xfrm>
              <a:off x="9086926" y="4194185"/>
              <a:ext cx="1117653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CCK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1" name="TextBox 1150">
              <a:extLst>
                <a:ext uri="{FF2B5EF4-FFF2-40B4-BE49-F238E27FC236}">
                  <a16:creationId xmlns:a16="http://schemas.microsoft.com/office/drawing/2014/main" xmlns="" id="{FF852516-96F8-475F-A3F2-B500AB7E3AAB}"/>
                </a:ext>
              </a:extLst>
            </p:cNvPr>
            <p:cNvSpPr txBox="1"/>
            <p:nvPr/>
          </p:nvSpPr>
          <p:spPr>
            <a:xfrm>
              <a:off x="9500058" y="4536105"/>
              <a:ext cx="704521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PYY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2" name="TextBox 1151">
              <a:extLst>
                <a:ext uri="{FF2B5EF4-FFF2-40B4-BE49-F238E27FC236}">
                  <a16:creationId xmlns:a16="http://schemas.microsoft.com/office/drawing/2014/main" xmlns="" id="{5CF30DBB-3508-45A7-8711-709D25AB1196}"/>
                </a:ext>
              </a:extLst>
            </p:cNvPr>
            <p:cNvSpPr txBox="1"/>
            <p:nvPr/>
          </p:nvSpPr>
          <p:spPr>
            <a:xfrm>
              <a:off x="9500058" y="4727497"/>
              <a:ext cx="704521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OXM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3" name="TextBox 1152">
              <a:extLst>
                <a:ext uri="{FF2B5EF4-FFF2-40B4-BE49-F238E27FC236}">
                  <a16:creationId xmlns:a16="http://schemas.microsoft.com/office/drawing/2014/main" xmlns="" id="{FAD16FD7-FBE5-45E3-8077-BBE44B2957D3}"/>
                </a:ext>
              </a:extLst>
            </p:cNvPr>
            <p:cNvSpPr txBox="1"/>
            <p:nvPr/>
          </p:nvSpPr>
          <p:spPr>
            <a:xfrm>
              <a:off x="9500058" y="4939479"/>
              <a:ext cx="704521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CA" sz="1067" dirty="0">
                  <a:solidFill>
                    <a:srgbClr val="001423"/>
                  </a:solidFill>
                  <a:latin typeface="Apis For Office" panose="020B0504010101010104" pitchFamily="34" charset="0"/>
                  <a:ea typeface="Apis For Office" panose="020B0504010101010104" pitchFamily="34" charset="0"/>
                  <a:cs typeface="Apis For Office" panose="020B0504010101010104" pitchFamily="34" charset="0"/>
                </a:rPr>
                <a:t>GLP-1</a:t>
              </a:r>
              <a:endParaRPr lang="en-US" sz="1067" dirty="0">
                <a:solidFill>
                  <a:srgbClr val="001423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154" name="Straight Connector 1153">
              <a:extLst>
                <a:ext uri="{FF2B5EF4-FFF2-40B4-BE49-F238E27FC236}">
                  <a16:creationId xmlns:a16="http://schemas.microsoft.com/office/drawing/2014/main" xmlns="" id="{1B13A66E-CBBC-4CB9-908D-5BA804DD74F1}"/>
                </a:ext>
              </a:extLst>
            </p:cNvPr>
            <p:cNvCxnSpPr>
              <a:cxnSpLocks/>
            </p:cNvCxnSpPr>
            <p:nvPr/>
          </p:nvCxnSpPr>
          <p:spPr>
            <a:xfrm>
              <a:off x="5679648" y="5144076"/>
              <a:ext cx="0" cy="159059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55" name="Straight Connector 1154">
              <a:extLst>
                <a:ext uri="{FF2B5EF4-FFF2-40B4-BE49-F238E27FC236}">
                  <a16:creationId xmlns:a16="http://schemas.microsoft.com/office/drawing/2014/main" xmlns="" id="{4ACCD8E0-5B7B-4879-9A30-D79B493F2BC5}"/>
                </a:ext>
              </a:extLst>
            </p:cNvPr>
            <p:cNvCxnSpPr>
              <a:cxnSpLocks/>
            </p:cNvCxnSpPr>
            <p:nvPr/>
          </p:nvCxnSpPr>
          <p:spPr>
            <a:xfrm>
              <a:off x="4669759" y="5145003"/>
              <a:ext cx="0" cy="159059"/>
            </a:xfrm>
            <a:prstGeom prst="line">
              <a:avLst/>
            </a:prstGeom>
            <a:noFill/>
            <a:ln w="15875" cap="flat" cmpd="sng" algn="ctr">
              <a:solidFill>
                <a:srgbClr val="00142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xmlns="" id="{F63B0AFF-73BC-4BB5-9ABA-CE2B73CABA72}"/>
                </a:ext>
              </a:extLst>
            </p:cNvPr>
            <p:cNvSpPr/>
            <p:nvPr/>
          </p:nvSpPr>
          <p:spPr>
            <a:xfrm>
              <a:off x="8842760" y="3637635"/>
              <a:ext cx="685800" cy="533400"/>
            </a:xfrm>
            <a:custGeom>
              <a:avLst/>
              <a:gdLst>
                <a:gd name="connsiteX0" fmla="*/ 514350 w 514350"/>
                <a:gd name="connsiteY0" fmla="*/ 0 h 400050"/>
                <a:gd name="connsiteX1" fmla="*/ 0 w 514350"/>
                <a:gd name="connsiteY1" fmla="*/ 0 h 400050"/>
                <a:gd name="connsiteX2" fmla="*/ 0 w 514350"/>
                <a:gd name="connsiteY2" fmla="*/ 4000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350" h="400050">
                  <a:moveTo>
                    <a:pt x="514350" y="0"/>
                  </a:moveTo>
                  <a:lnTo>
                    <a:pt x="0" y="0"/>
                  </a:lnTo>
                  <a:lnTo>
                    <a:pt x="0" y="40005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oval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xmlns="" id="{30BAE68A-42BA-4309-B13F-44102FF719B0}"/>
                </a:ext>
              </a:extLst>
            </p:cNvPr>
            <p:cNvSpPr/>
            <p:nvPr/>
          </p:nvSpPr>
          <p:spPr>
            <a:xfrm>
              <a:off x="8999394" y="4243002"/>
              <a:ext cx="651933" cy="448733"/>
            </a:xfrm>
            <a:custGeom>
              <a:avLst/>
              <a:gdLst>
                <a:gd name="connsiteX0" fmla="*/ 488950 w 488950"/>
                <a:gd name="connsiteY0" fmla="*/ 336550 h 336550"/>
                <a:gd name="connsiteX1" fmla="*/ 0 w 488950"/>
                <a:gd name="connsiteY1" fmla="*/ 336550 h 336550"/>
                <a:gd name="connsiteX2" fmla="*/ 0 w 488950"/>
                <a:gd name="connsiteY2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950" h="336550">
                  <a:moveTo>
                    <a:pt x="488950" y="336550"/>
                  </a:moveTo>
                  <a:lnTo>
                    <a:pt x="0" y="33655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xmlns="" id="{BD520771-81C5-4DEB-81E2-2E5525F29906}"/>
                </a:ext>
              </a:extLst>
            </p:cNvPr>
            <p:cNvSpPr/>
            <p:nvPr/>
          </p:nvSpPr>
          <p:spPr>
            <a:xfrm>
              <a:off x="9202594" y="4691735"/>
              <a:ext cx="448733" cy="194733"/>
            </a:xfrm>
            <a:custGeom>
              <a:avLst/>
              <a:gdLst>
                <a:gd name="connsiteX0" fmla="*/ 336550 w 336550"/>
                <a:gd name="connsiteY0" fmla="*/ 146050 h 146050"/>
                <a:gd name="connsiteX1" fmla="*/ 0 w 336550"/>
                <a:gd name="connsiteY1" fmla="*/ 146050 h 146050"/>
                <a:gd name="connsiteX2" fmla="*/ 0 w 336550"/>
                <a:gd name="connsiteY2" fmla="*/ 0 h 146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550" h="146050">
                  <a:moveTo>
                    <a:pt x="336550" y="146050"/>
                  </a:moveTo>
                  <a:lnTo>
                    <a:pt x="0" y="14605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xmlns="" id="{E3871E47-660D-467D-9F76-DEF2C3DB4C25}"/>
                </a:ext>
              </a:extLst>
            </p:cNvPr>
            <p:cNvSpPr/>
            <p:nvPr/>
          </p:nvSpPr>
          <p:spPr>
            <a:xfrm>
              <a:off x="9304193" y="4903401"/>
              <a:ext cx="228600" cy="186267"/>
            </a:xfrm>
            <a:custGeom>
              <a:avLst/>
              <a:gdLst>
                <a:gd name="connsiteX0" fmla="*/ 171450 w 171450"/>
                <a:gd name="connsiteY0" fmla="*/ 139700 h 139700"/>
                <a:gd name="connsiteX1" fmla="*/ 0 w 171450"/>
                <a:gd name="connsiteY1" fmla="*/ 139700 h 139700"/>
                <a:gd name="connsiteX2" fmla="*/ 0 w 171450"/>
                <a:gd name="connsiteY2" fmla="*/ 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139700">
                  <a:moveTo>
                    <a:pt x="171450" y="139700"/>
                  </a:moveTo>
                  <a:lnTo>
                    <a:pt x="0" y="13970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 algn="ctr">
              <a:solidFill>
                <a:srgbClr val="312288"/>
              </a:solidFill>
              <a:prstDash val="solid"/>
              <a:headEnd type="oval"/>
              <a:tailEnd type="none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>
                <a:defRPr/>
              </a:pPr>
              <a:endParaRPr lang="en-US" sz="2400" kern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endParaRPr>
            </a:p>
          </p:txBody>
        </p:sp>
        <p:cxnSp>
          <p:nvCxnSpPr>
            <p:cNvPr id="1160" name="Connector: Elbow 1159">
              <a:extLst>
                <a:ext uri="{FF2B5EF4-FFF2-40B4-BE49-F238E27FC236}">
                  <a16:creationId xmlns:a16="http://schemas.microsoft.com/office/drawing/2014/main" xmlns="" id="{94670409-DAD1-40EB-BEB9-37A643D65A4B}"/>
                </a:ext>
              </a:extLst>
            </p:cNvPr>
            <p:cNvCxnSpPr>
              <a:cxnSpLocks/>
              <a:endCxn id="994" idx="2"/>
            </p:cNvCxnSpPr>
            <p:nvPr/>
          </p:nvCxnSpPr>
          <p:spPr>
            <a:xfrm flipV="1">
              <a:off x="1450023" y="3061975"/>
              <a:ext cx="1408483" cy="1310334"/>
            </a:xfrm>
            <a:prstGeom prst="bentConnector2">
              <a:avLst/>
            </a:prstGeom>
            <a:noFill/>
            <a:ln w="19050" cap="flat" cmpd="sng" algn="ctr">
              <a:solidFill>
                <a:srgbClr val="E64A0E">
                  <a:lumMod val="50000"/>
                </a:srgbClr>
              </a:solidFill>
              <a:prstDash val="solid"/>
              <a:headEnd type="oval"/>
              <a:tailEnd type="oval"/>
            </a:ln>
            <a:effectLst/>
          </p:spPr>
        </p:cxnSp>
      </p:grpSp>
      <p:sp>
        <p:nvSpPr>
          <p:cNvPr id="353" name="Rettangolo 352">
            <a:extLst>
              <a:ext uri="{FF2B5EF4-FFF2-40B4-BE49-F238E27FC236}">
                <a16:creationId xmlns:a16="http://schemas.microsoft.com/office/drawing/2014/main" xmlns="" id="{42E41B34-6859-4AD8-A641-A4037C084626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eilade S et al. Diabetes Obes Metab 2021;Suppl 1:17–35</a:t>
            </a:r>
          </a:p>
        </p:txBody>
      </p:sp>
      <p:sp>
        <p:nvSpPr>
          <p:cNvPr id="354" name="Slide Number Placeholder 1">
            <a:extLst>
              <a:ext uri="{FF2B5EF4-FFF2-40B4-BE49-F238E27FC236}">
                <a16:creationId xmlns:a16="http://schemas.microsoft.com/office/drawing/2014/main" xmlns="" id="{E35DC0D0-6B2B-40D7-B5BB-CEC37CA4E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76343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4">
            <a:extLst>
              <a:ext uri="{FF2B5EF4-FFF2-40B4-BE49-F238E27FC236}">
                <a16:creationId xmlns:a16="http://schemas.microsoft.com/office/drawing/2014/main" xmlns="" id="{7B5BC5CE-94B2-4755-9C7E-209F92F05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GB" dirty="0"/>
              <a:t>Different biological changes induced by weight loss with diet vs bariatric/metabolic surgery</a:t>
            </a:r>
            <a:endParaRPr lang="en-CA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xmlns="" id="{13BB5781-8015-4A3D-983D-161786ACF2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353" t="23623" r="22554" b="7391"/>
          <a:stretch/>
        </p:blipFill>
        <p:spPr>
          <a:xfrm>
            <a:off x="336273" y="1630014"/>
            <a:ext cx="6150967" cy="4581941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43DD9D84-9402-4FF4-8D7D-DC39620B66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859" t="22464" r="28424" b="22753"/>
          <a:stretch/>
        </p:blipFill>
        <p:spPr>
          <a:xfrm>
            <a:off x="6640994" y="1963493"/>
            <a:ext cx="5427115" cy="3914981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xmlns="" id="{7F845717-3ACB-4E8B-A62D-C28D8AA6D572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ucci A &amp; Batterham RL. J Endocrinol Invest. 2019;42(2):117-128</a:t>
            </a:r>
            <a:endParaRPr lang="pt-B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xmlns="" id="{B6DD24C7-D2AD-42DD-BF6B-B3981C09E244}"/>
              </a:ext>
            </a:extLst>
          </p:cNvPr>
          <p:cNvSpPr txBox="1">
            <a:spLocks/>
          </p:cNvSpPr>
          <p:nvPr/>
        </p:nvSpPr>
        <p:spPr>
          <a:xfrm>
            <a:off x="648000" y="6210000"/>
            <a:ext cx="10899337" cy="32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 i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RYGB Roux-en-Y gastric bypass; SG Sleeve gastrectomy; GLP-1 glucagon-like peptide 1; PYY3-36 peptide tyrosine–tyrosine 3-36; GIP gastric inhibitory polypeptide; FGF-19 fibroblast growth factor-19; CCK cholecystokinin</a:t>
            </a:r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xmlns="" id="{7F862647-450B-4150-82B6-8F10FA6343FD}"/>
              </a:ext>
            </a:extLst>
          </p:cNvPr>
          <p:cNvSpPr/>
          <p:nvPr/>
        </p:nvSpPr>
        <p:spPr>
          <a:xfrm>
            <a:off x="2802835" y="2067338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xmlns="" id="{4229BFDB-2489-4510-BDE8-A2798D031C1C}"/>
              </a:ext>
            </a:extLst>
          </p:cNvPr>
          <p:cNvSpPr/>
          <p:nvPr/>
        </p:nvSpPr>
        <p:spPr>
          <a:xfrm>
            <a:off x="2802834" y="1831428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xmlns="" id="{D712A299-CBD1-4121-861D-EDA64B23671A}"/>
              </a:ext>
            </a:extLst>
          </p:cNvPr>
          <p:cNvSpPr/>
          <p:nvPr/>
        </p:nvSpPr>
        <p:spPr>
          <a:xfrm>
            <a:off x="2812773" y="4494174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xmlns="" id="{2A559499-E7CB-4E2D-86D6-6BA46D7890DD}"/>
              </a:ext>
            </a:extLst>
          </p:cNvPr>
          <p:cNvSpPr/>
          <p:nvPr/>
        </p:nvSpPr>
        <p:spPr>
          <a:xfrm>
            <a:off x="2812772" y="4781373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xmlns="" id="{FF2A12B0-334A-4763-B4AB-FBC7ACB09E7E}"/>
              </a:ext>
            </a:extLst>
          </p:cNvPr>
          <p:cNvSpPr/>
          <p:nvPr/>
        </p:nvSpPr>
        <p:spPr>
          <a:xfrm>
            <a:off x="2557669" y="5331310"/>
            <a:ext cx="1099932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xmlns="" id="{223D2BEE-DCD0-4590-8369-8E6808E3B1DA}"/>
              </a:ext>
            </a:extLst>
          </p:cNvPr>
          <p:cNvSpPr/>
          <p:nvPr/>
        </p:nvSpPr>
        <p:spPr>
          <a:xfrm>
            <a:off x="2556011" y="5614040"/>
            <a:ext cx="1099932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Ovale 56">
            <a:extLst>
              <a:ext uri="{FF2B5EF4-FFF2-40B4-BE49-F238E27FC236}">
                <a16:creationId xmlns:a16="http://schemas.microsoft.com/office/drawing/2014/main" xmlns="" id="{CB9C6BDF-2E94-4249-9DAD-A61424E55517}"/>
              </a:ext>
            </a:extLst>
          </p:cNvPr>
          <p:cNvSpPr/>
          <p:nvPr/>
        </p:nvSpPr>
        <p:spPr>
          <a:xfrm>
            <a:off x="2565949" y="2608551"/>
            <a:ext cx="1099932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Ovale 57">
            <a:extLst>
              <a:ext uri="{FF2B5EF4-FFF2-40B4-BE49-F238E27FC236}">
                <a16:creationId xmlns:a16="http://schemas.microsoft.com/office/drawing/2014/main" xmlns="" id="{D415AB2A-C517-4B84-B571-26A91643B855}"/>
              </a:ext>
            </a:extLst>
          </p:cNvPr>
          <p:cNvSpPr/>
          <p:nvPr/>
        </p:nvSpPr>
        <p:spPr>
          <a:xfrm>
            <a:off x="2565949" y="2870317"/>
            <a:ext cx="1099932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Ovale 58">
            <a:extLst>
              <a:ext uri="{FF2B5EF4-FFF2-40B4-BE49-F238E27FC236}">
                <a16:creationId xmlns:a16="http://schemas.microsoft.com/office/drawing/2014/main" xmlns="" id="{74F69C78-777F-47EC-B2D6-43D65191A68D}"/>
              </a:ext>
            </a:extLst>
          </p:cNvPr>
          <p:cNvSpPr/>
          <p:nvPr/>
        </p:nvSpPr>
        <p:spPr>
          <a:xfrm>
            <a:off x="9167192" y="2983514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Ovale 59">
            <a:extLst>
              <a:ext uri="{FF2B5EF4-FFF2-40B4-BE49-F238E27FC236}">
                <a16:creationId xmlns:a16="http://schemas.microsoft.com/office/drawing/2014/main" xmlns="" id="{A61C1899-A188-4564-A6EA-36CB683BB380}"/>
              </a:ext>
            </a:extLst>
          </p:cNvPr>
          <p:cNvSpPr/>
          <p:nvPr/>
        </p:nvSpPr>
        <p:spPr>
          <a:xfrm>
            <a:off x="9167192" y="3926597"/>
            <a:ext cx="606287" cy="22639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xmlns="" id="{5A751666-0855-483F-8076-C5D293EA8190}"/>
              </a:ext>
            </a:extLst>
          </p:cNvPr>
          <p:cNvSpPr txBox="1">
            <a:spLocks/>
          </p:cNvSpPr>
          <p:nvPr/>
        </p:nvSpPr>
        <p:spPr>
          <a:xfrm>
            <a:off x="6700628" y="5887926"/>
            <a:ext cx="5427116" cy="32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00" i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For every mechanism the effect of the procedure is represented with a </a:t>
            </a:r>
            <a:r>
              <a:rPr lang="en-GB" sz="800" b="1" dirty="0">
                <a:solidFill>
                  <a:schemeClr val="tx2"/>
                </a:solidFill>
                <a:cs typeface="Arial" panose="020B0604020202020204" pitchFamily="34" charset="0"/>
              </a:rPr>
              <a:t>“↑”</a:t>
            </a:r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 when stimulating or </a:t>
            </a:r>
            <a:r>
              <a:rPr lang="en-GB" sz="800" b="1" dirty="0">
                <a:solidFill>
                  <a:schemeClr val="tx2"/>
                </a:solidFill>
                <a:cs typeface="Arial" panose="020B0604020202020204" pitchFamily="34" charset="0"/>
              </a:rPr>
              <a:t>“↓” </a:t>
            </a:r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when suppressing. </a:t>
            </a:r>
          </a:p>
          <a:p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A </a:t>
            </a:r>
            <a:r>
              <a:rPr lang="en-GB" sz="800" b="1" dirty="0">
                <a:solidFill>
                  <a:schemeClr val="tx2"/>
                </a:solidFill>
                <a:cs typeface="Arial" panose="020B0604020202020204" pitchFamily="34" charset="0"/>
              </a:rPr>
              <a:t>“+”</a:t>
            </a:r>
            <a:r>
              <a:rPr lang="en-GB" sz="800" dirty="0">
                <a:solidFill>
                  <a:schemeClr val="tx2"/>
                </a:solidFill>
                <a:cs typeface="Arial" panose="020B0604020202020204" pitchFamily="34" charset="0"/>
              </a:rPr>
              <a:t> means that the proposed mechanism is present only after surgery when compared to the pre-operative period.</a:t>
            </a:r>
          </a:p>
        </p:txBody>
      </p:sp>
      <p:sp>
        <p:nvSpPr>
          <p:cNvPr id="63" name="Rettangolo 62">
            <a:extLst>
              <a:ext uri="{FF2B5EF4-FFF2-40B4-BE49-F238E27FC236}">
                <a16:creationId xmlns:a16="http://schemas.microsoft.com/office/drawing/2014/main" xmlns="" id="{2FB232EC-C190-4C38-9F13-81BC672220CE}"/>
              </a:ext>
            </a:extLst>
          </p:cNvPr>
          <p:cNvSpPr/>
          <p:nvPr/>
        </p:nvSpPr>
        <p:spPr>
          <a:xfrm>
            <a:off x="5068052" y="1755490"/>
            <a:ext cx="1243296" cy="47127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xmlns="" id="{52DF1CE0-6106-4DFA-B353-D5C0D2D1A4A0}"/>
              </a:ext>
            </a:extLst>
          </p:cNvPr>
          <p:cNvSpPr/>
          <p:nvPr/>
        </p:nvSpPr>
        <p:spPr>
          <a:xfrm>
            <a:off x="5077991" y="5642835"/>
            <a:ext cx="1243296" cy="47127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Segnaposto numero diapositiva 5">
            <a:extLst>
              <a:ext uri="{FF2B5EF4-FFF2-40B4-BE49-F238E27FC236}">
                <a16:creationId xmlns:a16="http://schemas.microsoft.com/office/drawing/2014/main" xmlns="" id="{9BC9EEC6-6D91-41D6-9A5F-14E509BDCE32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xmlns="" id="{CF0C8FDD-7194-4C03-8E1C-4A6DB77A7DD9}"/>
              </a:ext>
            </a:extLst>
          </p:cNvPr>
          <p:cNvCxnSpPr/>
          <p:nvPr/>
        </p:nvCxnSpPr>
        <p:spPr>
          <a:xfrm>
            <a:off x="5199017" y="3596639"/>
            <a:ext cx="992777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xmlns="" id="{7D38AF0A-3EF3-4A18-A0BA-CF78C665F4E9}"/>
              </a:ext>
            </a:extLst>
          </p:cNvPr>
          <p:cNvCxnSpPr>
            <a:cxnSpLocks/>
          </p:cNvCxnSpPr>
          <p:nvPr/>
        </p:nvCxnSpPr>
        <p:spPr>
          <a:xfrm>
            <a:off x="5225144" y="3749039"/>
            <a:ext cx="89698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xmlns="" id="{8286D8AC-FCAD-411A-BB2A-C68B248D783D}"/>
              </a:ext>
            </a:extLst>
          </p:cNvPr>
          <p:cNvCxnSpPr>
            <a:cxnSpLocks/>
          </p:cNvCxnSpPr>
          <p:nvPr/>
        </p:nvCxnSpPr>
        <p:spPr>
          <a:xfrm>
            <a:off x="5146763" y="4148635"/>
            <a:ext cx="112104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>
            <a:extLst>
              <a:ext uri="{FF2B5EF4-FFF2-40B4-BE49-F238E27FC236}">
                <a16:creationId xmlns:a16="http://schemas.microsoft.com/office/drawing/2014/main" xmlns="" id="{F2562959-3586-48AC-8DDD-CB1C378B8D81}"/>
              </a:ext>
            </a:extLst>
          </p:cNvPr>
          <p:cNvCxnSpPr/>
          <p:nvPr/>
        </p:nvCxnSpPr>
        <p:spPr>
          <a:xfrm>
            <a:off x="5207726" y="4297679"/>
            <a:ext cx="992777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xmlns="" id="{C6FAE38D-9A25-49F8-8C9E-1E9893BA0533}"/>
              </a:ext>
            </a:extLst>
          </p:cNvPr>
          <p:cNvCxnSpPr>
            <a:cxnSpLocks/>
          </p:cNvCxnSpPr>
          <p:nvPr/>
        </p:nvCxnSpPr>
        <p:spPr>
          <a:xfrm>
            <a:off x="5503172" y="4423953"/>
            <a:ext cx="383823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8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olo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defRPr/>
            </a:pPr>
            <a:r>
              <a:rPr sz="4267" dirty="0">
                <a:latin typeface="Arial" charset="0"/>
                <a:ea typeface="Arial" charset="0"/>
                <a:cs typeface="Arial" charset="0"/>
              </a:rPr>
              <a:t>Conflict of Interest</a:t>
            </a:r>
          </a:p>
        </p:txBody>
      </p:sp>
      <p:sp>
        <p:nvSpPr>
          <p:cNvPr id="76802" name="Text Box 6"/>
          <p:cNvSpPr txBox="1">
            <a:spLocks noChangeArrowheads="1"/>
          </p:cNvSpPr>
          <p:nvPr/>
        </p:nvSpPr>
        <p:spPr bwMode="auto">
          <a:xfrm>
            <a:off x="190502" y="1515536"/>
            <a:ext cx="6288617" cy="5015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15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12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1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900" b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9pPr>
          </a:lstStyle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Honorarium as a speaker in Scientific Events</a:t>
            </a:r>
            <a:endParaRPr lang="it-IT" altLang="it-IT" sz="2133" b="0">
              <a:solidFill>
                <a:srgbClr val="000000"/>
              </a:solidFill>
              <a:latin typeface="Arial" charset="0"/>
              <a:ea typeface="MS PGothic" charset="-128"/>
              <a:cs typeface="Arial" charset="0"/>
            </a:endParaRP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AstraZeneca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Bayer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Boheringer Ingelheim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Daiichi Sankyo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Echosens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Lilly	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Menarini Diag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MSD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Novartis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Novo Nordisk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PikDare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Roche Diag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Sanofi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it-IT" sz="2133" b="0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Servier				</a:t>
            </a:r>
          </a:p>
        </p:txBody>
      </p:sp>
      <p:sp>
        <p:nvSpPr>
          <p:cNvPr id="76803" name="Rettangolo 5"/>
          <p:cNvSpPr>
            <a:spLocks noChangeArrowheads="1"/>
          </p:cNvSpPr>
          <p:nvPr/>
        </p:nvSpPr>
        <p:spPr bwMode="auto">
          <a:xfrm>
            <a:off x="7128933" y="1515535"/>
            <a:ext cx="3767667" cy="3374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600">
                <a:solidFill>
                  <a:srgbClr val="FFFFFF"/>
                </a:solidFill>
                <a:latin typeface="Times New Roman" charset="0"/>
              </a:defRPr>
            </a:lvl1pPr>
            <a:lvl2pPr marL="742950" indent="-285750">
              <a:defRPr sz="3600">
                <a:solidFill>
                  <a:srgbClr val="FFFFFF"/>
                </a:solidFill>
                <a:latin typeface="Times New Roman" charset="0"/>
              </a:defRPr>
            </a:lvl2pPr>
            <a:lvl3pPr marL="1143000" indent="-228600">
              <a:defRPr sz="3600">
                <a:solidFill>
                  <a:srgbClr val="FFFFFF"/>
                </a:solidFill>
                <a:latin typeface="Times New Roman" charset="0"/>
              </a:defRPr>
            </a:lvl3pPr>
            <a:lvl4pPr marL="1600200" indent="-228600">
              <a:defRPr sz="3600">
                <a:solidFill>
                  <a:srgbClr val="FFFFFF"/>
                </a:solidFill>
                <a:latin typeface="Times New Roman" charset="0"/>
              </a:defRPr>
            </a:lvl4pPr>
            <a:lvl5pPr marL="2057400" indent="-228600">
              <a:defRPr sz="3600">
                <a:solidFill>
                  <a:srgbClr val="FFFFFF"/>
                </a:solidFill>
                <a:latin typeface="Times New Roman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FF"/>
                </a:solidFill>
                <a:latin typeface="Times New Roman" charset="0"/>
              </a:defRPr>
            </a:lvl9pPr>
          </a:lstStyle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 b="1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Scientific advisory boards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AstraZeneca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Intercept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Lilly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Merck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Novartis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Novo Nordisk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Pfizer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PikDare</a:t>
            </a:r>
          </a:p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it-IT" sz="2133">
                <a:solidFill>
                  <a:srgbClr val="000000"/>
                </a:solidFill>
                <a:latin typeface="Arial" charset="0"/>
                <a:ea typeface="MS PGothic" charset="-128"/>
                <a:cs typeface="Arial" charset="0"/>
              </a:rPr>
              <a:t>Sanofi</a:t>
            </a:r>
          </a:p>
        </p:txBody>
      </p:sp>
    </p:spTree>
    <p:extLst>
      <p:ext uri="{BB962C8B-B14F-4D97-AF65-F5344CB8AC3E}">
        <p14:creationId xmlns:p14="http://schemas.microsoft.com/office/powerpoint/2010/main" val="741219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7">
            <a:extLst>
              <a:ext uri="{FF2B5EF4-FFF2-40B4-BE49-F238E27FC236}">
                <a16:creationId xmlns:a16="http://schemas.microsoft.com/office/drawing/2014/main" xmlns="" id="{C60297A4-5B2D-4886-B690-FD5906D7B69C}"/>
              </a:ext>
            </a:extLst>
          </p:cNvPr>
          <p:cNvGrpSpPr/>
          <p:nvPr/>
        </p:nvGrpSpPr>
        <p:grpSpPr>
          <a:xfrm>
            <a:off x="646924" y="1437454"/>
            <a:ext cx="10075269" cy="2517137"/>
            <a:chOff x="765518" y="3131925"/>
            <a:chExt cx="3471894" cy="1152525"/>
          </a:xfrm>
        </p:grpSpPr>
        <p:sp>
          <p:nvSpPr>
            <p:cNvPr id="6" name="Rounded Rectangle 5"/>
            <p:cNvSpPr/>
            <p:nvPr/>
          </p:nvSpPr>
          <p:spPr bwMode="auto">
            <a:xfrm>
              <a:off x="1274412" y="3131925"/>
              <a:ext cx="2963000" cy="1152525"/>
            </a:xfrm>
            <a:prstGeom prst="roundRect">
              <a:avLst/>
            </a:prstGeom>
            <a:noFill/>
            <a:ln w="254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6000" tIns="96000" rIns="96000" bIns="9600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3733" b="1" kern="0" dirty="0">
                  <a:solidFill>
                    <a:srgbClr val="002060"/>
                  </a:solidFill>
                  <a:latin typeface="Verdana" pitchFamily="34" charset="0"/>
                  <a:cs typeface="Arial" charset="0"/>
                </a:rPr>
                <a:t>Liraglutide 3.0 mg</a:t>
              </a: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765518" y="3350203"/>
              <a:ext cx="741660" cy="824400"/>
              <a:chOff x="2999500" y="2159550"/>
              <a:chExt cx="741660" cy="824400"/>
            </a:xfrm>
          </p:grpSpPr>
          <p:sp>
            <p:nvSpPr>
              <p:cNvPr id="66" name="Freeform 198"/>
              <p:cNvSpPr>
                <a:spLocks/>
              </p:cNvSpPr>
              <p:nvPr/>
            </p:nvSpPr>
            <p:spPr bwMode="auto">
              <a:xfrm>
                <a:off x="2999500" y="2159550"/>
                <a:ext cx="741660" cy="824400"/>
              </a:xfrm>
              <a:custGeom>
                <a:avLst/>
                <a:gdLst>
                  <a:gd name="T0" fmla="*/ 255 w 255"/>
                  <a:gd name="T1" fmla="*/ 233 h 255"/>
                  <a:gd name="T2" fmla="*/ 234 w 255"/>
                  <a:gd name="T3" fmla="*/ 255 h 255"/>
                  <a:gd name="T4" fmla="*/ 22 w 255"/>
                  <a:gd name="T5" fmla="*/ 255 h 255"/>
                  <a:gd name="T6" fmla="*/ 0 w 255"/>
                  <a:gd name="T7" fmla="*/ 233 h 255"/>
                  <a:gd name="T8" fmla="*/ 0 w 255"/>
                  <a:gd name="T9" fmla="*/ 22 h 255"/>
                  <a:gd name="T10" fmla="*/ 22 w 255"/>
                  <a:gd name="T11" fmla="*/ 0 h 255"/>
                  <a:gd name="T12" fmla="*/ 234 w 255"/>
                  <a:gd name="T13" fmla="*/ 0 h 255"/>
                  <a:gd name="T14" fmla="*/ 255 w 255"/>
                  <a:gd name="T15" fmla="*/ 22 h 255"/>
                  <a:gd name="T16" fmla="*/ 255 w 255"/>
                  <a:gd name="T17" fmla="*/ 23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5" h="255">
                    <a:moveTo>
                      <a:pt x="255" y="233"/>
                    </a:moveTo>
                    <a:cubicBezTo>
                      <a:pt x="255" y="246"/>
                      <a:pt x="246" y="255"/>
                      <a:pt x="234" y="255"/>
                    </a:cubicBezTo>
                    <a:cubicBezTo>
                      <a:pt x="22" y="255"/>
                      <a:pt x="22" y="255"/>
                      <a:pt x="22" y="255"/>
                    </a:cubicBezTo>
                    <a:cubicBezTo>
                      <a:pt x="10" y="255"/>
                      <a:pt x="0" y="246"/>
                      <a:pt x="0" y="23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246" y="0"/>
                      <a:pt x="255" y="10"/>
                      <a:pt x="255" y="22"/>
                    </a:cubicBezTo>
                    <a:lnTo>
                      <a:pt x="255" y="23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12191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2060"/>
                  </a:solidFill>
                  <a:latin typeface="Verdana" pitchFamily="34" charset="0"/>
                  <a:cs typeface="Arial" charset="0"/>
                </a:endParaRPr>
              </a:p>
            </p:txBody>
          </p:sp>
          <p:grpSp>
            <p:nvGrpSpPr>
              <p:cNvPr id="67" name="Group 66"/>
              <p:cNvGrpSpPr/>
              <p:nvPr/>
            </p:nvGrpSpPr>
            <p:grpSpPr>
              <a:xfrm>
                <a:off x="3130822" y="2217125"/>
                <a:ext cx="558157" cy="709251"/>
                <a:chOff x="3097213" y="2266950"/>
                <a:chExt cx="498475" cy="633413"/>
              </a:xfrm>
            </p:grpSpPr>
            <p:sp>
              <p:nvSpPr>
                <p:cNvPr id="68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3097213" y="2266950"/>
                  <a:ext cx="498475" cy="63341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69" name="Freeform 5"/>
                <p:cNvSpPr>
                  <a:spLocks/>
                </p:cNvSpPr>
                <p:nvPr/>
              </p:nvSpPr>
              <p:spPr bwMode="auto">
                <a:xfrm>
                  <a:off x="3384551" y="2574925"/>
                  <a:ext cx="55563" cy="100013"/>
                </a:xfrm>
                <a:custGeom>
                  <a:avLst/>
                  <a:gdLst>
                    <a:gd name="T0" fmla="*/ 86 w 276"/>
                    <a:gd name="T1" fmla="*/ 501 h 501"/>
                    <a:gd name="T2" fmla="*/ 69 w 276"/>
                    <a:gd name="T3" fmla="*/ 491 h 501"/>
                    <a:gd name="T4" fmla="*/ 49 w 276"/>
                    <a:gd name="T5" fmla="*/ 476 h 501"/>
                    <a:gd name="T6" fmla="*/ 28 w 276"/>
                    <a:gd name="T7" fmla="*/ 453 h 501"/>
                    <a:gd name="T8" fmla="*/ 11 w 276"/>
                    <a:gd name="T9" fmla="*/ 423 h 501"/>
                    <a:gd name="T10" fmla="*/ 6 w 276"/>
                    <a:gd name="T11" fmla="*/ 409 h 501"/>
                    <a:gd name="T12" fmla="*/ 1 w 276"/>
                    <a:gd name="T13" fmla="*/ 379 h 501"/>
                    <a:gd name="T14" fmla="*/ 1 w 276"/>
                    <a:gd name="T15" fmla="*/ 341 h 501"/>
                    <a:gd name="T16" fmla="*/ 5 w 276"/>
                    <a:gd name="T17" fmla="*/ 303 h 501"/>
                    <a:gd name="T18" fmla="*/ 15 w 276"/>
                    <a:gd name="T19" fmla="*/ 262 h 501"/>
                    <a:gd name="T20" fmla="*/ 29 w 276"/>
                    <a:gd name="T21" fmla="*/ 224 h 501"/>
                    <a:gd name="T22" fmla="*/ 50 w 276"/>
                    <a:gd name="T23" fmla="*/ 189 h 501"/>
                    <a:gd name="T24" fmla="*/ 76 w 276"/>
                    <a:gd name="T25" fmla="*/ 159 h 501"/>
                    <a:gd name="T26" fmla="*/ 90 w 276"/>
                    <a:gd name="T27" fmla="*/ 147 h 501"/>
                    <a:gd name="T28" fmla="*/ 116 w 276"/>
                    <a:gd name="T29" fmla="*/ 128 h 501"/>
                    <a:gd name="T30" fmla="*/ 137 w 276"/>
                    <a:gd name="T31" fmla="*/ 107 h 501"/>
                    <a:gd name="T32" fmla="*/ 154 w 276"/>
                    <a:gd name="T33" fmla="*/ 86 h 501"/>
                    <a:gd name="T34" fmla="*/ 176 w 276"/>
                    <a:gd name="T35" fmla="*/ 50 h 501"/>
                    <a:gd name="T36" fmla="*/ 186 w 276"/>
                    <a:gd name="T37" fmla="*/ 21 h 501"/>
                    <a:gd name="T38" fmla="*/ 188 w 276"/>
                    <a:gd name="T39" fmla="*/ 12 h 501"/>
                    <a:gd name="T40" fmla="*/ 206 w 276"/>
                    <a:gd name="T41" fmla="*/ 5 h 501"/>
                    <a:gd name="T42" fmla="*/ 223 w 276"/>
                    <a:gd name="T43" fmla="*/ 0 h 501"/>
                    <a:gd name="T44" fmla="*/ 229 w 276"/>
                    <a:gd name="T45" fmla="*/ 0 h 501"/>
                    <a:gd name="T46" fmla="*/ 240 w 276"/>
                    <a:gd name="T47" fmla="*/ 1 h 501"/>
                    <a:gd name="T48" fmla="*/ 250 w 276"/>
                    <a:gd name="T49" fmla="*/ 6 h 501"/>
                    <a:gd name="T50" fmla="*/ 260 w 276"/>
                    <a:gd name="T51" fmla="*/ 17 h 501"/>
                    <a:gd name="T52" fmla="*/ 266 w 276"/>
                    <a:gd name="T53" fmla="*/ 35 h 501"/>
                    <a:gd name="T54" fmla="*/ 271 w 276"/>
                    <a:gd name="T55" fmla="*/ 52 h 501"/>
                    <a:gd name="T56" fmla="*/ 275 w 276"/>
                    <a:gd name="T57" fmla="*/ 90 h 501"/>
                    <a:gd name="T58" fmla="*/ 276 w 276"/>
                    <a:gd name="T59" fmla="*/ 131 h 501"/>
                    <a:gd name="T60" fmla="*/ 273 w 276"/>
                    <a:gd name="T61" fmla="*/ 174 h 501"/>
                    <a:gd name="T62" fmla="*/ 263 w 276"/>
                    <a:gd name="T63" fmla="*/ 215 h 501"/>
                    <a:gd name="T64" fmla="*/ 248 w 276"/>
                    <a:gd name="T65" fmla="*/ 256 h 501"/>
                    <a:gd name="T66" fmla="*/ 226 w 276"/>
                    <a:gd name="T67" fmla="*/ 293 h 501"/>
                    <a:gd name="T68" fmla="*/ 204 w 276"/>
                    <a:gd name="T69" fmla="*/ 316 h 501"/>
                    <a:gd name="T70" fmla="*/ 187 w 276"/>
                    <a:gd name="T71" fmla="*/ 330 h 501"/>
                    <a:gd name="T72" fmla="*/ 177 w 276"/>
                    <a:gd name="T73" fmla="*/ 337 h 501"/>
                    <a:gd name="T74" fmla="*/ 151 w 276"/>
                    <a:gd name="T75" fmla="*/ 357 h 501"/>
                    <a:gd name="T76" fmla="*/ 129 w 276"/>
                    <a:gd name="T77" fmla="*/ 382 h 501"/>
                    <a:gd name="T78" fmla="*/ 112 w 276"/>
                    <a:gd name="T79" fmla="*/ 413 h 501"/>
                    <a:gd name="T80" fmla="*/ 97 w 276"/>
                    <a:gd name="T81" fmla="*/ 448 h 501"/>
                    <a:gd name="T82" fmla="*/ 93 w 276"/>
                    <a:gd name="T83" fmla="*/ 463 h 501"/>
                    <a:gd name="T84" fmla="*/ 86 w 276"/>
                    <a:gd name="T85" fmla="*/ 501 h 5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76" h="501">
                      <a:moveTo>
                        <a:pt x="86" y="501"/>
                      </a:moveTo>
                      <a:lnTo>
                        <a:pt x="86" y="501"/>
                      </a:lnTo>
                      <a:lnTo>
                        <a:pt x="79" y="497"/>
                      </a:lnTo>
                      <a:lnTo>
                        <a:pt x="69" y="491"/>
                      </a:lnTo>
                      <a:lnTo>
                        <a:pt x="59" y="485"/>
                      </a:lnTo>
                      <a:lnTo>
                        <a:pt x="49" y="476"/>
                      </a:lnTo>
                      <a:lnTo>
                        <a:pt x="38" y="465"/>
                      </a:lnTo>
                      <a:lnTo>
                        <a:pt x="28" y="453"/>
                      </a:lnTo>
                      <a:lnTo>
                        <a:pt x="20" y="439"/>
                      </a:lnTo>
                      <a:lnTo>
                        <a:pt x="11" y="423"/>
                      </a:lnTo>
                      <a:lnTo>
                        <a:pt x="11" y="423"/>
                      </a:lnTo>
                      <a:lnTo>
                        <a:pt x="6" y="409"/>
                      </a:lnTo>
                      <a:lnTo>
                        <a:pt x="3" y="395"/>
                      </a:lnTo>
                      <a:lnTo>
                        <a:pt x="1" y="379"/>
                      </a:lnTo>
                      <a:lnTo>
                        <a:pt x="0" y="360"/>
                      </a:lnTo>
                      <a:lnTo>
                        <a:pt x="1" y="341"/>
                      </a:lnTo>
                      <a:lnTo>
                        <a:pt x="2" y="323"/>
                      </a:lnTo>
                      <a:lnTo>
                        <a:pt x="5" y="303"/>
                      </a:lnTo>
                      <a:lnTo>
                        <a:pt x="10" y="282"/>
                      </a:lnTo>
                      <a:lnTo>
                        <a:pt x="15" y="262"/>
                      </a:lnTo>
                      <a:lnTo>
                        <a:pt x="22" y="243"/>
                      </a:lnTo>
                      <a:lnTo>
                        <a:pt x="29" y="224"/>
                      </a:lnTo>
                      <a:lnTo>
                        <a:pt x="39" y="205"/>
                      </a:lnTo>
                      <a:lnTo>
                        <a:pt x="50" y="189"/>
                      </a:lnTo>
                      <a:lnTo>
                        <a:pt x="62" y="174"/>
                      </a:lnTo>
                      <a:lnTo>
                        <a:pt x="76" y="159"/>
                      </a:lnTo>
                      <a:lnTo>
                        <a:pt x="90" y="147"/>
                      </a:lnTo>
                      <a:lnTo>
                        <a:pt x="90" y="147"/>
                      </a:lnTo>
                      <a:lnTo>
                        <a:pt x="104" y="137"/>
                      </a:lnTo>
                      <a:lnTo>
                        <a:pt x="116" y="128"/>
                      </a:lnTo>
                      <a:lnTo>
                        <a:pt x="127" y="117"/>
                      </a:lnTo>
                      <a:lnTo>
                        <a:pt x="137" y="107"/>
                      </a:lnTo>
                      <a:lnTo>
                        <a:pt x="147" y="97"/>
                      </a:lnTo>
                      <a:lnTo>
                        <a:pt x="154" y="86"/>
                      </a:lnTo>
                      <a:lnTo>
                        <a:pt x="166" y="67"/>
                      </a:lnTo>
                      <a:lnTo>
                        <a:pt x="176" y="50"/>
                      </a:lnTo>
                      <a:lnTo>
                        <a:pt x="182" y="34"/>
                      </a:lnTo>
                      <a:lnTo>
                        <a:pt x="186" y="21"/>
                      </a:lnTo>
                      <a:lnTo>
                        <a:pt x="188" y="12"/>
                      </a:lnTo>
                      <a:lnTo>
                        <a:pt x="188" y="12"/>
                      </a:lnTo>
                      <a:lnTo>
                        <a:pt x="196" y="8"/>
                      </a:lnTo>
                      <a:lnTo>
                        <a:pt x="206" y="5"/>
                      </a:lnTo>
                      <a:lnTo>
                        <a:pt x="217" y="1"/>
                      </a:lnTo>
                      <a:lnTo>
                        <a:pt x="223" y="0"/>
                      </a:lnTo>
                      <a:lnTo>
                        <a:pt x="229" y="0"/>
                      </a:lnTo>
                      <a:lnTo>
                        <a:pt x="229" y="0"/>
                      </a:lnTo>
                      <a:lnTo>
                        <a:pt x="234" y="0"/>
                      </a:lnTo>
                      <a:lnTo>
                        <a:pt x="240" y="1"/>
                      </a:lnTo>
                      <a:lnTo>
                        <a:pt x="244" y="3"/>
                      </a:lnTo>
                      <a:lnTo>
                        <a:pt x="250" y="6"/>
                      </a:lnTo>
                      <a:lnTo>
                        <a:pt x="255" y="10"/>
                      </a:lnTo>
                      <a:lnTo>
                        <a:pt x="260" y="17"/>
                      </a:lnTo>
                      <a:lnTo>
                        <a:pt x="263" y="24"/>
                      </a:lnTo>
                      <a:lnTo>
                        <a:pt x="266" y="35"/>
                      </a:lnTo>
                      <a:lnTo>
                        <a:pt x="266" y="35"/>
                      </a:lnTo>
                      <a:lnTo>
                        <a:pt x="271" y="52"/>
                      </a:lnTo>
                      <a:lnTo>
                        <a:pt x="273" y="71"/>
                      </a:lnTo>
                      <a:lnTo>
                        <a:pt x="275" y="90"/>
                      </a:lnTo>
                      <a:lnTo>
                        <a:pt x="276" y="110"/>
                      </a:lnTo>
                      <a:lnTo>
                        <a:pt x="276" y="131"/>
                      </a:lnTo>
                      <a:lnTo>
                        <a:pt x="275" y="152"/>
                      </a:lnTo>
                      <a:lnTo>
                        <a:pt x="273" y="174"/>
                      </a:lnTo>
                      <a:lnTo>
                        <a:pt x="268" y="194"/>
                      </a:lnTo>
                      <a:lnTo>
                        <a:pt x="263" y="215"/>
                      </a:lnTo>
                      <a:lnTo>
                        <a:pt x="256" y="236"/>
                      </a:lnTo>
                      <a:lnTo>
                        <a:pt x="248" y="256"/>
                      </a:lnTo>
                      <a:lnTo>
                        <a:pt x="238" y="274"/>
                      </a:lnTo>
                      <a:lnTo>
                        <a:pt x="226" y="293"/>
                      </a:lnTo>
                      <a:lnTo>
                        <a:pt x="211" y="308"/>
                      </a:lnTo>
                      <a:lnTo>
                        <a:pt x="204" y="316"/>
                      </a:lnTo>
                      <a:lnTo>
                        <a:pt x="196" y="324"/>
                      </a:lnTo>
                      <a:lnTo>
                        <a:pt x="187" y="330"/>
                      </a:lnTo>
                      <a:lnTo>
                        <a:pt x="177" y="337"/>
                      </a:lnTo>
                      <a:lnTo>
                        <a:pt x="177" y="337"/>
                      </a:lnTo>
                      <a:lnTo>
                        <a:pt x="164" y="346"/>
                      </a:lnTo>
                      <a:lnTo>
                        <a:pt x="151" y="357"/>
                      </a:lnTo>
                      <a:lnTo>
                        <a:pt x="140" y="369"/>
                      </a:lnTo>
                      <a:lnTo>
                        <a:pt x="129" y="382"/>
                      </a:lnTo>
                      <a:lnTo>
                        <a:pt x="120" y="396"/>
                      </a:lnTo>
                      <a:lnTo>
                        <a:pt x="112" y="413"/>
                      </a:lnTo>
                      <a:lnTo>
                        <a:pt x="104" y="429"/>
                      </a:lnTo>
                      <a:lnTo>
                        <a:pt x="97" y="448"/>
                      </a:lnTo>
                      <a:lnTo>
                        <a:pt x="97" y="448"/>
                      </a:lnTo>
                      <a:lnTo>
                        <a:pt x="93" y="463"/>
                      </a:lnTo>
                      <a:lnTo>
                        <a:pt x="90" y="478"/>
                      </a:lnTo>
                      <a:lnTo>
                        <a:pt x="86" y="501"/>
                      </a:lnTo>
                      <a:lnTo>
                        <a:pt x="86" y="50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0" name="Freeform 6"/>
                <p:cNvSpPr>
                  <a:spLocks noEditPoints="1"/>
                </p:cNvSpPr>
                <p:nvPr/>
              </p:nvSpPr>
              <p:spPr bwMode="auto">
                <a:xfrm>
                  <a:off x="3382963" y="2573338"/>
                  <a:ext cx="58738" cy="104775"/>
                </a:xfrm>
                <a:custGeom>
                  <a:avLst/>
                  <a:gdLst>
                    <a:gd name="T0" fmla="*/ 246 w 297"/>
                    <a:gd name="T1" fmla="*/ 22 h 529"/>
                    <a:gd name="T2" fmla="*/ 256 w 297"/>
                    <a:gd name="T3" fmla="*/ 29 h 529"/>
                    <a:gd name="T4" fmla="*/ 266 w 297"/>
                    <a:gd name="T5" fmla="*/ 49 h 529"/>
                    <a:gd name="T6" fmla="*/ 273 w 297"/>
                    <a:gd name="T7" fmla="*/ 87 h 529"/>
                    <a:gd name="T8" fmla="*/ 275 w 297"/>
                    <a:gd name="T9" fmla="*/ 147 h 529"/>
                    <a:gd name="T10" fmla="*/ 267 w 297"/>
                    <a:gd name="T11" fmla="*/ 205 h 529"/>
                    <a:gd name="T12" fmla="*/ 258 w 297"/>
                    <a:gd name="T13" fmla="*/ 239 h 529"/>
                    <a:gd name="T14" fmla="*/ 230 w 297"/>
                    <a:gd name="T15" fmla="*/ 293 h 529"/>
                    <a:gd name="T16" fmla="*/ 208 w 297"/>
                    <a:gd name="T17" fmla="*/ 317 h 529"/>
                    <a:gd name="T18" fmla="*/ 182 w 297"/>
                    <a:gd name="T19" fmla="*/ 338 h 529"/>
                    <a:gd name="T20" fmla="*/ 159 w 297"/>
                    <a:gd name="T21" fmla="*/ 354 h 529"/>
                    <a:gd name="T22" fmla="*/ 133 w 297"/>
                    <a:gd name="T23" fmla="*/ 384 h 529"/>
                    <a:gd name="T24" fmla="*/ 113 w 297"/>
                    <a:gd name="T25" fmla="*/ 416 h 529"/>
                    <a:gd name="T26" fmla="*/ 91 w 297"/>
                    <a:gd name="T27" fmla="*/ 477 h 529"/>
                    <a:gd name="T28" fmla="*/ 73 w 297"/>
                    <a:gd name="T29" fmla="*/ 485 h 529"/>
                    <a:gd name="T30" fmla="*/ 50 w 297"/>
                    <a:gd name="T31" fmla="*/ 462 h 529"/>
                    <a:gd name="T32" fmla="*/ 32 w 297"/>
                    <a:gd name="T33" fmla="*/ 430 h 529"/>
                    <a:gd name="T34" fmla="*/ 24 w 297"/>
                    <a:gd name="T35" fmla="*/ 403 h 529"/>
                    <a:gd name="T36" fmla="*/ 22 w 297"/>
                    <a:gd name="T37" fmla="*/ 352 h 529"/>
                    <a:gd name="T38" fmla="*/ 31 w 297"/>
                    <a:gd name="T39" fmla="*/ 296 h 529"/>
                    <a:gd name="T40" fmla="*/ 49 w 297"/>
                    <a:gd name="T41" fmla="*/ 240 h 529"/>
                    <a:gd name="T42" fmla="*/ 80 w 297"/>
                    <a:gd name="T43" fmla="*/ 192 h 529"/>
                    <a:gd name="T44" fmla="*/ 106 w 297"/>
                    <a:gd name="T45" fmla="*/ 168 h 529"/>
                    <a:gd name="T46" fmla="*/ 143 w 297"/>
                    <a:gd name="T47" fmla="*/ 139 h 529"/>
                    <a:gd name="T48" fmla="*/ 170 w 297"/>
                    <a:gd name="T49" fmla="*/ 108 h 529"/>
                    <a:gd name="T50" fmla="*/ 199 w 297"/>
                    <a:gd name="T51" fmla="*/ 55 h 529"/>
                    <a:gd name="T52" fmla="*/ 208 w 297"/>
                    <a:gd name="T53" fmla="*/ 31 h 529"/>
                    <a:gd name="T54" fmla="*/ 231 w 297"/>
                    <a:gd name="T55" fmla="*/ 22 h 529"/>
                    <a:gd name="T56" fmla="*/ 239 w 297"/>
                    <a:gd name="T57" fmla="*/ 0 h 529"/>
                    <a:gd name="T58" fmla="*/ 212 w 297"/>
                    <a:gd name="T59" fmla="*/ 5 h 529"/>
                    <a:gd name="T60" fmla="*/ 189 w 297"/>
                    <a:gd name="T61" fmla="*/ 17 h 529"/>
                    <a:gd name="T62" fmla="*/ 185 w 297"/>
                    <a:gd name="T63" fmla="*/ 29 h 529"/>
                    <a:gd name="T64" fmla="*/ 169 w 297"/>
                    <a:gd name="T65" fmla="*/ 71 h 529"/>
                    <a:gd name="T66" fmla="*/ 146 w 297"/>
                    <a:gd name="T67" fmla="*/ 103 h 529"/>
                    <a:gd name="T68" fmla="*/ 110 w 297"/>
                    <a:gd name="T69" fmla="*/ 139 h 529"/>
                    <a:gd name="T70" fmla="*/ 86 w 297"/>
                    <a:gd name="T71" fmla="*/ 156 h 529"/>
                    <a:gd name="T72" fmla="*/ 52 w 297"/>
                    <a:gd name="T73" fmla="*/ 193 h 529"/>
                    <a:gd name="T74" fmla="*/ 22 w 297"/>
                    <a:gd name="T75" fmla="*/ 249 h 529"/>
                    <a:gd name="T76" fmla="*/ 4 w 297"/>
                    <a:gd name="T77" fmla="*/ 312 h 529"/>
                    <a:gd name="T78" fmla="*/ 0 w 297"/>
                    <a:gd name="T79" fmla="*/ 373 h 529"/>
                    <a:gd name="T80" fmla="*/ 7 w 297"/>
                    <a:gd name="T81" fmla="*/ 425 h 529"/>
                    <a:gd name="T82" fmla="*/ 18 w 297"/>
                    <a:gd name="T83" fmla="*/ 451 h 529"/>
                    <a:gd name="T84" fmla="*/ 38 w 297"/>
                    <a:gd name="T85" fmla="*/ 482 h 529"/>
                    <a:gd name="T86" fmla="*/ 70 w 297"/>
                    <a:gd name="T87" fmla="*/ 509 h 529"/>
                    <a:gd name="T88" fmla="*/ 106 w 297"/>
                    <a:gd name="T89" fmla="*/ 529 h 529"/>
                    <a:gd name="T90" fmla="*/ 107 w 297"/>
                    <a:gd name="T91" fmla="*/ 509 h 529"/>
                    <a:gd name="T92" fmla="*/ 118 w 297"/>
                    <a:gd name="T93" fmla="*/ 462 h 529"/>
                    <a:gd name="T94" fmla="*/ 136 w 297"/>
                    <a:gd name="T95" fmla="*/ 419 h 529"/>
                    <a:gd name="T96" fmla="*/ 166 w 297"/>
                    <a:gd name="T97" fmla="*/ 379 h 529"/>
                    <a:gd name="T98" fmla="*/ 193 w 297"/>
                    <a:gd name="T99" fmla="*/ 357 h 529"/>
                    <a:gd name="T100" fmla="*/ 220 w 297"/>
                    <a:gd name="T101" fmla="*/ 336 h 529"/>
                    <a:gd name="T102" fmla="*/ 256 w 297"/>
                    <a:gd name="T103" fmla="*/ 293 h 529"/>
                    <a:gd name="T104" fmla="*/ 283 w 297"/>
                    <a:gd name="T105" fmla="*/ 232 h 529"/>
                    <a:gd name="T106" fmla="*/ 296 w 297"/>
                    <a:gd name="T107" fmla="*/ 166 h 529"/>
                    <a:gd name="T108" fmla="*/ 296 w 297"/>
                    <a:gd name="T109" fmla="*/ 101 h 529"/>
                    <a:gd name="T110" fmla="*/ 287 w 297"/>
                    <a:gd name="T111" fmla="*/ 44 h 529"/>
                    <a:gd name="T112" fmla="*/ 280 w 297"/>
                    <a:gd name="T113" fmla="*/ 22 h 529"/>
                    <a:gd name="T114" fmla="*/ 261 w 297"/>
                    <a:gd name="T115" fmla="*/ 5 h 529"/>
                    <a:gd name="T116" fmla="*/ 239 w 297"/>
                    <a:gd name="T117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7" h="529">
                      <a:moveTo>
                        <a:pt x="239" y="22"/>
                      </a:moveTo>
                      <a:lnTo>
                        <a:pt x="239" y="22"/>
                      </a:lnTo>
                      <a:lnTo>
                        <a:pt x="246" y="22"/>
                      </a:lnTo>
                      <a:lnTo>
                        <a:pt x="249" y="23"/>
                      </a:lnTo>
                      <a:lnTo>
                        <a:pt x="253" y="26"/>
                      </a:lnTo>
                      <a:lnTo>
                        <a:pt x="256" y="29"/>
                      </a:lnTo>
                      <a:lnTo>
                        <a:pt x="260" y="33"/>
                      </a:lnTo>
                      <a:lnTo>
                        <a:pt x="263" y="40"/>
                      </a:lnTo>
                      <a:lnTo>
                        <a:pt x="266" y="49"/>
                      </a:lnTo>
                      <a:lnTo>
                        <a:pt x="266" y="49"/>
                      </a:lnTo>
                      <a:lnTo>
                        <a:pt x="270" y="67"/>
                      </a:lnTo>
                      <a:lnTo>
                        <a:pt x="273" y="87"/>
                      </a:lnTo>
                      <a:lnTo>
                        <a:pt x="274" y="107"/>
                      </a:lnTo>
                      <a:lnTo>
                        <a:pt x="275" y="126"/>
                      </a:lnTo>
                      <a:lnTo>
                        <a:pt x="275" y="147"/>
                      </a:lnTo>
                      <a:lnTo>
                        <a:pt x="273" y="167"/>
                      </a:lnTo>
                      <a:lnTo>
                        <a:pt x="271" y="187"/>
                      </a:lnTo>
                      <a:lnTo>
                        <a:pt x="267" y="205"/>
                      </a:lnTo>
                      <a:lnTo>
                        <a:pt x="267" y="205"/>
                      </a:lnTo>
                      <a:lnTo>
                        <a:pt x="263" y="222"/>
                      </a:lnTo>
                      <a:lnTo>
                        <a:pt x="258" y="239"/>
                      </a:lnTo>
                      <a:lnTo>
                        <a:pt x="250" y="257"/>
                      </a:lnTo>
                      <a:lnTo>
                        <a:pt x="241" y="276"/>
                      </a:lnTo>
                      <a:lnTo>
                        <a:pt x="230" y="293"/>
                      </a:lnTo>
                      <a:lnTo>
                        <a:pt x="224" y="301"/>
                      </a:lnTo>
                      <a:lnTo>
                        <a:pt x="216" y="310"/>
                      </a:lnTo>
                      <a:lnTo>
                        <a:pt x="208" y="317"/>
                      </a:lnTo>
                      <a:lnTo>
                        <a:pt x="201" y="325"/>
                      </a:lnTo>
                      <a:lnTo>
                        <a:pt x="192" y="331"/>
                      </a:lnTo>
                      <a:lnTo>
                        <a:pt x="182" y="338"/>
                      </a:lnTo>
                      <a:lnTo>
                        <a:pt x="182" y="338"/>
                      </a:lnTo>
                      <a:lnTo>
                        <a:pt x="170" y="346"/>
                      </a:lnTo>
                      <a:lnTo>
                        <a:pt x="159" y="354"/>
                      </a:lnTo>
                      <a:lnTo>
                        <a:pt x="149" y="364"/>
                      </a:lnTo>
                      <a:lnTo>
                        <a:pt x="140" y="373"/>
                      </a:lnTo>
                      <a:lnTo>
                        <a:pt x="133" y="384"/>
                      </a:lnTo>
                      <a:lnTo>
                        <a:pt x="125" y="394"/>
                      </a:lnTo>
                      <a:lnTo>
                        <a:pt x="118" y="405"/>
                      </a:lnTo>
                      <a:lnTo>
                        <a:pt x="113" y="416"/>
                      </a:lnTo>
                      <a:lnTo>
                        <a:pt x="103" y="437"/>
                      </a:lnTo>
                      <a:lnTo>
                        <a:pt x="96" y="459"/>
                      </a:lnTo>
                      <a:lnTo>
                        <a:pt x="91" y="477"/>
                      </a:lnTo>
                      <a:lnTo>
                        <a:pt x="88" y="495"/>
                      </a:lnTo>
                      <a:lnTo>
                        <a:pt x="88" y="495"/>
                      </a:lnTo>
                      <a:lnTo>
                        <a:pt x="73" y="485"/>
                      </a:lnTo>
                      <a:lnTo>
                        <a:pt x="66" y="478"/>
                      </a:lnTo>
                      <a:lnTo>
                        <a:pt x="58" y="471"/>
                      </a:lnTo>
                      <a:lnTo>
                        <a:pt x="50" y="462"/>
                      </a:lnTo>
                      <a:lnTo>
                        <a:pt x="44" y="452"/>
                      </a:lnTo>
                      <a:lnTo>
                        <a:pt x="37" y="442"/>
                      </a:lnTo>
                      <a:lnTo>
                        <a:pt x="32" y="430"/>
                      </a:lnTo>
                      <a:lnTo>
                        <a:pt x="32" y="430"/>
                      </a:lnTo>
                      <a:lnTo>
                        <a:pt x="27" y="417"/>
                      </a:lnTo>
                      <a:lnTo>
                        <a:pt x="24" y="403"/>
                      </a:lnTo>
                      <a:lnTo>
                        <a:pt x="22" y="387"/>
                      </a:lnTo>
                      <a:lnTo>
                        <a:pt x="21" y="371"/>
                      </a:lnTo>
                      <a:lnTo>
                        <a:pt x="22" y="352"/>
                      </a:lnTo>
                      <a:lnTo>
                        <a:pt x="23" y="335"/>
                      </a:lnTo>
                      <a:lnTo>
                        <a:pt x="26" y="315"/>
                      </a:lnTo>
                      <a:lnTo>
                        <a:pt x="31" y="296"/>
                      </a:lnTo>
                      <a:lnTo>
                        <a:pt x="35" y="277"/>
                      </a:lnTo>
                      <a:lnTo>
                        <a:pt x="42" y="258"/>
                      </a:lnTo>
                      <a:lnTo>
                        <a:pt x="49" y="240"/>
                      </a:lnTo>
                      <a:lnTo>
                        <a:pt x="58" y="223"/>
                      </a:lnTo>
                      <a:lnTo>
                        <a:pt x="69" y="206"/>
                      </a:lnTo>
                      <a:lnTo>
                        <a:pt x="80" y="192"/>
                      </a:lnTo>
                      <a:lnTo>
                        <a:pt x="92" y="179"/>
                      </a:lnTo>
                      <a:lnTo>
                        <a:pt x="106" y="168"/>
                      </a:lnTo>
                      <a:lnTo>
                        <a:pt x="106" y="168"/>
                      </a:lnTo>
                      <a:lnTo>
                        <a:pt x="119" y="158"/>
                      </a:lnTo>
                      <a:lnTo>
                        <a:pt x="132" y="148"/>
                      </a:lnTo>
                      <a:lnTo>
                        <a:pt x="143" y="139"/>
                      </a:lnTo>
                      <a:lnTo>
                        <a:pt x="152" y="128"/>
                      </a:lnTo>
                      <a:lnTo>
                        <a:pt x="161" y="118"/>
                      </a:lnTo>
                      <a:lnTo>
                        <a:pt x="170" y="108"/>
                      </a:lnTo>
                      <a:lnTo>
                        <a:pt x="183" y="89"/>
                      </a:lnTo>
                      <a:lnTo>
                        <a:pt x="193" y="72"/>
                      </a:lnTo>
                      <a:lnTo>
                        <a:pt x="199" y="55"/>
                      </a:lnTo>
                      <a:lnTo>
                        <a:pt x="205" y="42"/>
                      </a:lnTo>
                      <a:lnTo>
                        <a:pt x="208" y="31"/>
                      </a:lnTo>
                      <a:lnTo>
                        <a:pt x="208" y="31"/>
                      </a:lnTo>
                      <a:lnTo>
                        <a:pt x="215" y="28"/>
                      </a:lnTo>
                      <a:lnTo>
                        <a:pt x="223" y="25"/>
                      </a:lnTo>
                      <a:lnTo>
                        <a:pt x="231" y="22"/>
                      </a:lnTo>
                      <a:lnTo>
                        <a:pt x="239" y="22"/>
                      </a:lnTo>
                      <a:close/>
                      <a:moveTo>
                        <a:pt x="239" y="0"/>
                      </a:moveTo>
                      <a:lnTo>
                        <a:pt x="239" y="0"/>
                      </a:lnTo>
                      <a:lnTo>
                        <a:pt x="230" y="0"/>
                      </a:lnTo>
                      <a:lnTo>
                        <a:pt x="220" y="3"/>
                      </a:lnTo>
                      <a:lnTo>
                        <a:pt x="212" y="5"/>
                      </a:lnTo>
                      <a:lnTo>
                        <a:pt x="204" y="8"/>
                      </a:lnTo>
                      <a:lnTo>
                        <a:pt x="193" y="14"/>
                      </a:lnTo>
                      <a:lnTo>
                        <a:pt x="189" y="17"/>
                      </a:lnTo>
                      <a:lnTo>
                        <a:pt x="189" y="17"/>
                      </a:lnTo>
                      <a:lnTo>
                        <a:pt x="187" y="19"/>
                      </a:lnTo>
                      <a:lnTo>
                        <a:pt x="185" y="29"/>
                      </a:lnTo>
                      <a:lnTo>
                        <a:pt x="181" y="42"/>
                      </a:lnTo>
                      <a:lnTo>
                        <a:pt x="174" y="61"/>
                      </a:lnTo>
                      <a:lnTo>
                        <a:pt x="169" y="71"/>
                      </a:lnTo>
                      <a:lnTo>
                        <a:pt x="162" y="80"/>
                      </a:lnTo>
                      <a:lnTo>
                        <a:pt x="155" y="91"/>
                      </a:lnTo>
                      <a:lnTo>
                        <a:pt x="146" y="103"/>
                      </a:lnTo>
                      <a:lnTo>
                        <a:pt x="135" y="114"/>
                      </a:lnTo>
                      <a:lnTo>
                        <a:pt x="123" y="126"/>
                      </a:lnTo>
                      <a:lnTo>
                        <a:pt x="110" y="139"/>
                      </a:lnTo>
                      <a:lnTo>
                        <a:pt x="94" y="149"/>
                      </a:lnTo>
                      <a:lnTo>
                        <a:pt x="94" y="149"/>
                      </a:lnTo>
                      <a:lnTo>
                        <a:pt x="86" y="156"/>
                      </a:lnTo>
                      <a:lnTo>
                        <a:pt x="78" y="163"/>
                      </a:lnTo>
                      <a:lnTo>
                        <a:pt x="64" y="177"/>
                      </a:lnTo>
                      <a:lnTo>
                        <a:pt x="52" y="193"/>
                      </a:lnTo>
                      <a:lnTo>
                        <a:pt x="41" y="211"/>
                      </a:lnTo>
                      <a:lnTo>
                        <a:pt x="31" y="229"/>
                      </a:lnTo>
                      <a:lnTo>
                        <a:pt x="22" y="249"/>
                      </a:lnTo>
                      <a:lnTo>
                        <a:pt x="14" y="270"/>
                      </a:lnTo>
                      <a:lnTo>
                        <a:pt x="9" y="291"/>
                      </a:lnTo>
                      <a:lnTo>
                        <a:pt x="4" y="312"/>
                      </a:lnTo>
                      <a:lnTo>
                        <a:pt x="1" y="333"/>
                      </a:lnTo>
                      <a:lnTo>
                        <a:pt x="0" y="353"/>
                      </a:lnTo>
                      <a:lnTo>
                        <a:pt x="0" y="373"/>
                      </a:lnTo>
                      <a:lnTo>
                        <a:pt x="0" y="392"/>
                      </a:lnTo>
                      <a:lnTo>
                        <a:pt x="3" y="408"/>
                      </a:lnTo>
                      <a:lnTo>
                        <a:pt x="7" y="425"/>
                      </a:lnTo>
                      <a:lnTo>
                        <a:pt x="11" y="438"/>
                      </a:lnTo>
                      <a:lnTo>
                        <a:pt x="11" y="438"/>
                      </a:lnTo>
                      <a:lnTo>
                        <a:pt x="18" y="451"/>
                      </a:lnTo>
                      <a:lnTo>
                        <a:pt x="24" y="462"/>
                      </a:lnTo>
                      <a:lnTo>
                        <a:pt x="31" y="473"/>
                      </a:lnTo>
                      <a:lnTo>
                        <a:pt x="38" y="482"/>
                      </a:lnTo>
                      <a:lnTo>
                        <a:pt x="46" y="490"/>
                      </a:lnTo>
                      <a:lnTo>
                        <a:pt x="55" y="498"/>
                      </a:lnTo>
                      <a:lnTo>
                        <a:pt x="70" y="509"/>
                      </a:lnTo>
                      <a:lnTo>
                        <a:pt x="84" y="518"/>
                      </a:lnTo>
                      <a:lnTo>
                        <a:pt x="95" y="524"/>
                      </a:lnTo>
                      <a:lnTo>
                        <a:pt x="106" y="529"/>
                      </a:lnTo>
                      <a:lnTo>
                        <a:pt x="106" y="529"/>
                      </a:lnTo>
                      <a:lnTo>
                        <a:pt x="106" y="523"/>
                      </a:lnTo>
                      <a:lnTo>
                        <a:pt x="107" y="509"/>
                      </a:lnTo>
                      <a:lnTo>
                        <a:pt x="112" y="488"/>
                      </a:lnTo>
                      <a:lnTo>
                        <a:pt x="114" y="475"/>
                      </a:lnTo>
                      <a:lnTo>
                        <a:pt x="118" y="462"/>
                      </a:lnTo>
                      <a:lnTo>
                        <a:pt x="123" y="448"/>
                      </a:lnTo>
                      <a:lnTo>
                        <a:pt x="128" y="433"/>
                      </a:lnTo>
                      <a:lnTo>
                        <a:pt x="136" y="419"/>
                      </a:lnTo>
                      <a:lnTo>
                        <a:pt x="144" y="405"/>
                      </a:lnTo>
                      <a:lnTo>
                        <a:pt x="153" y="392"/>
                      </a:lnTo>
                      <a:lnTo>
                        <a:pt x="166" y="379"/>
                      </a:lnTo>
                      <a:lnTo>
                        <a:pt x="179" y="368"/>
                      </a:lnTo>
                      <a:lnTo>
                        <a:pt x="193" y="357"/>
                      </a:lnTo>
                      <a:lnTo>
                        <a:pt x="193" y="357"/>
                      </a:lnTo>
                      <a:lnTo>
                        <a:pt x="203" y="350"/>
                      </a:lnTo>
                      <a:lnTo>
                        <a:pt x="213" y="343"/>
                      </a:lnTo>
                      <a:lnTo>
                        <a:pt x="220" y="336"/>
                      </a:lnTo>
                      <a:lnTo>
                        <a:pt x="229" y="328"/>
                      </a:lnTo>
                      <a:lnTo>
                        <a:pt x="243" y="312"/>
                      </a:lnTo>
                      <a:lnTo>
                        <a:pt x="256" y="293"/>
                      </a:lnTo>
                      <a:lnTo>
                        <a:pt x="267" y="273"/>
                      </a:lnTo>
                      <a:lnTo>
                        <a:pt x="276" y="253"/>
                      </a:lnTo>
                      <a:lnTo>
                        <a:pt x="283" y="232"/>
                      </a:lnTo>
                      <a:lnTo>
                        <a:pt x="288" y="210"/>
                      </a:lnTo>
                      <a:lnTo>
                        <a:pt x="293" y="188"/>
                      </a:lnTo>
                      <a:lnTo>
                        <a:pt x="296" y="166"/>
                      </a:lnTo>
                      <a:lnTo>
                        <a:pt x="297" y="144"/>
                      </a:lnTo>
                      <a:lnTo>
                        <a:pt x="297" y="122"/>
                      </a:lnTo>
                      <a:lnTo>
                        <a:pt x="296" y="101"/>
                      </a:lnTo>
                      <a:lnTo>
                        <a:pt x="294" y="80"/>
                      </a:lnTo>
                      <a:lnTo>
                        <a:pt x="292" y="62"/>
                      </a:lnTo>
                      <a:lnTo>
                        <a:pt x="287" y="44"/>
                      </a:lnTo>
                      <a:lnTo>
                        <a:pt x="287" y="44"/>
                      </a:lnTo>
                      <a:lnTo>
                        <a:pt x="284" y="32"/>
                      </a:lnTo>
                      <a:lnTo>
                        <a:pt x="280" y="22"/>
                      </a:lnTo>
                      <a:lnTo>
                        <a:pt x="274" y="15"/>
                      </a:lnTo>
                      <a:lnTo>
                        <a:pt x="267" y="9"/>
                      </a:lnTo>
                      <a:lnTo>
                        <a:pt x="261" y="5"/>
                      </a:lnTo>
                      <a:lnTo>
                        <a:pt x="254" y="3"/>
                      </a:lnTo>
                      <a:lnTo>
                        <a:pt x="247" y="0"/>
                      </a:lnTo>
                      <a:lnTo>
                        <a:pt x="239" y="0"/>
                      </a:lnTo>
                      <a:lnTo>
                        <a:pt x="2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1" name="Freeform 7"/>
                <p:cNvSpPr>
                  <a:spLocks/>
                </p:cNvSpPr>
                <p:nvPr/>
              </p:nvSpPr>
              <p:spPr bwMode="auto">
                <a:xfrm>
                  <a:off x="3386138" y="2578100"/>
                  <a:ext cx="50800" cy="93663"/>
                </a:xfrm>
                <a:custGeom>
                  <a:avLst/>
                  <a:gdLst>
                    <a:gd name="T0" fmla="*/ 218 w 254"/>
                    <a:gd name="T1" fmla="*/ 0 h 473"/>
                    <a:gd name="T2" fmla="*/ 228 w 254"/>
                    <a:gd name="T3" fmla="*/ 1 h 473"/>
                    <a:gd name="T4" fmla="*/ 235 w 254"/>
                    <a:gd name="T5" fmla="*/ 7 h 473"/>
                    <a:gd name="T6" fmla="*/ 242 w 254"/>
                    <a:gd name="T7" fmla="*/ 18 h 473"/>
                    <a:gd name="T8" fmla="*/ 245 w 254"/>
                    <a:gd name="T9" fmla="*/ 27 h 473"/>
                    <a:gd name="T10" fmla="*/ 252 w 254"/>
                    <a:gd name="T11" fmla="*/ 65 h 473"/>
                    <a:gd name="T12" fmla="*/ 254 w 254"/>
                    <a:gd name="T13" fmla="*/ 104 h 473"/>
                    <a:gd name="T14" fmla="*/ 252 w 254"/>
                    <a:gd name="T15" fmla="*/ 145 h 473"/>
                    <a:gd name="T16" fmla="*/ 246 w 254"/>
                    <a:gd name="T17" fmla="*/ 183 h 473"/>
                    <a:gd name="T18" fmla="*/ 242 w 254"/>
                    <a:gd name="T19" fmla="*/ 200 h 473"/>
                    <a:gd name="T20" fmla="*/ 229 w 254"/>
                    <a:gd name="T21" fmla="*/ 235 h 473"/>
                    <a:gd name="T22" fmla="*/ 209 w 254"/>
                    <a:gd name="T23" fmla="*/ 271 h 473"/>
                    <a:gd name="T24" fmla="*/ 195 w 254"/>
                    <a:gd name="T25" fmla="*/ 288 h 473"/>
                    <a:gd name="T26" fmla="*/ 180 w 254"/>
                    <a:gd name="T27" fmla="*/ 303 h 473"/>
                    <a:gd name="T28" fmla="*/ 161 w 254"/>
                    <a:gd name="T29" fmla="*/ 316 h 473"/>
                    <a:gd name="T30" fmla="*/ 149 w 254"/>
                    <a:gd name="T31" fmla="*/ 324 h 473"/>
                    <a:gd name="T32" fmla="*/ 128 w 254"/>
                    <a:gd name="T33" fmla="*/ 342 h 473"/>
                    <a:gd name="T34" fmla="*/ 112 w 254"/>
                    <a:gd name="T35" fmla="*/ 362 h 473"/>
                    <a:gd name="T36" fmla="*/ 97 w 254"/>
                    <a:gd name="T37" fmla="*/ 383 h 473"/>
                    <a:gd name="T38" fmla="*/ 82 w 254"/>
                    <a:gd name="T39" fmla="*/ 415 h 473"/>
                    <a:gd name="T40" fmla="*/ 70 w 254"/>
                    <a:gd name="T41" fmla="*/ 455 h 473"/>
                    <a:gd name="T42" fmla="*/ 67 w 254"/>
                    <a:gd name="T43" fmla="*/ 473 h 473"/>
                    <a:gd name="T44" fmla="*/ 45 w 254"/>
                    <a:gd name="T45" fmla="*/ 456 h 473"/>
                    <a:gd name="T46" fmla="*/ 29 w 254"/>
                    <a:gd name="T47" fmla="*/ 440 h 473"/>
                    <a:gd name="T48" fmla="*/ 16 w 254"/>
                    <a:gd name="T49" fmla="*/ 420 h 473"/>
                    <a:gd name="T50" fmla="*/ 11 w 254"/>
                    <a:gd name="T51" fmla="*/ 408 h 473"/>
                    <a:gd name="T52" fmla="*/ 3 w 254"/>
                    <a:gd name="T53" fmla="*/ 381 h 473"/>
                    <a:gd name="T54" fmla="*/ 0 w 254"/>
                    <a:gd name="T55" fmla="*/ 349 h 473"/>
                    <a:gd name="T56" fmla="*/ 2 w 254"/>
                    <a:gd name="T57" fmla="*/ 313 h 473"/>
                    <a:gd name="T58" fmla="*/ 10 w 254"/>
                    <a:gd name="T59" fmla="*/ 274 h 473"/>
                    <a:gd name="T60" fmla="*/ 21 w 254"/>
                    <a:gd name="T61" fmla="*/ 236 h 473"/>
                    <a:gd name="T62" fmla="*/ 37 w 254"/>
                    <a:gd name="T63" fmla="*/ 201 h 473"/>
                    <a:gd name="T64" fmla="*/ 59 w 254"/>
                    <a:gd name="T65" fmla="*/ 170 h 473"/>
                    <a:gd name="T66" fmla="*/ 85 w 254"/>
                    <a:gd name="T67" fmla="*/ 146 h 473"/>
                    <a:gd name="T68" fmla="*/ 98 w 254"/>
                    <a:gd name="T69" fmla="*/ 136 h 473"/>
                    <a:gd name="T70" fmla="*/ 122 w 254"/>
                    <a:gd name="T71" fmla="*/ 117 h 473"/>
                    <a:gd name="T72" fmla="*/ 140 w 254"/>
                    <a:gd name="T73" fmla="*/ 96 h 473"/>
                    <a:gd name="T74" fmla="*/ 162 w 254"/>
                    <a:gd name="T75" fmla="*/ 67 h 473"/>
                    <a:gd name="T76" fmla="*/ 178 w 254"/>
                    <a:gd name="T77" fmla="*/ 33 h 473"/>
                    <a:gd name="T78" fmla="*/ 187 w 254"/>
                    <a:gd name="T79" fmla="*/ 9 h 473"/>
                    <a:gd name="T80" fmla="*/ 194 w 254"/>
                    <a:gd name="T81" fmla="*/ 6 h 473"/>
                    <a:gd name="T82" fmla="*/ 210 w 254"/>
                    <a:gd name="T83" fmla="*/ 0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4" h="473">
                      <a:moveTo>
                        <a:pt x="218" y="0"/>
                      </a:moveTo>
                      <a:lnTo>
                        <a:pt x="218" y="0"/>
                      </a:lnTo>
                      <a:lnTo>
                        <a:pt x="225" y="0"/>
                      </a:lnTo>
                      <a:lnTo>
                        <a:pt x="228" y="1"/>
                      </a:lnTo>
                      <a:lnTo>
                        <a:pt x="232" y="4"/>
                      </a:lnTo>
                      <a:lnTo>
                        <a:pt x="235" y="7"/>
                      </a:lnTo>
                      <a:lnTo>
                        <a:pt x="239" y="11"/>
                      </a:lnTo>
                      <a:lnTo>
                        <a:pt x="242" y="18"/>
                      </a:lnTo>
                      <a:lnTo>
                        <a:pt x="245" y="27"/>
                      </a:lnTo>
                      <a:lnTo>
                        <a:pt x="245" y="27"/>
                      </a:lnTo>
                      <a:lnTo>
                        <a:pt x="249" y="45"/>
                      </a:lnTo>
                      <a:lnTo>
                        <a:pt x="252" y="65"/>
                      </a:lnTo>
                      <a:lnTo>
                        <a:pt x="253" y="85"/>
                      </a:lnTo>
                      <a:lnTo>
                        <a:pt x="254" y="104"/>
                      </a:lnTo>
                      <a:lnTo>
                        <a:pt x="254" y="125"/>
                      </a:lnTo>
                      <a:lnTo>
                        <a:pt x="252" y="145"/>
                      </a:lnTo>
                      <a:lnTo>
                        <a:pt x="250" y="165"/>
                      </a:lnTo>
                      <a:lnTo>
                        <a:pt x="246" y="183"/>
                      </a:lnTo>
                      <a:lnTo>
                        <a:pt x="246" y="183"/>
                      </a:lnTo>
                      <a:lnTo>
                        <a:pt x="242" y="200"/>
                      </a:lnTo>
                      <a:lnTo>
                        <a:pt x="237" y="217"/>
                      </a:lnTo>
                      <a:lnTo>
                        <a:pt x="229" y="235"/>
                      </a:lnTo>
                      <a:lnTo>
                        <a:pt x="220" y="254"/>
                      </a:lnTo>
                      <a:lnTo>
                        <a:pt x="209" y="271"/>
                      </a:lnTo>
                      <a:lnTo>
                        <a:pt x="203" y="279"/>
                      </a:lnTo>
                      <a:lnTo>
                        <a:pt x="195" y="288"/>
                      </a:lnTo>
                      <a:lnTo>
                        <a:pt x="187" y="295"/>
                      </a:lnTo>
                      <a:lnTo>
                        <a:pt x="180" y="303"/>
                      </a:lnTo>
                      <a:lnTo>
                        <a:pt x="171" y="309"/>
                      </a:lnTo>
                      <a:lnTo>
                        <a:pt x="161" y="316"/>
                      </a:lnTo>
                      <a:lnTo>
                        <a:pt x="161" y="316"/>
                      </a:lnTo>
                      <a:lnTo>
                        <a:pt x="149" y="324"/>
                      </a:lnTo>
                      <a:lnTo>
                        <a:pt x="138" y="332"/>
                      </a:lnTo>
                      <a:lnTo>
                        <a:pt x="128" y="342"/>
                      </a:lnTo>
                      <a:lnTo>
                        <a:pt x="119" y="351"/>
                      </a:lnTo>
                      <a:lnTo>
                        <a:pt x="112" y="362"/>
                      </a:lnTo>
                      <a:lnTo>
                        <a:pt x="104" y="372"/>
                      </a:lnTo>
                      <a:lnTo>
                        <a:pt x="97" y="383"/>
                      </a:lnTo>
                      <a:lnTo>
                        <a:pt x="92" y="394"/>
                      </a:lnTo>
                      <a:lnTo>
                        <a:pt x="82" y="415"/>
                      </a:lnTo>
                      <a:lnTo>
                        <a:pt x="75" y="437"/>
                      </a:lnTo>
                      <a:lnTo>
                        <a:pt x="70" y="455"/>
                      </a:lnTo>
                      <a:lnTo>
                        <a:pt x="67" y="473"/>
                      </a:lnTo>
                      <a:lnTo>
                        <a:pt x="67" y="473"/>
                      </a:lnTo>
                      <a:lnTo>
                        <a:pt x="52" y="463"/>
                      </a:lnTo>
                      <a:lnTo>
                        <a:pt x="45" y="456"/>
                      </a:lnTo>
                      <a:lnTo>
                        <a:pt x="37" y="449"/>
                      </a:lnTo>
                      <a:lnTo>
                        <a:pt x="29" y="440"/>
                      </a:lnTo>
                      <a:lnTo>
                        <a:pt x="23" y="430"/>
                      </a:lnTo>
                      <a:lnTo>
                        <a:pt x="16" y="420"/>
                      </a:lnTo>
                      <a:lnTo>
                        <a:pt x="11" y="408"/>
                      </a:lnTo>
                      <a:lnTo>
                        <a:pt x="11" y="408"/>
                      </a:lnTo>
                      <a:lnTo>
                        <a:pt x="6" y="395"/>
                      </a:lnTo>
                      <a:lnTo>
                        <a:pt x="3" y="381"/>
                      </a:lnTo>
                      <a:lnTo>
                        <a:pt x="1" y="365"/>
                      </a:lnTo>
                      <a:lnTo>
                        <a:pt x="0" y="349"/>
                      </a:lnTo>
                      <a:lnTo>
                        <a:pt x="1" y="330"/>
                      </a:lnTo>
                      <a:lnTo>
                        <a:pt x="2" y="313"/>
                      </a:lnTo>
                      <a:lnTo>
                        <a:pt x="5" y="293"/>
                      </a:lnTo>
                      <a:lnTo>
                        <a:pt x="10" y="274"/>
                      </a:lnTo>
                      <a:lnTo>
                        <a:pt x="14" y="255"/>
                      </a:lnTo>
                      <a:lnTo>
                        <a:pt x="21" y="236"/>
                      </a:lnTo>
                      <a:lnTo>
                        <a:pt x="28" y="218"/>
                      </a:lnTo>
                      <a:lnTo>
                        <a:pt x="37" y="201"/>
                      </a:lnTo>
                      <a:lnTo>
                        <a:pt x="48" y="184"/>
                      </a:lnTo>
                      <a:lnTo>
                        <a:pt x="59" y="170"/>
                      </a:lnTo>
                      <a:lnTo>
                        <a:pt x="71" y="157"/>
                      </a:lnTo>
                      <a:lnTo>
                        <a:pt x="85" y="146"/>
                      </a:lnTo>
                      <a:lnTo>
                        <a:pt x="85" y="146"/>
                      </a:lnTo>
                      <a:lnTo>
                        <a:pt x="98" y="136"/>
                      </a:lnTo>
                      <a:lnTo>
                        <a:pt x="111" y="126"/>
                      </a:lnTo>
                      <a:lnTo>
                        <a:pt x="122" y="117"/>
                      </a:lnTo>
                      <a:lnTo>
                        <a:pt x="131" y="106"/>
                      </a:lnTo>
                      <a:lnTo>
                        <a:pt x="140" y="96"/>
                      </a:lnTo>
                      <a:lnTo>
                        <a:pt x="149" y="86"/>
                      </a:lnTo>
                      <a:lnTo>
                        <a:pt x="162" y="67"/>
                      </a:lnTo>
                      <a:lnTo>
                        <a:pt x="172" y="50"/>
                      </a:lnTo>
                      <a:lnTo>
                        <a:pt x="178" y="33"/>
                      </a:lnTo>
                      <a:lnTo>
                        <a:pt x="184" y="20"/>
                      </a:lnTo>
                      <a:lnTo>
                        <a:pt x="187" y="9"/>
                      </a:lnTo>
                      <a:lnTo>
                        <a:pt x="187" y="9"/>
                      </a:lnTo>
                      <a:lnTo>
                        <a:pt x="194" y="6"/>
                      </a:lnTo>
                      <a:lnTo>
                        <a:pt x="202" y="3"/>
                      </a:lnTo>
                      <a:lnTo>
                        <a:pt x="210" y="0"/>
                      </a:lnTo>
                      <a:lnTo>
                        <a:pt x="218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2" name="Freeform 8"/>
                <p:cNvSpPr>
                  <a:spLocks/>
                </p:cNvSpPr>
                <p:nvPr/>
              </p:nvSpPr>
              <p:spPr bwMode="auto">
                <a:xfrm>
                  <a:off x="3382963" y="2573338"/>
                  <a:ext cx="58738" cy="104775"/>
                </a:xfrm>
                <a:custGeom>
                  <a:avLst/>
                  <a:gdLst>
                    <a:gd name="T0" fmla="*/ 239 w 297"/>
                    <a:gd name="T1" fmla="*/ 0 h 529"/>
                    <a:gd name="T2" fmla="*/ 220 w 297"/>
                    <a:gd name="T3" fmla="*/ 3 h 529"/>
                    <a:gd name="T4" fmla="*/ 204 w 297"/>
                    <a:gd name="T5" fmla="*/ 8 h 529"/>
                    <a:gd name="T6" fmla="*/ 189 w 297"/>
                    <a:gd name="T7" fmla="*/ 17 h 529"/>
                    <a:gd name="T8" fmla="*/ 187 w 297"/>
                    <a:gd name="T9" fmla="*/ 19 h 529"/>
                    <a:gd name="T10" fmla="*/ 181 w 297"/>
                    <a:gd name="T11" fmla="*/ 42 h 529"/>
                    <a:gd name="T12" fmla="*/ 169 w 297"/>
                    <a:gd name="T13" fmla="*/ 71 h 529"/>
                    <a:gd name="T14" fmla="*/ 155 w 297"/>
                    <a:gd name="T15" fmla="*/ 91 h 529"/>
                    <a:gd name="T16" fmla="*/ 135 w 297"/>
                    <a:gd name="T17" fmla="*/ 114 h 529"/>
                    <a:gd name="T18" fmla="*/ 110 w 297"/>
                    <a:gd name="T19" fmla="*/ 139 h 529"/>
                    <a:gd name="T20" fmla="*/ 94 w 297"/>
                    <a:gd name="T21" fmla="*/ 149 h 529"/>
                    <a:gd name="T22" fmla="*/ 78 w 297"/>
                    <a:gd name="T23" fmla="*/ 163 h 529"/>
                    <a:gd name="T24" fmla="*/ 52 w 297"/>
                    <a:gd name="T25" fmla="*/ 193 h 529"/>
                    <a:gd name="T26" fmla="*/ 31 w 297"/>
                    <a:gd name="T27" fmla="*/ 229 h 529"/>
                    <a:gd name="T28" fmla="*/ 14 w 297"/>
                    <a:gd name="T29" fmla="*/ 270 h 529"/>
                    <a:gd name="T30" fmla="*/ 4 w 297"/>
                    <a:gd name="T31" fmla="*/ 312 h 529"/>
                    <a:gd name="T32" fmla="*/ 0 w 297"/>
                    <a:gd name="T33" fmla="*/ 353 h 529"/>
                    <a:gd name="T34" fmla="*/ 0 w 297"/>
                    <a:gd name="T35" fmla="*/ 392 h 529"/>
                    <a:gd name="T36" fmla="*/ 7 w 297"/>
                    <a:gd name="T37" fmla="*/ 425 h 529"/>
                    <a:gd name="T38" fmla="*/ 11 w 297"/>
                    <a:gd name="T39" fmla="*/ 438 h 529"/>
                    <a:gd name="T40" fmla="*/ 24 w 297"/>
                    <a:gd name="T41" fmla="*/ 462 h 529"/>
                    <a:gd name="T42" fmla="*/ 38 w 297"/>
                    <a:gd name="T43" fmla="*/ 482 h 529"/>
                    <a:gd name="T44" fmla="*/ 55 w 297"/>
                    <a:gd name="T45" fmla="*/ 498 h 529"/>
                    <a:gd name="T46" fmla="*/ 84 w 297"/>
                    <a:gd name="T47" fmla="*/ 518 h 529"/>
                    <a:gd name="T48" fmla="*/ 106 w 297"/>
                    <a:gd name="T49" fmla="*/ 529 h 529"/>
                    <a:gd name="T50" fmla="*/ 106 w 297"/>
                    <a:gd name="T51" fmla="*/ 523 h 529"/>
                    <a:gd name="T52" fmla="*/ 112 w 297"/>
                    <a:gd name="T53" fmla="*/ 488 h 529"/>
                    <a:gd name="T54" fmla="*/ 118 w 297"/>
                    <a:gd name="T55" fmla="*/ 462 h 529"/>
                    <a:gd name="T56" fmla="*/ 128 w 297"/>
                    <a:gd name="T57" fmla="*/ 433 h 529"/>
                    <a:gd name="T58" fmla="*/ 144 w 297"/>
                    <a:gd name="T59" fmla="*/ 405 h 529"/>
                    <a:gd name="T60" fmla="*/ 166 w 297"/>
                    <a:gd name="T61" fmla="*/ 379 h 529"/>
                    <a:gd name="T62" fmla="*/ 193 w 297"/>
                    <a:gd name="T63" fmla="*/ 357 h 529"/>
                    <a:gd name="T64" fmla="*/ 203 w 297"/>
                    <a:gd name="T65" fmla="*/ 350 h 529"/>
                    <a:gd name="T66" fmla="*/ 220 w 297"/>
                    <a:gd name="T67" fmla="*/ 336 h 529"/>
                    <a:gd name="T68" fmla="*/ 243 w 297"/>
                    <a:gd name="T69" fmla="*/ 312 h 529"/>
                    <a:gd name="T70" fmla="*/ 267 w 297"/>
                    <a:gd name="T71" fmla="*/ 273 h 529"/>
                    <a:gd name="T72" fmla="*/ 283 w 297"/>
                    <a:gd name="T73" fmla="*/ 232 h 529"/>
                    <a:gd name="T74" fmla="*/ 293 w 297"/>
                    <a:gd name="T75" fmla="*/ 188 h 529"/>
                    <a:gd name="T76" fmla="*/ 297 w 297"/>
                    <a:gd name="T77" fmla="*/ 144 h 529"/>
                    <a:gd name="T78" fmla="*/ 296 w 297"/>
                    <a:gd name="T79" fmla="*/ 101 h 529"/>
                    <a:gd name="T80" fmla="*/ 292 w 297"/>
                    <a:gd name="T81" fmla="*/ 62 h 529"/>
                    <a:gd name="T82" fmla="*/ 287 w 297"/>
                    <a:gd name="T83" fmla="*/ 44 h 529"/>
                    <a:gd name="T84" fmla="*/ 280 w 297"/>
                    <a:gd name="T85" fmla="*/ 22 h 529"/>
                    <a:gd name="T86" fmla="*/ 267 w 297"/>
                    <a:gd name="T87" fmla="*/ 9 h 529"/>
                    <a:gd name="T88" fmla="*/ 254 w 297"/>
                    <a:gd name="T89" fmla="*/ 3 h 529"/>
                    <a:gd name="T90" fmla="*/ 239 w 297"/>
                    <a:gd name="T91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97" h="529">
                      <a:moveTo>
                        <a:pt x="239" y="0"/>
                      </a:moveTo>
                      <a:lnTo>
                        <a:pt x="239" y="0"/>
                      </a:lnTo>
                      <a:lnTo>
                        <a:pt x="230" y="0"/>
                      </a:lnTo>
                      <a:lnTo>
                        <a:pt x="220" y="3"/>
                      </a:lnTo>
                      <a:lnTo>
                        <a:pt x="212" y="5"/>
                      </a:lnTo>
                      <a:lnTo>
                        <a:pt x="204" y="8"/>
                      </a:lnTo>
                      <a:lnTo>
                        <a:pt x="193" y="14"/>
                      </a:lnTo>
                      <a:lnTo>
                        <a:pt x="189" y="17"/>
                      </a:lnTo>
                      <a:lnTo>
                        <a:pt x="189" y="17"/>
                      </a:lnTo>
                      <a:lnTo>
                        <a:pt x="187" y="19"/>
                      </a:lnTo>
                      <a:lnTo>
                        <a:pt x="185" y="29"/>
                      </a:lnTo>
                      <a:lnTo>
                        <a:pt x="181" y="42"/>
                      </a:lnTo>
                      <a:lnTo>
                        <a:pt x="174" y="61"/>
                      </a:lnTo>
                      <a:lnTo>
                        <a:pt x="169" y="71"/>
                      </a:lnTo>
                      <a:lnTo>
                        <a:pt x="162" y="80"/>
                      </a:lnTo>
                      <a:lnTo>
                        <a:pt x="155" y="91"/>
                      </a:lnTo>
                      <a:lnTo>
                        <a:pt x="146" y="103"/>
                      </a:lnTo>
                      <a:lnTo>
                        <a:pt x="135" y="114"/>
                      </a:lnTo>
                      <a:lnTo>
                        <a:pt x="123" y="126"/>
                      </a:lnTo>
                      <a:lnTo>
                        <a:pt x="110" y="139"/>
                      </a:lnTo>
                      <a:lnTo>
                        <a:pt x="94" y="149"/>
                      </a:lnTo>
                      <a:lnTo>
                        <a:pt x="94" y="149"/>
                      </a:lnTo>
                      <a:lnTo>
                        <a:pt x="86" y="156"/>
                      </a:lnTo>
                      <a:lnTo>
                        <a:pt x="78" y="163"/>
                      </a:lnTo>
                      <a:lnTo>
                        <a:pt x="64" y="177"/>
                      </a:lnTo>
                      <a:lnTo>
                        <a:pt x="52" y="193"/>
                      </a:lnTo>
                      <a:lnTo>
                        <a:pt x="41" y="211"/>
                      </a:lnTo>
                      <a:lnTo>
                        <a:pt x="31" y="229"/>
                      </a:lnTo>
                      <a:lnTo>
                        <a:pt x="22" y="249"/>
                      </a:lnTo>
                      <a:lnTo>
                        <a:pt x="14" y="270"/>
                      </a:lnTo>
                      <a:lnTo>
                        <a:pt x="9" y="291"/>
                      </a:lnTo>
                      <a:lnTo>
                        <a:pt x="4" y="312"/>
                      </a:lnTo>
                      <a:lnTo>
                        <a:pt x="1" y="333"/>
                      </a:lnTo>
                      <a:lnTo>
                        <a:pt x="0" y="353"/>
                      </a:lnTo>
                      <a:lnTo>
                        <a:pt x="0" y="373"/>
                      </a:lnTo>
                      <a:lnTo>
                        <a:pt x="0" y="392"/>
                      </a:lnTo>
                      <a:lnTo>
                        <a:pt x="3" y="408"/>
                      </a:lnTo>
                      <a:lnTo>
                        <a:pt x="7" y="425"/>
                      </a:lnTo>
                      <a:lnTo>
                        <a:pt x="11" y="438"/>
                      </a:lnTo>
                      <a:lnTo>
                        <a:pt x="11" y="438"/>
                      </a:lnTo>
                      <a:lnTo>
                        <a:pt x="18" y="451"/>
                      </a:lnTo>
                      <a:lnTo>
                        <a:pt x="24" y="462"/>
                      </a:lnTo>
                      <a:lnTo>
                        <a:pt x="31" y="473"/>
                      </a:lnTo>
                      <a:lnTo>
                        <a:pt x="38" y="482"/>
                      </a:lnTo>
                      <a:lnTo>
                        <a:pt x="46" y="490"/>
                      </a:lnTo>
                      <a:lnTo>
                        <a:pt x="55" y="498"/>
                      </a:lnTo>
                      <a:lnTo>
                        <a:pt x="70" y="509"/>
                      </a:lnTo>
                      <a:lnTo>
                        <a:pt x="84" y="518"/>
                      </a:lnTo>
                      <a:lnTo>
                        <a:pt x="95" y="524"/>
                      </a:lnTo>
                      <a:lnTo>
                        <a:pt x="106" y="529"/>
                      </a:lnTo>
                      <a:lnTo>
                        <a:pt x="106" y="529"/>
                      </a:lnTo>
                      <a:lnTo>
                        <a:pt x="106" y="523"/>
                      </a:lnTo>
                      <a:lnTo>
                        <a:pt x="107" y="509"/>
                      </a:lnTo>
                      <a:lnTo>
                        <a:pt x="112" y="488"/>
                      </a:lnTo>
                      <a:lnTo>
                        <a:pt x="114" y="475"/>
                      </a:lnTo>
                      <a:lnTo>
                        <a:pt x="118" y="462"/>
                      </a:lnTo>
                      <a:lnTo>
                        <a:pt x="123" y="448"/>
                      </a:lnTo>
                      <a:lnTo>
                        <a:pt x="128" y="433"/>
                      </a:lnTo>
                      <a:lnTo>
                        <a:pt x="136" y="419"/>
                      </a:lnTo>
                      <a:lnTo>
                        <a:pt x="144" y="405"/>
                      </a:lnTo>
                      <a:lnTo>
                        <a:pt x="153" y="392"/>
                      </a:lnTo>
                      <a:lnTo>
                        <a:pt x="166" y="379"/>
                      </a:lnTo>
                      <a:lnTo>
                        <a:pt x="179" y="368"/>
                      </a:lnTo>
                      <a:lnTo>
                        <a:pt x="193" y="357"/>
                      </a:lnTo>
                      <a:lnTo>
                        <a:pt x="193" y="357"/>
                      </a:lnTo>
                      <a:lnTo>
                        <a:pt x="203" y="350"/>
                      </a:lnTo>
                      <a:lnTo>
                        <a:pt x="213" y="343"/>
                      </a:lnTo>
                      <a:lnTo>
                        <a:pt x="220" y="336"/>
                      </a:lnTo>
                      <a:lnTo>
                        <a:pt x="229" y="328"/>
                      </a:lnTo>
                      <a:lnTo>
                        <a:pt x="243" y="312"/>
                      </a:lnTo>
                      <a:lnTo>
                        <a:pt x="256" y="293"/>
                      </a:lnTo>
                      <a:lnTo>
                        <a:pt x="267" y="273"/>
                      </a:lnTo>
                      <a:lnTo>
                        <a:pt x="276" y="253"/>
                      </a:lnTo>
                      <a:lnTo>
                        <a:pt x="283" y="232"/>
                      </a:lnTo>
                      <a:lnTo>
                        <a:pt x="288" y="210"/>
                      </a:lnTo>
                      <a:lnTo>
                        <a:pt x="293" y="188"/>
                      </a:lnTo>
                      <a:lnTo>
                        <a:pt x="296" y="166"/>
                      </a:lnTo>
                      <a:lnTo>
                        <a:pt x="297" y="144"/>
                      </a:lnTo>
                      <a:lnTo>
                        <a:pt x="297" y="122"/>
                      </a:lnTo>
                      <a:lnTo>
                        <a:pt x="296" y="101"/>
                      </a:lnTo>
                      <a:lnTo>
                        <a:pt x="294" y="80"/>
                      </a:lnTo>
                      <a:lnTo>
                        <a:pt x="292" y="62"/>
                      </a:lnTo>
                      <a:lnTo>
                        <a:pt x="287" y="44"/>
                      </a:lnTo>
                      <a:lnTo>
                        <a:pt x="287" y="44"/>
                      </a:lnTo>
                      <a:lnTo>
                        <a:pt x="284" y="32"/>
                      </a:lnTo>
                      <a:lnTo>
                        <a:pt x="280" y="22"/>
                      </a:lnTo>
                      <a:lnTo>
                        <a:pt x="274" y="15"/>
                      </a:lnTo>
                      <a:lnTo>
                        <a:pt x="267" y="9"/>
                      </a:lnTo>
                      <a:lnTo>
                        <a:pt x="261" y="5"/>
                      </a:lnTo>
                      <a:lnTo>
                        <a:pt x="254" y="3"/>
                      </a:lnTo>
                      <a:lnTo>
                        <a:pt x="247" y="0"/>
                      </a:lnTo>
                      <a:lnTo>
                        <a:pt x="239" y="0"/>
                      </a:lnTo>
                      <a:lnTo>
                        <a:pt x="239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3" name="Freeform 9"/>
                <p:cNvSpPr>
                  <a:spLocks/>
                </p:cNvSpPr>
                <p:nvPr/>
              </p:nvSpPr>
              <p:spPr bwMode="auto">
                <a:xfrm>
                  <a:off x="3436938" y="2682875"/>
                  <a:ext cx="55563" cy="98425"/>
                </a:xfrm>
                <a:custGeom>
                  <a:avLst/>
                  <a:gdLst>
                    <a:gd name="T0" fmla="*/ 80 w 275"/>
                    <a:gd name="T1" fmla="*/ 498 h 498"/>
                    <a:gd name="T2" fmla="*/ 61 w 275"/>
                    <a:gd name="T3" fmla="*/ 487 h 498"/>
                    <a:gd name="T4" fmla="*/ 54 w 275"/>
                    <a:gd name="T5" fmla="*/ 481 h 498"/>
                    <a:gd name="T6" fmla="*/ 38 w 275"/>
                    <a:gd name="T7" fmla="*/ 467 h 498"/>
                    <a:gd name="T8" fmla="*/ 26 w 275"/>
                    <a:gd name="T9" fmla="*/ 450 h 498"/>
                    <a:gd name="T10" fmla="*/ 15 w 275"/>
                    <a:gd name="T11" fmla="*/ 433 h 498"/>
                    <a:gd name="T12" fmla="*/ 11 w 275"/>
                    <a:gd name="T13" fmla="*/ 423 h 498"/>
                    <a:gd name="T14" fmla="*/ 3 w 275"/>
                    <a:gd name="T15" fmla="*/ 394 h 498"/>
                    <a:gd name="T16" fmla="*/ 0 w 275"/>
                    <a:gd name="T17" fmla="*/ 359 h 498"/>
                    <a:gd name="T18" fmla="*/ 2 w 275"/>
                    <a:gd name="T19" fmla="*/ 322 h 498"/>
                    <a:gd name="T20" fmla="*/ 9 w 275"/>
                    <a:gd name="T21" fmla="*/ 281 h 498"/>
                    <a:gd name="T22" fmla="*/ 21 w 275"/>
                    <a:gd name="T23" fmla="*/ 242 h 498"/>
                    <a:gd name="T24" fmla="*/ 38 w 275"/>
                    <a:gd name="T25" fmla="*/ 205 h 498"/>
                    <a:gd name="T26" fmla="*/ 61 w 275"/>
                    <a:gd name="T27" fmla="*/ 173 h 498"/>
                    <a:gd name="T28" fmla="*/ 90 w 275"/>
                    <a:gd name="T29" fmla="*/ 148 h 498"/>
                    <a:gd name="T30" fmla="*/ 103 w 275"/>
                    <a:gd name="T31" fmla="*/ 137 h 498"/>
                    <a:gd name="T32" fmla="*/ 127 w 275"/>
                    <a:gd name="T33" fmla="*/ 116 h 498"/>
                    <a:gd name="T34" fmla="*/ 146 w 275"/>
                    <a:gd name="T35" fmla="*/ 96 h 498"/>
                    <a:gd name="T36" fmla="*/ 167 w 275"/>
                    <a:gd name="T37" fmla="*/ 66 h 498"/>
                    <a:gd name="T38" fmla="*/ 182 w 275"/>
                    <a:gd name="T39" fmla="*/ 34 h 498"/>
                    <a:gd name="T40" fmla="*/ 187 w 275"/>
                    <a:gd name="T41" fmla="*/ 12 h 498"/>
                    <a:gd name="T42" fmla="*/ 195 w 275"/>
                    <a:gd name="T43" fmla="*/ 7 h 498"/>
                    <a:gd name="T44" fmla="*/ 217 w 275"/>
                    <a:gd name="T45" fmla="*/ 1 h 498"/>
                    <a:gd name="T46" fmla="*/ 229 w 275"/>
                    <a:gd name="T47" fmla="*/ 0 h 498"/>
                    <a:gd name="T48" fmla="*/ 233 w 275"/>
                    <a:gd name="T49" fmla="*/ 0 h 498"/>
                    <a:gd name="T50" fmla="*/ 244 w 275"/>
                    <a:gd name="T51" fmla="*/ 2 h 498"/>
                    <a:gd name="T52" fmla="*/ 254 w 275"/>
                    <a:gd name="T53" fmla="*/ 9 h 498"/>
                    <a:gd name="T54" fmla="*/ 263 w 275"/>
                    <a:gd name="T55" fmla="*/ 24 h 498"/>
                    <a:gd name="T56" fmla="*/ 266 w 275"/>
                    <a:gd name="T57" fmla="*/ 35 h 498"/>
                    <a:gd name="T58" fmla="*/ 273 w 275"/>
                    <a:gd name="T59" fmla="*/ 70 h 498"/>
                    <a:gd name="T60" fmla="*/ 275 w 275"/>
                    <a:gd name="T61" fmla="*/ 109 h 498"/>
                    <a:gd name="T62" fmla="*/ 274 w 275"/>
                    <a:gd name="T63" fmla="*/ 151 h 498"/>
                    <a:gd name="T64" fmla="*/ 269 w 275"/>
                    <a:gd name="T65" fmla="*/ 194 h 498"/>
                    <a:gd name="T66" fmla="*/ 256 w 275"/>
                    <a:gd name="T67" fmla="*/ 235 h 498"/>
                    <a:gd name="T68" fmla="*/ 238 w 275"/>
                    <a:gd name="T69" fmla="*/ 274 h 498"/>
                    <a:gd name="T70" fmla="*/ 212 w 275"/>
                    <a:gd name="T71" fmla="*/ 308 h 498"/>
                    <a:gd name="T72" fmla="*/ 195 w 275"/>
                    <a:gd name="T73" fmla="*/ 323 h 498"/>
                    <a:gd name="T74" fmla="*/ 176 w 275"/>
                    <a:gd name="T75" fmla="*/ 336 h 498"/>
                    <a:gd name="T76" fmla="*/ 164 w 275"/>
                    <a:gd name="T77" fmla="*/ 344 h 498"/>
                    <a:gd name="T78" fmla="*/ 143 w 275"/>
                    <a:gd name="T79" fmla="*/ 363 h 498"/>
                    <a:gd name="T80" fmla="*/ 124 w 275"/>
                    <a:gd name="T81" fmla="*/ 385 h 498"/>
                    <a:gd name="T82" fmla="*/ 110 w 275"/>
                    <a:gd name="T83" fmla="*/ 408 h 498"/>
                    <a:gd name="T84" fmla="*/ 94 w 275"/>
                    <a:gd name="T85" fmla="*/ 444 h 498"/>
                    <a:gd name="T86" fmla="*/ 83 w 275"/>
                    <a:gd name="T87" fmla="*/ 483 h 498"/>
                    <a:gd name="T88" fmla="*/ 80 w 275"/>
                    <a:gd name="T89" fmla="*/ 498 h 4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75" h="498">
                      <a:moveTo>
                        <a:pt x="80" y="498"/>
                      </a:moveTo>
                      <a:lnTo>
                        <a:pt x="80" y="498"/>
                      </a:lnTo>
                      <a:lnTo>
                        <a:pt x="71" y="494"/>
                      </a:lnTo>
                      <a:lnTo>
                        <a:pt x="61" y="487"/>
                      </a:lnTo>
                      <a:lnTo>
                        <a:pt x="61" y="487"/>
                      </a:lnTo>
                      <a:lnTo>
                        <a:pt x="54" y="481"/>
                      </a:lnTo>
                      <a:lnTo>
                        <a:pt x="46" y="474"/>
                      </a:lnTo>
                      <a:lnTo>
                        <a:pt x="38" y="467"/>
                      </a:lnTo>
                      <a:lnTo>
                        <a:pt x="32" y="459"/>
                      </a:lnTo>
                      <a:lnTo>
                        <a:pt x="26" y="450"/>
                      </a:lnTo>
                      <a:lnTo>
                        <a:pt x="21" y="441"/>
                      </a:lnTo>
                      <a:lnTo>
                        <a:pt x="15" y="433"/>
                      </a:lnTo>
                      <a:lnTo>
                        <a:pt x="11" y="423"/>
                      </a:lnTo>
                      <a:lnTo>
                        <a:pt x="11" y="423"/>
                      </a:lnTo>
                      <a:lnTo>
                        <a:pt x="7" y="408"/>
                      </a:lnTo>
                      <a:lnTo>
                        <a:pt x="3" y="394"/>
                      </a:lnTo>
                      <a:lnTo>
                        <a:pt x="1" y="378"/>
                      </a:lnTo>
                      <a:lnTo>
                        <a:pt x="0" y="359"/>
                      </a:lnTo>
                      <a:lnTo>
                        <a:pt x="0" y="340"/>
                      </a:lnTo>
                      <a:lnTo>
                        <a:pt x="2" y="322"/>
                      </a:lnTo>
                      <a:lnTo>
                        <a:pt x="4" y="302"/>
                      </a:lnTo>
                      <a:lnTo>
                        <a:pt x="9" y="281"/>
                      </a:lnTo>
                      <a:lnTo>
                        <a:pt x="14" y="262"/>
                      </a:lnTo>
                      <a:lnTo>
                        <a:pt x="21" y="242"/>
                      </a:lnTo>
                      <a:lnTo>
                        <a:pt x="30" y="223"/>
                      </a:lnTo>
                      <a:lnTo>
                        <a:pt x="38" y="205"/>
                      </a:lnTo>
                      <a:lnTo>
                        <a:pt x="49" y="188"/>
                      </a:lnTo>
                      <a:lnTo>
                        <a:pt x="61" y="173"/>
                      </a:lnTo>
                      <a:lnTo>
                        <a:pt x="75" y="159"/>
                      </a:lnTo>
                      <a:lnTo>
                        <a:pt x="90" y="148"/>
                      </a:lnTo>
                      <a:lnTo>
                        <a:pt x="90" y="148"/>
                      </a:lnTo>
                      <a:lnTo>
                        <a:pt x="103" y="137"/>
                      </a:lnTo>
                      <a:lnTo>
                        <a:pt x="116" y="127"/>
                      </a:lnTo>
                      <a:lnTo>
                        <a:pt x="127" y="116"/>
                      </a:lnTo>
                      <a:lnTo>
                        <a:pt x="137" y="106"/>
                      </a:lnTo>
                      <a:lnTo>
                        <a:pt x="146" y="96"/>
                      </a:lnTo>
                      <a:lnTo>
                        <a:pt x="153" y="85"/>
                      </a:lnTo>
                      <a:lnTo>
                        <a:pt x="167" y="66"/>
                      </a:lnTo>
                      <a:lnTo>
                        <a:pt x="175" y="49"/>
                      </a:lnTo>
                      <a:lnTo>
                        <a:pt x="182" y="34"/>
                      </a:lnTo>
                      <a:lnTo>
                        <a:pt x="185" y="20"/>
                      </a:lnTo>
                      <a:lnTo>
                        <a:pt x="187" y="12"/>
                      </a:lnTo>
                      <a:lnTo>
                        <a:pt x="187" y="12"/>
                      </a:lnTo>
                      <a:lnTo>
                        <a:pt x="195" y="7"/>
                      </a:lnTo>
                      <a:lnTo>
                        <a:pt x="205" y="4"/>
                      </a:lnTo>
                      <a:lnTo>
                        <a:pt x="217" y="1"/>
                      </a:lnTo>
                      <a:lnTo>
                        <a:pt x="223" y="0"/>
                      </a:lnTo>
                      <a:lnTo>
                        <a:pt x="229" y="0"/>
                      </a:lnTo>
                      <a:lnTo>
                        <a:pt x="229" y="0"/>
                      </a:lnTo>
                      <a:lnTo>
                        <a:pt x="233" y="0"/>
                      </a:lnTo>
                      <a:lnTo>
                        <a:pt x="239" y="1"/>
                      </a:lnTo>
                      <a:lnTo>
                        <a:pt x="244" y="2"/>
                      </a:lnTo>
                      <a:lnTo>
                        <a:pt x="249" y="5"/>
                      </a:lnTo>
                      <a:lnTo>
                        <a:pt x="254" y="9"/>
                      </a:lnTo>
                      <a:lnTo>
                        <a:pt x="259" y="16"/>
                      </a:lnTo>
                      <a:lnTo>
                        <a:pt x="263" y="24"/>
                      </a:lnTo>
                      <a:lnTo>
                        <a:pt x="266" y="35"/>
                      </a:lnTo>
                      <a:lnTo>
                        <a:pt x="266" y="35"/>
                      </a:lnTo>
                      <a:lnTo>
                        <a:pt x="270" y="51"/>
                      </a:lnTo>
                      <a:lnTo>
                        <a:pt x="273" y="70"/>
                      </a:lnTo>
                      <a:lnTo>
                        <a:pt x="274" y="89"/>
                      </a:lnTo>
                      <a:lnTo>
                        <a:pt x="275" y="109"/>
                      </a:lnTo>
                      <a:lnTo>
                        <a:pt x="275" y="130"/>
                      </a:lnTo>
                      <a:lnTo>
                        <a:pt x="274" y="151"/>
                      </a:lnTo>
                      <a:lnTo>
                        <a:pt x="272" y="173"/>
                      </a:lnTo>
                      <a:lnTo>
                        <a:pt x="269" y="194"/>
                      </a:lnTo>
                      <a:lnTo>
                        <a:pt x="263" y="214"/>
                      </a:lnTo>
                      <a:lnTo>
                        <a:pt x="256" y="235"/>
                      </a:lnTo>
                      <a:lnTo>
                        <a:pt x="248" y="255"/>
                      </a:lnTo>
                      <a:lnTo>
                        <a:pt x="238" y="274"/>
                      </a:lnTo>
                      <a:lnTo>
                        <a:pt x="226" y="292"/>
                      </a:lnTo>
                      <a:lnTo>
                        <a:pt x="212" y="308"/>
                      </a:lnTo>
                      <a:lnTo>
                        <a:pt x="204" y="315"/>
                      </a:lnTo>
                      <a:lnTo>
                        <a:pt x="195" y="323"/>
                      </a:lnTo>
                      <a:lnTo>
                        <a:pt x="186" y="330"/>
                      </a:lnTo>
                      <a:lnTo>
                        <a:pt x="176" y="336"/>
                      </a:lnTo>
                      <a:lnTo>
                        <a:pt x="176" y="336"/>
                      </a:lnTo>
                      <a:lnTo>
                        <a:pt x="164" y="344"/>
                      </a:lnTo>
                      <a:lnTo>
                        <a:pt x="152" y="354"/>
                      </a:lnTo>
                      <a:lnTo>
                        <a:pt x="143" y="363"/>
                      </a:lnTo>
                      <a:lnTo>
                        <a:pt x="133" y="374"/>
                      </a:lnTo>
                      <a:lnTo>
                        <a:pt x="124" y="385"/>
                      </a:lnTo>
                      <a:lnTo>
                        <a:pt x="117" y="397"/>
                      </a:lnTo>
                      <a:lnTo>
                        <a:pt x="110" y="408"/>
                      </a:lnTo>
                      <a:lnTo>
                        <a:pt x="104" y="420"/>
                      </a:lnTo>
                      <a:lnTo>
                        <a:pt x="94" y="444"/>
                      </a:lnTo>
                      <a:lnTo>
                        <a:pt x="88" y="464"/>
                      </a:lnTo>
                      <a:lnTo>
                        <a:pt x="83" y="483"/>
                      </a:lnTo>
                      <a:lnTo>
                        <a:pt x="80" y="498"/>
                      </a:lnTo>
                      <a:lnTo>
                        <a:pt x="80" y="49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4" name="Freeform 10"/>
                <p:cNvSpPr>
                  <a:spLocks noEditPoints="1"/>
                </p:cNvSpPr>
                <p:nvPr/>
              </p:nvSpPr>
              <p:spPr bwMode="auto">
                <a:xfrm>
                  <a:off x="3435351" y="2679700"/>
                  <a:ext cx="58738" cy="104775"/>
                </a:xfrm>
                <a:custGeom>
                  <a:avLst/>
                  <a:gdLst>
                    <a:gd name="T0" fmla="*/ 246 w 297"/>
                    <a:gd name="T1" fmla="*/ 22 h 526"/>
                    <a:gd name="T2" fmla="*/ 257 w 297"/>
                    <a:gd name="T3" fmla="*/ 28 h 526"/>
                    <a:gd name="T4" fmla="*/ 266 w 297"/>
                    <a:gd name="T5" fmla="*/ 48 h 526"/>
                    <a:gd name="T6" fmla="*/ 273 w 297"/>
                    <a:gd name="T7" fmla="*/ 86 h 526"/>
                    <a:gd name="T8" fmla="*/ 275 w 297"/>
                    <a:gd name="T9" fmla="*/ 146 h 526"/>
                    <a:gd name="T10" fmla="*/ 267 w 297"/>
                    <a:gd name="T11" fmla="*/ 205 h 526"/>
                    <a:gd name="T12" fmla="*/ 258 w 297"/>
                    <a:gd name="T13" fmla="*/ 239 h 526"/>
                    <a:gd name="T14" fmla="*/ 230 w 297"/>
                    <a:gd name="T15" fmla="*/ 292 h 526"/>
                    <a:gd name="T16" fmla="*/ 209 w 297"/>
                    <a:gd name="T17" fmla="*/ 316 h 526"/>
                    <a:gd name="T18" fmla="*/ 182 w 297"/>
                    <a:gd name="T19" fmla="*/ 337 h 526"/>
                    <a:gd name="T20" fmla="*/ 160 w 297"/>
                    <a:gd name="T21" fmla="*/ 354 h 526"/>
                    <a:gd name="T22" fmla="*/ 133 w 297"/>
                    <a:gd name="T23" fmla="*/ 382 h 526"/>
                    <a:gd name="T24" fmla="*/ 112 w 297"/>
                    <a:gd name="T25" fmla="*/ 414 h 526"/>
                    <a:gd name="T26" fmla="*/ 88 w 297"/>
                    <a:gd name="T27" fmla="*/ 475 h 526"/>
                    <a:gd name="T28" fmla="*/ 80 w 297"/>
                    <a:gd name="T29" fmla="*/ 490 h 526"/>
                    <a:gd name="T30" fmla="*/ 65 w 297"/>
                    <a:gd name="T31" fmla="*/ 478 h 526"/>
                    <a:gd name="T32" fmla="*/ 46 w 297"/>
                    <a:gd name="T33" fmla="*/ 456 h 526"/>
                    <a:gd name="T34" fmla="*/ 32 w 297"/>
                    <a:gd name="T35" fmla="*/ 429 h 526"/>
                    <a:gd name="T36" fmla="*/ 23 w 297"/>
                    <a:gd name="T37" fmla="*/ 387 h 526"/>
                    <a:gd name="T38" fmla="*/ 24 w 297"/>
                    <a:gd name="T39" fmla="*/ 334 h 526"/>
                    <a:gd name="T40" fmla="*/ 36 w 297"/>
                    <a:gd name="T41" fmla="*/ 276 h 526"/>
                    <a:gd name="T42" fmla="*/ 59 w 297"/>
                    <a:gd name="T43" fmla="*/ 222 h 526"/>
                    <a:gd name="T44" fmla="*/ 93 w 297"/>
                    <a:gd name="T45" fmla="*/ 178 h 526"/>
                    <a:gd name="T46" fmla="*/ 121 w 297"/>
                    <a:gd name="T47" fmla="*/ 157 h 526"/>
                    <a:gd name="T48" fmla="*/ 154 w 297"/>
                    <a:gd name="T49" fmla="*/ 127 h 526"/>
                    <a:gd name="T50" fmla="*/ 183 w 297"/>
                    <a:gd name="T51" fmla="*/ 88 h 526"/>
                    <a:gd name="T52" fmla="*/ 205 w 297"/>
                    <a:gd name="T53" fmla="*/ 41 h 526"/>
                    <a:gd name="T54" fmla="*/ 215 w 297"/>
                    <a:gd name="T55" fmla="*/ 27 h 526"/>
                    <a:gd name="T56" fmla="*/ 240 w 297"/>
                    <a:gd name="T57" fmla="*/ 22 h 526"/>
                    <a:gd name="T58" fmla="*/ 230 w 297"/>
                    <a:gd name="T59" fmla="*/ 0 h 526"/>
                    <a:gd name="T60" fmla="*/ 205 w 297"/>
                    <a:gd name="T61" fmla="*/ 7 h 526"/>
                    <a:gd name="T62" fmla="*/ 189 w 297"/>
                    <a:gd name="T63" fmla="*/ 16 h 526"/>
                    <a:gd name="T64" fmla="*/ 182 w 297"/>
                    <a:gd name="T65" fmla="*/ 41 h 526"/>
                    <a:gd name="T66" fmla="*/ 162 w 297"/>
                    <a:gd name="T67" fmla="*/ 80 h 526"/>
                    <a:gd name="T68" fmla="*/ 136 w 297"/>
                    <a:gd name="T69" fmla="*/ 114 h 526"/>
                    <a:gd name="T70" fmla="*/ 94 w 297"/>
                    <a:gd name="T71" fmla="*/ 149 h 526"/>
                    <a:gd name="T72" fmla="*/ 79 w 297"/>
                    <a:gd name="T73" fmla="*/ 162 h 526"/>
                    <a:gd name="T74" fmla="*/ 41 w 297"/>
                    <a:gd name="T75" fmla="*/ 210 h 526"/>
                    <a:gd name="T76" fmla="*/ 15 w 297"/>
                    <a:gd name="T77" fmla="*/ 269 h 526"/>
                    <a:gd name="T78" fmla="*/ 2 w 297"/>
                    <a:gd name="T79" fmla="*/ 332 h 526"/>
                    <a:gd name="T80" fmla="*/ 1 w 297"/>
                    <a:gd name="T81" fmla="*/ 391 h 526"/>
                    <a:gd name="T82" fmla="*/ 12 w 297"/>
                    <a:gd name="T83" fmla="*/ 437 h 526"/>
                    <a:gd name="T84" fmla="*/ 24 w 297"/>
                    <a:gd name="T85" fmla="*/ 461 h 526"/>
                    <a:gd name="T86" fmla="*/ 45 w 297"/>
                    <a:gd name="T87" fmla="*/ 488 h 526"/>
                    <a:gd name="T88" fmla="*/ 80 w 297"/>
                    <a:gd name="T89" fmla="*/ 516 h 526"/>
                    <a:gd name="T90" fmla="*/ 100 w 297"/>
                    <a:gd name="T91" fmla="*/ 526 h 526"/>
                    <a:gd name="T92" fmla="*/ 107 w 297"/>
                    <a:gd name="T93" fmla="*/ 485 h 526"/>
                    <a:gd name="T94" fmla="*/ 127 w 297"/>
                    <a:gd name="T95" fmla="*/ 433 h 526"/>
                    <a:gd name="T96" fmla="*/ 154 w 297"/>
                    <a:gd name="T97" fmla="*/ 391 h 526"/>
                    <a:gd name="T98" fmla="*/ 194 w 297"/>
                    <a:gd name="T99" fmla="*/ 356 h 526"/>
                    <a:gd name="T100" fmla="*/ 213 w 297"/>
                    <a:gd name="T101" fmla="*/ 343 h 526"/>
                    <a:gd name="T102" fmla="*/ 244 w 297"/>
                    <a:gd name="T103" fmla="*/ 311 h 526"/>
                    <a:gd name="T104" fmla="*/ 276 w 297"/>
                    <a:gd name="T105" fmla="*/ 252 h 526"/>
                    <a:gd name="T106" fmla="*/ 294 w 297"/>
                    <a:gd name="T107" fmla="*/ 187 h 526"/>
                    <a:gd name="T108" fmla="*/ 297 w 297"/>
                    <a:gd name="T109" fmla="*/ 121 h 526"/>
                    <a:gd name="T110" fmla="*/ 292 w 297"/>
                    <a:gd name="T111" fmla="*/ 61 h 526"/>
                    <a:gd name="T112" fmla="*/ 284 w 297"/>
                    <a:gd name="T113" fmla="*/ 31 h 526"/>
                    <a:gd name="T114" fmla="*/ 269 w 297"/>
                    <a:gd name="T115" fmla="*/ 8 h 526"/>
                    <a:gd name="T116" fmla="*/ 248 w 297"/>
                    <a:gd name="T117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7" h="526">
                      <a:moveTo>
                        <a:pt x="240" y="22"/>
                      </a:moveTo>
                      <a:lnTo>
                        <a:pt x="240" y="22"/>
                      </a:lnTo>
                      <a:lnTo>
                        <a:pt x="246" y="22"/>
                      </a:lnTo>
                      <a:lnTo>
                        <a:pt x="250" y="23"/>
                      </a:lnTo>
                      <a:lnTo>
                        <a:pt x="253" y="25"/>
                      </a:lnTo>
                      <a:lnTo>
                        <a:pt x="257" y="28"/>
                      </a:lnTo>
                      <a:lnTo>
                        <a:pt x="261" y="32"/>
                      </a:lnTo>
                      <a:lnTo>
                        <a:pt x="264" y="39"/>
                      </a:lnTo>
                      <a:lnTo>
                        <a:pt x="266" y="48"/>
                      </a:lnTo>
                      <a:lnTo>
                        <a:pt x="266" y="48"/>
                      </a:lnTo>
                      <a:lnTo>
                        <a:pt x="271" y="66"/>
                      </a:lnTo>
                      <a:lnTo>
                        <a:pt x="273" y="86"/>
                      </a:lnTo>
                      <a:lnTo>
                        <a:pt x="275" y="106"/>
                      </a:lnTo>
                      <a:lnTo>
                        <a:pt x="275" y="126"/>
                      </a:lnTo>
                      <a:lnTo>
                        <a:pt x="275" y="146"/>
                      </a:lnTo>
                      <a:lnTo>
                        <a:pt x="274" y="166"/>
                      </a:lnTo>
                      <a:lnTo>
                        <a:pt x="272" y="186"/>
                      </a:lnTo>
                      <a:lnTo>
                        <a:pt x="267" y="205"/>
                      </a:lnTo>
                      <a:lnTo>
                        <a:pt x="267" y="205"/>
                      </a:lnTo>
                      <a:lnTo>
                        <a:pt x="264" y="221"/>
                      </a:lnTo>
                      <a:lnTo>
                        <a:pt x="258" y="239"/>
                      </a:lnTo>
                      <a:lnTo>
                        <a:pt x="251" y="256"/>
                      </a:lnTo>
                      <a:lnTo>
                        <a:pt x="242" y="275"/>
                      </a:lnTo>
                      <a:lnTo>
                        <a:pt x="230" y="292"/>
                      </a:lnTo>
                      <a:lnTo>
                        <a:pt x="224" y="300"/>
                      </a:lnTo>
                      <a:lnTo>
                        <a:pt x="217" y="309"/>
                      </a:lnTo>
                      <a:lnTo>
                        <a:pt x="209" y="316"/>
                      </a:lnTo>
                      <a:lnTo>
                        <a:pt x="201" y="324"/>
                      </a:lnTo>
                      <a:lnTo>
                        <a:pt x="192" y="331"/>
                      </a:lnTo>
                      <a:lnTo>
                        <a:pt x="182" y="337"/>
                      </a:lnTo>
                      <a:lnTo>
                        <a:pt x="182" y="337"/>
                      </a:lnTo>
                      <a:lnTo>
                        <a:pt x="171" y="345"/>
                      </a:lnTo>
                      <a:lnTo>
                        <a:pt x="160" y="354"/>
                      </a:lnTo>
                      <a:lnTo>
                        <a:pt x="150" y="362"/>
                      </a:lnTo>
                      <a:lnTo>
                        <a:pt x="140" y="372"/>
                      </a:lnTo>
                      <a:lnTo>
                        <a:pt x="133" y="382"/>
                      </a:lnTo>
                      <a:lnTo>
                        <a:pt x="125" y="393"/>
                      </a:lnTo>
                      <a:lnTo>
                        <a:pt x="118" y="403"/>
                      </a:lnTo>
                      <a:lnTo>
                        <a:pt x="112" y="414"/>
                      </a:lnTo>
                      <a:lnTo>
                        <a:pt x="101" y="435"/>
                      </a:lnTo>
                      <a:lnTo>
                        <a:pt x="93" y="456"/>
                      </a:lnTo>
                      <a:lnTo>
                        <a:pt x="88" y="475"/>
                      </a:lnTo>
                      <a:lnTo>
                        <a:pt x="83" y="492"/>
                      </a:lnTo>
                      <a:lnTo>
                        <a:pt x="83" y="492"/>
                      </a:lnTo>
                      <a:lnTo>
                        <a:pt x="80" y="490"/>
                      </a:lnTo>
                      <a:lnTo>
                        <a:pt x="80" y="490"/>
                      </a:lnTo>
                      <a:lnTo>
                        <a:pt x="72" y="484"/>
                      </a:lnTo>
                      <a:lnTo>
                        <a:pt x="65" y="478"/>
                      </a:lnTo>
                      <a:lnTo>
                        <a:pt x="58" y="471"/>
                      </a:lnTo>
                      <a:lnTo>
                        <a:pt x="52" y="463"/>
                      </a:lnTo>
                      <a:lnTo>
                        <a:pt x="46" y="456"/>
                      </a:lnTo>
                      <a:lnTo>
                        <a:pt x="41" y="447"/>
                      </a:lnTo>
                      <a:lnTo>
                        <a:pt x="32" y="429"/>
                      </a:lnTo>
                      <a:lnTo>
                        <a:pt x="32" y="429"/>
                      </a:lnTo>
                      <a:lnTo>
                        <a:pt x="27" y="416"/>
                      </a:lnTo>
                      <a:lnTo>
                        <a:pt x="24" y="402"/>
                      </a:lnTo>
                      <a:lnTo>
                        <a:pt x="23" y="387"/>
                      </a:lnTo>
                      <a:lnTo>
                        <a:pt x="22" y="370"/>
                      </a:lnTo>
                      <a:lnTo>
                        <a:pt x="22" y="351"/>
                      </a:lnTo>
                      <a:lnTo>
                        <a:pt x="24" y="334"/>
                      </a:lnTo>
                      <a:lnTo>
                        <a:pt x="26" y="314"/>
                      </a:lnTo>
                      <a:lnTo>
                        <a:pt x="31" y="296"/>
                      </a:lnTo>
                      <a:lnTo>
                        <a:pt x="36" y="276"/>
                      </a:lnTo>
                      <a:lnTo>
                        <a:pt x="43" y="257"/>
                      </a:lnTo>
                      <a:lnTo>
                        <a:pt x="50" y="240"/>
                      </a:lnTo>
                      <a:lnTo>
                        <a:pt x="59" y="222"/>
                      </a:lnTo>
                      <a:lnTo>
                        <a:pt x="69" y="206"/>
                      </a:lnTo>
                      <a:lnTo>
                        <a:pt x="80" y="191"/>
                      </a:lnTo>
                      <a:lnTo>
                        <a:pt x="93" y="178"/>
                      </a:lnTo>
                      <a:lnTo>
                        <a:pt x="106" y="167"/>
                      </a:lnTo>
                      <a:lnTo>
                        <a:pt x="106" y="167"/>
                      </a:lnTo>
                      <a:lnTo>
                        <a:pt x="121" y="157"/>
                      </a:lnTo>
                      <a:lnTo>
                        <a:pt x="133" y="148"/>
                      </a:lnTo>
                      <a:lnTo>
                        <a:pt x="144" y="138"/>
                      </a:lnTo>
                      <a:lnTo>
                        <a:pt x="154" y="127"/>
                      </a:lnTo>
                      <a:lnTo>
                        <a:pt x="162" y="117"/>
                      </a:lnTo>
                      <a:lnTo>
                        <a:pt x="170" y="107"/>
                      </a:lnTo>
                      <a:lnTo>
                        <a:pt x="183" y="88"/>
                      </a:lnTo>
                      <a:lnTo>
                        <a:pt x="193" y="71"/>
                      </a:lnTo>
                      <a:lnTo>
                        <a:pt x="201" y="54"/>
                      </a:lnTo>
                      <a:lnTo>
                        <a:pt x="205" y="41"/>
                      </a:lnTo>
                      <a:lnTo>
                        <a:pt x="208" y="30"/>
                      </a:lnTo>
                      <a:lnTo>
                        <a:pt x="208" y="30"/>
                      </a:lnTo>
                      <a:lnTo>
                        <a:pt x="215" y="27"/>
                      </a:lnTo>
                      <a:lnTo>
                        <a:pt x="224" y="24"/>
                      </a:lnTo>
                      <a:lnTo>
                        <a:pt x="231" y="22"/>
                      </a:lnTo>
                      <a:lnTo>
                        <a:pt x="240" y="22"/>
                      </a:lnTo>
                      <a:close/>
                      <a:moveTo>
                        <a:pt x="240" y="0"/>
                      </a:moveTo>
                      <a:lnTo>
                        <a:pt x="240" y="0"/>
                      </a:lnTo>
                      <a:lnTo>
                        <a:pt x="230" y="0"/>
                      </a:lnTo>
                      <a:lnTo>
                        <a:pt x="221" y="2"/>
                      </a:lnTo>
                      <a:lnTo>
                        <a:pt x="213" y="4"/>
                      </a:lnTo>
                      <a:lnTo>
                        <a:pt x="205" y="7"/>
                      </a:lnTo>
                      <a:lnTo>
                        <a:pt x="193" y="13"/>
                      </a:lnTo>
                      <a:lnTo>
                        <a:pt x="189" y="16"/>
                      </a:lnTo>
                      <a:lnTo>
                        <a:pt x="189" y="16"/>
                      </a:lnTo>
                      <a:lnTo>
                        <a:pt x="189" y="18"/>
                      </a:lnTo>
                      <a:lnTo>
                        <a:pt x="186" y="28"/>
                      </a:lnTo>
                      <a:lnTo>
                        <a:pt x="182" y="41"/>
                      </a:lnTo>
                      <a:lnTo>
                        <a:pt x="174" y="60"/>
                      </a:lnTo>
                      <a:lnTo>
                        <a:pt x="169" y="70"/>
                      </a:lnTo>
                      <a:lnTo>
                        <a:pt x="162" y="80"/>
                      </a:lnTo>
                      <a:lnTo>
                        <a:pt x="155" y="91"/>
                      </a:lnTo>
                      <a:lnTo>
                        <a:pt x="146" y="103"/>
                      </a:lnTo>
                      <a:lnTo>
                        <a:pt x="136" y="114"/>
                      </a:lnTo>
                      <a:lnTo>
                        <a:pt x="124" y="126"/>
                      </a:lnTo>
                      <a:lnTo>
                        <a:pt x="110" y="138"/>
                      </a:lnTo>
                      <a:lnTo>
                        <a:pt x="94" y="149"/>
                      </a:lnTo>
                      <a:lnTo>
                        <a:pt x="94" y="149"/>
                      </a:lnTo>
                      <a:lnTo>
                        <a:pt x="87" y="155"/>
                      </a:lnTo>
                      <a:lnTo>
                        <a:pt x="79" y="162"/>
                      </a:lnTo>
                      <a:lnTo>
                        <a:pt x="65" y="176"/>
                      </a:lnTo>
                      <a:lnTo>
                        <a:pt x="52" y="193"/>
                      </a:lnTo>
                      <a:lnTo>
                        <a:pt x="41" y="210"/>
                      </a:lnTo>
                      <a:lnTo>
                        <a:pt x="31" y="229"/>
                      </a:lnTo>
                      <a:lnTo>
                        <a:pt x="22" y="248"/>
                      </a:lnTo>
                      <a:lnTo>
                        <a:pt x="15" y="269"/>
                      </a:lnTo>
                      <a:lnTo>
                        <a:pt x="10" y="290"/>
                      </a:lnTo>
                      <a:lnTo>
                        <a:pt x="6" y="311"/>
                      </a:lnTo>
                      <a:lnTo>
                        <a:pt x="2" y="332"/>
                      </a:lnTo>
                      <a:lnTo>
                        <a:pt x="0" y="353"/>
                      </a:lnTo>
                      <a:lnTo>
                        <a:pt x="0" y="372"/>
                      </a:lnTo>
                      <a:lnTo>
                        <a:pt x="1" y="391"/>
                      </a:lnTo>
                      <a:lnTo>
                        <a:pt x="3" y="407"/>
                      </a:lnTo>
                      <a:lnTo>
                        <a:pt x="7" y="424"/>
                      </a:lnTo>
                      <a:lnTo>
                        <a:pt x="12" y="437"/>
                      </a:lnTo>
                      <a:lnTo>
                        <a:pt x="12" y="437"/>
                      </a:lnTo>
                      <a:lnTo>
                        <a:pt x="18" y="450"/>
                      </a:lnTo>
                      <a:lnTo>
                        <a:pt x="24" y="461"/>
                      </a:lnTo>
                      <a:lnTo>
                        <a:pt x="31" y="472"/>
                      </a:lnTo>
                      <a:lnTo>
                        <a:pt x="38" y="481"/>
                      </a:lnTo>
                      <a:lnTo>
                        <a:pt x="45" y="488"/>
                      </a:lnTo>
                      <a:lnTo>
                        <a:pt x="53" y="496"/>
                      </a:lnTo>
                      <a:lnTo>
                        <a:pt x="67" y="507"/>
                      </a:lnTo>
                      <a:lnTo>
                        <a:pt x="80" y="516"/>
                      </a:lnTo>
                      <a:lnTo>
                        <a:pt x="90" y="521"/>
                      </a:lnTo>
                      <a:lnTo>
                        <a:pt x="100" y="526"/>
                      </a:lnTo>
                      <a:lnTo>
                        <a:pt x="100" y="526"/>
                      </a:lnTo>
                      <a:lnTo>
                        <a:pt x="101" y="520"/>
                      </a:lnTo>
                      <a:lnTo>
                        <a:pt x="103" y="506"/>
                      </a:lnTo>
                      <a:lnTo>
                        <a:pt x="107" y="485"/>
                      </a:lnTo>
                      <a:lnTo>
                        <a:pt x="115" y="460"/>
                      </a:lnTo>
                      <a:lnTo>
                        <a:pt x="121" y="446"/>
                      </a:lnTo>
                      <a:lnTo>
                        <a:pt x="127" y="433"/>
                      </a:lnTo>
                      <a:lnTo>
                        <a:pt x="135" y="418"/>
                      </a:lnTo>
                      <a:lnTo>
                        <a:pt x="144" y="404"/>
                      </a:lnTo>
                      <a:lnTo>
                        <a:pt x="154" y="391"/>
                      </a:lnTo>
                      <a:lnTo>
                        <a:pt x="166" y="378"/>
                      </a:lnTo>
                      <a:lnTo>
                        <a:pt x="179" y="367"/>
                      </a:lnTo>
                      <a:lnTo>
                        <a:pt x="194" y="356"/>
                      </a:lnTo>
                      <a:lnTo>
                        <a:pt x="194" y="356"/>
                      </a:lnTo>
                      <a:lnTo>
                        <a:pt x="204" y="349"/>
                      </a:lnTo>
                      <a:lnTo>
                        <a:pt x="213" y="343"/>
                      </a:lnTo>
                      <a:lnTo>
                        <a:pt x="221" y="335"/>
                      </a:lnTo>
                      <a:lnTo>
                        <a:pt x="229" y="327"/>
                      </a:lnTo>
                      <a:lnTo>
                        <a:pt x="244" y="311"/>
                      </a:lnTo>
                      <a:lnTo>
                        <a:pt x="257" y="292"/>
                      </a:lnTo>
                      <a:lnTo>
                        <a:pt x="267" y="273"/>
                      </a:lnTo>
                      <a:lnTo>
                        <a:pt x="276" y="252"/>
                      </a:lnTo>
                      <a:lnTo>
                        <a:pt x="284" y="231"/>
                      </a:lnTo>
                      <a:lnTo>
                        <a:pt x="289" y="209"/>
                      </a:lnTo>
                      <a:lnTo>
                        <a:pt x="294" y="187"/>
                      </a:lnTo>
                      <a:lnTo>
                        <a:pt x="296" y="165"/>
                      </a:lnTo>
                      <a:lnTo>
                        <a:pt x="297" y="143"/>
                      </a:lnTo>
                      <a:lnTo>
                        <a:pt x="297" y="121"/>
                      </a:lnTo>
                      <a:lnTo>
                        <a:pt x="297" y="100"/>
                      </a:lnTo>
                      <a:lnTo>
                        <a:pt x="295" y="81"/>
                      </a:lnTo>
                      <a:lnTo>
                        <a:pt x="292" y="61"/>
                      </a:lnTo>
                      <a:lnTo>
                        <a:pt x="288" y="43"/>
                      </a:lnTo>
                      <a:lnTo>
                        <a:pt x="288" y="43"/>
                      </a:lnTo>
                      <a:lnTo>
                        <a:pt x="284" y="31"/>
                      </a:lnTo>
                      <a:lnTo>
                        <a:pt x="280" y="22"/>
                      </a:lnTo>
                      <a:lnTo>
                        <a:pt x="274" y="14"/>
                      </a:lnTo>
                      <a:lnTo>
                        <a:pt x="269" y="8"/>
                      </a:lnTo>
                      <a:lnTo>
                        <a:pt x="262" y="4"/>
                      </a:lnTo>
                      <a:lnTo>
                        <a:pt x="254" y="2"/>
                      </a:lnTo>
                      <a:lnTo>
                        <a:pt x="248" y="0"/>
                      </a:lnTo>
                      <a:lnTo>
                        <a:pt x="240" y="0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5" name="Freeform 11"/>
                <p:cNvSpPr>
                  <a:spLocks/>
                </p:cNvSpPr>
                <p:nvPr/>
              </p:nvSpPr>
              <p:spPr bwMode="auto">
                <a:xfrm>
                  <a:off x="3438526" y="2684463"/>
                  <a:ext cx="50800" cy="93663"/>
                </a:xfrm>
                <a:custGeom>
                  <a:avLst/>
                  <a:gdLst>
                    <a:gd name="T0" fmla="*/ 218 w 253"/>
                    <a:gd name="T1" fmla="*/ 0 h 470"/>
                    <a:gd name="T2" fmla="*/ 228 w 253"/>
                    <a:gd name="T3" fmla="*/ 1 h 470"/>
                    <a:gd name="T4" fmla="*/ 235 w 253"/>
                    <a:gd name="T5" fmla="*/ 6 h 470"/>
                    <a:gd name="T6" fmla="*/ 242 w 253"/>
                    <a:gd name="T7" fmla="*/ 17 h 470"/>
                    <a:gd name="T8" fmla="*/ 244 w 253"/>
                    <a:gd name="T9" fmla="*/ 26 h 470"/>
                    <a:gd name="T10" fmla="*/ 251 w 253"/>
                    <a:gd name="T11" fmla="*/ 64 h 470"/>
                    <a:gd name="T12" fmla="*/ 253 w 253"/>
                    <a:gd name="T13" fmla="*/ 104 h 470"/>
                    <a:gd name="T14" fmla="*/ 252 w 253"/>
                    <a:gd name="T15" fmla="*/ 144 h 470"/>
                    <a:gd name="T16" fmla="*/ 245 w 253"/>
                    <a:gd name="T17" fmla="*/ 183 h 470"/>
                    <a:gd name="T18" fmla="*/ 242 w 253"/>
                    <a:gd name="T19" fmla="*/ 199 h 470"/>
                    <a:gd name="T20" fmla="*/ 229 w 253"/>
                    <a:gd name="T21" fmla="*/ 234 h 470"/>
                    <a:gd name="T22" fmla="*/ 208 w 253"/>
                    <a:gd name="T23" fmla="*/ 270 h 470"/>
                    <a:gd name="T24" fmla="*/ 195 w 253"/>
                    <a:gd name="T25" fmla="*/ 287 h 470"/>
                    <a:gd name="T26" fmla="*/ 179 w 253"/>
                    <a:gd name="T27" fmla="*/ 302 h 470"/>
                    <a:gd name="T28" fmla="*/ 160 w 253"/>
                    <a:gd name="T29" fmla="*/ 315 h 470"/>
                    <a:gd name="T30" fmla="*/ 149 w 253"/>
                    <a:gd name="T31" fmla="*/ 323 h 470"/>
                    <a:gd name="T32" fmla="*/ 128 w 253"/>
                    <a:gd name="T33" fmla="*/ 340 h 470"/>
                    <a:gd name="T34" fmla="*/ 111 w 253"/>
                    <a:gd name="T35" fmla="*/ 360 h 470"/>
                    <a:gd name="T36" fmla="*/ 96 w 253"/>
                    <a:gd name="T37" fmla="*/ 381 h 470"/>
                    <a:gd name="T38" fmla="*/ 79 w 253"/>
                    <a:gd name="T39" fmla="*/ 413 h 470"/>
                    <a:gd name="T40" fmla="*/ 66 w 253"/>
                    <a:gd name="T41" fmla="*/ 453 h 470"/>
                    <a:gd name="T42" fmla="*/ 61 w 253"/>
                    <a:gd name="T43" fmla="*/ 470 h 470"/>
                    <a:gd name="T44" fmla="*/ 58 w 253"/>
                    <a:gd name="T45" fmla="*/ 468 h 470"/>
                    <a:gd name="T46" fmla="*/ 43 w 253"/>
                    <a:gd name="T47" fmla="*/ 456 h 470"/>
                    <a:gd name="T48" fmla="*/ 30 w 253"/>
                    <a:gd name="T49" fmla="*/ 441 h 470"/>
                    <a:gd name="T50" fmla="*/ 19 w 253"/>
                    <a:gd name="T51" fmla="*/ 425 h 470"/>
                    <a:gd name="T52" fmla="*/ 10 w 253"/>
                    <a:gd name="T53" fmla="*/ 407 h 470"/>
                    <a:gd name="T54" fmla="*/ 2 w 253"/>
                    <a:gd name="T55" fmla="*/ 380 h 470"/>
                    <a:gd name="T56" fmla="*/ 0 w 253"/>
                    <a:gd name="T57" fmla="*/ 348 h 470"/>
                    <a:gd name="T58" fmla="*/ 2 w 253"/>
                    <a:gd name="T59" fmla="*/ 312 h 470"/>
                    <a:gd name="T60" fmla="*/ 9 w 253"/>
                    <a:gd name="T61" fmla="*/ 274 h 470"/>
                    <a:gd name="T62" fmla="*/ 21 w 253"/>
                    <a:gd name="T63" fmla="*/ 235 h 470"/>
                    <a:gd name="T64" fmla="*/ 37 w 253"/>
                    <a:gd name="T65" fmla="*/ 200 h 470"/>
                    <a:gd name="T66" fmla="*/ 58 w 253"/>
                    <a:gd name="T67" fmla="*/ 169 h 470"/>
                    <a:gd name="T68" fmla="*/ 84 w 253"/>
                    <a:gd name="T69" fmla="*/ 145 h 470"/>
                    <a:gd name="T70" fmla="*/ 99 w 253"/>
                    <a:gd name="T71" fmla="*/ 135 h 470"/>
                    <a:gd name="T72" fmla="*/ 122 w 253"/>
                    <a:gd name="T73" fmla="*/ 116 h 470"/>
                    <a:gd name="T74" fmla="*/ 140 w 253"/>
                    <a:gd name="T75" fmla="*/ 95 h 470"/>
                    <a:gd name="T76" fmla="*/ 161 w 253"/>
                    <a:gd name="T77" fmla="*/ 66 h 470"/>
                    <a:gd name="T78" fmla="*/ 179 w 253"/>
                    <a:gd name="T79" fmla="*/ 32 h 470"/>
                    <a:gd name="T80" fmla="*/ 186 w 253"/>
                    <a:gd name="T81" fmla="*/ 8 h 470"/>
                    <a:gd name="T82" fmla="*/ 193 w 253"/>
                    <a:gd name="T83" fmla="*/ 5 h 470"/>
                    <a:gd name="T84" fmla="*/ 209 w 253"/>
                    <a:gd name="T85" fmla="*/ 0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53" h="470">
                      <a:moveTo>
                        <a:pt x="218" y="0"/>
                      </a:moveTo>
                      <a:lnTo>
                        <a:pt x="218" y="0"/>
                      </a:lnTo>
                      <a:lnTo>
                        <a:pt x="224" y="0"/>
                      </a:lnTo>
                      <a:lnTo>
                        <a:pt x="228" y="1"/>
                      </a:lnTo>
                      <a:lnTo>
                        <a:pt x="231" y="3"/>
                      </a:lnTo>
                      <a:lnTo>
                        <a:pt x="235" y="6"/>
                      </a:lnTo>
                      <a:lnTo>
                        <a:pt x="239" y="10"/>
                      </a:lnTo>
                      <a:lnTo>
                        <a:pt x="242" y="17"/>
                      </a:lnTo>
                      <a:lnTo>
                        <a:pt x="244" y="26"/>
                      </a:lnTo>
                      <a:lnTo>
                        <a:pt x="244" y="26"/>
                      </a:lnTo>
                      <a:lnTo>
                        <a:pt x="249" y="44"/>
                      </a:lnTo>
                      <a:lnTo>
                        <a:pt x="251" y="64"/>
                      </a:lnTo>
                      <a:lnTo>
                        <a:pt x="253" y="84"/>
                      </a:lnTo>
                      <a:lnTo>
                        <a:pt x="253" y="104"/>
                      </a:lnTo>
                      <a:lnTo>
                        <a:pt x="253" y="124"/>
                      </a:lnTo>
                      <a:lnTo>
                        <a:pt x="252" y="144"/>
                      </a:lnTo>
                      <a:lnTo>
                        <a:pt x="250" y="164"/>
                      </a:lnTo>
                      <a:lnTo>
                        <a:pt x="245" y="183"/>
                      </a:lnTo>
                      <a:lnTo>
                        <a:pt x="245" y="183"/>
                      </a:lnTo>
                      <a:lnTo>
                        <a:pt x="242" y="199"/>
                      </a:lnTo>
                      <a:lnTo>
                        <a:pt x="236" y="217"/>
                      </a:lnTo>
                      <a:lnTo>
                        <a:pt x="229" y="234"/>
                      </a:lnTo>
                      <a:lnTo>
                        <a:pt x="220" y="253"/>
                      </a:lnTo>
                      <a:lnTo>
                        <a:pt x="208" y="270"/>
                      </a:lnTo>
                      <a:lnTo>
                        <a:pt x="202" y="278"/>
                      </a:lnTo>
                      <a:lnTo>
                        <a:pt x="195" y="287"/>
                      </a:lnTo>
                      <a:lnTo>
                        <a:pt x="187" y="294"/>
                      </a:lnTo>
                      <a:lnTo>
                        <a:pt x="179" y="302"/>
                      </a:lnTo>
                      <a:lnTo>
                        <a:pt x="170" y="309"/>
                      </a:lnTo>
                      <a:lnTo>
                        <a:pt x="160" y="315"/>
                      </a:lnTo>
                      <a:lnTo>
                        <a:pt x="160" y="315"/>
                      </a:lnTo>
                      <a:lnTo>
                        <a:pt x="149" y="323"/>
                      </a:lnTo>
                      <a:lnTo>
                        <a:pt x="138" y="332"/>
                      </a:lnTo>
                      <a:lnTo>
                        <a:pt x="128" y="340"/>
                      </a:lnTo>
                      <a:lnTo>
                        <a:pt x="118" y="350"/>
                      </a:lnTo>
                      <a:lnTo>
                        <a:pt x="111" y="360"/>
                      </a:lnTo>
                      <a:lnTo>
                        <a:pt x="103" y="371"/>
                      </a:lnTo>
                      <a:lnTo>
                        <a:pt x="96" y="381"/>
                      </a:lnTo>
                      <a:lnTo>
                        <a:pt x="90" y="392"/>
                      </a:lnTo>
                      <a:lnTo>
                        <a:pt x="79" y="413"/>
                      </a:lnTo>
                      <a:lnTo>
                        <a:pt x="71" y="434"/>
                      </a:lnTo>
                      <a:lnTo>
                        <a:pt x="66" y="453"/>
                      </a:lnTo>
                      <a:lnTo>
                        <a:pt x="61" y="470"/>
                      </a:lnTo>
                      <a:lnTo>
                        <a:pt x="61" y="470"/>
                      </a:lnTo>
                      <a:lnTo>
                        <a:pt x="58" y="468"/>
                      </a:lnTo>
                      <a:lnTo>
                        <a:pt x="58" y="468"/>
                      </a:lnTo>
                      <a:lnTo>
                        <a:pt x="50" y="462"/>
                      </a:lnTo>
                      <a:lnTo>
                        <a:pt x="43" y="456"/>
                      </a:lnTo>
                      <a:lnTo>
                        <a:pt x="36" y="449"/>
                      </a:lnTo>
                      <a:lnTo>
                        <a:pt x="30" y="441"/>
                      </a:lnTo>
                      <a:lnTo>
                        <a:pt x="24" y="434"/>
                      </a:lnTo>
                      <a:lnTo>
                        <a:pt x="19" y="425"/>
                      </a:lnTo>
                      <a:lnTo>
                        <a:pt x="10" y="407"/>
                      </a:lnTo>
                      <a:lnTo>
                        <a:pt x="10" y="407"/>
                      </a:lnTo>
                      <a:lnTo>
                        <a:pt x="5" y="394"/>
                      </a:lnTo>
                      <a:lnTo>
                        <a:pt x="2" y="380"/>
                      </a:lnTo>
                      <a:lnTo>
                        <a:pt x="1" y="365"/>
                      </a:lnTo>
                      <a:lnTo>
                        <a:pt x="0" y="348"/>
                      </a:lnTo>
                      <a:lnTo>
                        <a:pt x="0" y="329"/>
                      </a:lnTo>
                      <a:lnTo>
                        <a:pt x="2" y="312"/>
                      </a:lnTo>
                      <a:lnTo>
                        <a:pt x="4" y="292"/>
                      </a:lnTo>
                      <a:lnTo>
                        <a:pt x="9" y="274"/>
                      </a:lnTo>
                      <a:lnTo>
                        <a:pt x="14" y="254"/>
                      </a:lnTo>
                      <a:lnTo>
                        <a:pt x="21" y="235"/>
                      </a:lnTo>
                      <a:lnTo>
                        <a:pt x="28" y="218"/>
                      </a:lnTo>
                      <a:lnTo>
                        <a:pt x="37" y="200"/>
                      </a:lnTo>
                      <a:lnTo>
                        <a:pt x="47" y="184"/>
                      </a:lnTo>
                      <a:lnTo>
                        <a:pt x="58" y="169"/>
                      </a:lnTo>
                      <a:lnTo>
                        <a:pt x="71" y="156"/>
                      </a:lnTo>
                      <a:lnTo>
                        <a:pt x="84" y="145"/>
                      </a:lnTo>
                      <a:lnTo>
                        <a:pt x="84" y="145"/>
                      </a:lnTo>
                      <a:lnTo>
                        <a:pt x="99" y="135"/>
                      </a:lnTo>
                      <a:lnTo>
                        <a:pt x="111" y="126"/>
                      </a:lnTo>
                      <a:lnTo>
                        <a:pt x="122" y="116"/>
                      </a:lnTo>
                      <a:lnTo>
                        <a:pt x="132" y="105"/>
                      </a:lnTo>
                      <a:lnTo>
                        <a:pt x="140" y="95"/>
                      </a:lnTo>
                      <a:lnTo>
                        <a:pt x="148" y="85"/>
                      </a:lnTo>
                      <a:lnTo>
                        <a:pt x="161" y="66"/>
                      </a:lnTo>
                      <a:lnTo>
                        <a:pt x="171" y="49"/>
                      </a:lnTo>
                      <a:lnTo>
                        <a:pt x="179" y="32"/>
                      </a:lnTo>
                      <a:lnTo>
                        <a:pt x="183" y="19"/>
                      </a:lnTo>
                      <a:lnTo>
                        <a:pt x="186" y="8"/>
                      </a:lnTo>
                      <a:lnTo>
                        <a:pt x="186" y="8"/>
                      </a:lnTo>
                      <a:lnTo>
                        <a:pt x="193" y="5"/>
                      </a:lnTo>
                      <a:lnTo>
                        <a:pt x="202" y="2"/>
                      </a:lnTo>
                      <a:lnTo>
                        <a:pt x="209" y="0"/>
                      </a:lnTo>
                      <a:lnTo>
                        <a:pt x="218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6" name="Freeform 12"/>
                <p:cNvSpPr>
                  <a:spLocks/>
                </p:cNvSpPr>
                <p:nvPr/>
              </p:nvSpPr>
              <p:spPr bwMode="auto">
                <a:xfrm>
                  <a:off x="3435351" y="2679700"/>
                  <a:ext cx="58738" cy="104775"/>
                </a:xfrm>
                <a:custGeom>
                  <a:avLst/>
                  <a:gdLst>
                    <a:gd name="T0" fmla="*/ 240 w 297"/>
                    <a:gd name="T1" fmla="*/ 0 h 526"/>
                    <a:gd name="T2" fmla="*/ 221 w 297"/>
                    <a:gd name="T3" fmla="*/ 2 h 526"/>
                    <a:gd name="T4" fmla="*/ 205 w 297"/>
                    <a:gd name="T5" fmla="*/ 7 h 526"/>
                    <a:gd name="T6" fmla="*/ 189 w 297"/>
                    <a:gd name="T7" fmla="*/ 16 h 526"/>
                    <a:gd name="T8" fmla="*/ 189 w 297"/>
                    <a:gd name="T9" fmla="*/ 18 h 526"/>
                    <a:gd name="T10" fmla="*/ 182 w 297"/>
                    <a:gd name="T11" fmla="*/ 41 h 526"/>
                    <a:gd name="T12" fmla="*/ 169 w 297"/>
                    <a:gd name="T13" fmla="*/ 70 h 526"/>
                    <a:gd name="T14" fmla="*/ 155 w 297"/>
                    <a:gd name="T15" fmla="*/ 91 h 526"/>
                    <a:gd name="T16" fmla="*/ 136 w 297"/>
                    <a:gd name="T17" fmla="*/ 114 h 526"/>
                    <a:gd name="T18" fmla="*/ 110 w 297"/>
                    <a:gd name="T19" fmla="*/ 138 h 526"/>
                    <a:gd name="T20" fmla="*/ 94 w 297"/>
                    <a:gd name="T21" fmla="*/ 149 h 526"/>
                    <a:gd name="T22" fmla="*/ 79 w 297"/>
                    <a:gd name="T23" fmla="*/ 162 h 526"/>
                    <a:gd name="T24" fmla="*/ 52 w 297"/>
                    <a:gd name="T25" fmla="*/ 193 h 526"/>
                    <a:gd name="T26" fmla="*/ 31 w 297"/>
                    <a:gd name="T27" fmla="*/ 229 h 526"/>
                    <a:gd name="T28" fmla="*/ 15 w 297"/>
                    <a:gd name="T29" fmla="*/ 269 h 526"/>
                    <a:gd name="T30" fmla="*/ 6 w 297"/>
                    <a:gd name="T31" fmla="*/ 311 h 526"/>
                    <a:gd name="T32" fmla="*/ 0 w 297"/>
                    <a:gd name="T33" fmla="*/ 353 h 526"/>
                    <a:gd name="T34" fmla="*/ 1 w 297"/>
                    <a:gd name="T35" fmla="*/ 391 h 526"/>
                    <a:gd name="T36" fmla="*/ 7 w 297"/>
                    <a:gd name="T37" fmla="*/ 424 h 526"/>
                    <a:gd name="T38" fmla="*/ 12 w 297"/>
                    <a:gd name="T39" fmla="*/ 437 h 526"/>
                    <a:gd name="T40" fmla="*/ 24 w 297"/>
                    <a:gd name="T41" fmla="*/ 461 h 526"/>
                    <a:gd name="T42" fmla="*/ 38 w 297"/>
                    <a:gd name="T43" fmla="*/ 481 h 526"/>
                    <a:gd name="T44" fmla="*/ 53 w 297"/>
                    <a:gd name="T45" fmla="*/ 496 h 526"/>
                    <a:gd name="T46" fmla="*/ 80 w 297"/>
                    <a:gd name="T47" fmla="*/ 516 h 526"/>
                    <a:gd name="T48" fmla="*/ 100 w 297"/>
                    <a:gd name="T49" fmla="*/ 526 h 526"/>
                    <a:gd name="T50" fmla="*/ 101 w 297"/>
                    <a:gd name="T51" fmla="*/ 520 h 526"/>
                    <a:gd name="T52" fmla="*/ 107 w 297"/>
                    <a:gd name="T53" fmla="*/ 485 h 526"/>
                    <a:gd name="T54" fmla="*/ 121 w 297"/>
                    <a:gd name="T55" fmla="*/ 446 h 526"/>
                    <a:gd name="T56" fmla="*/ 135 w 297"/>
                    <a:gd name="T57" fmla="*/ 418 h 526"/>
                    <a:gd name="T58" fmla="*/ 154 w 297"/>
                    <a:gd name="T59" fmla="*/ 391 h 526"/>
                    <a:gd name="T60" fmla="*/ 179 w 297"/>
                    <a:gd name="T61" fmla="*/ 367 h 526"/>
                    <a:gd name="T62" fmla="*/ 194 w 297"/>
                    <a:gd name="T63" fmla="*/ 356 h 526"/>
                    <a:gd name="T64" fmla="*/ 213 w 297"/>
                    <a:gd name="T65" fmla="*/ 343 h 526"/>
                    <a:gd name="T66" fmla="*/ 229 w 297"/>
                    <a:gd name="T67" fmla="*/ 327 h 526"/>
                    <a:gd name="T68" fmla="*/ 257 w 297"/>
                    <a:gd name="T69" fmla="*/ 292 h 526"/>
                    <a:gd name="T70" fmla="*/ 276 w 297"/>
                    <a:gd name="T71" fmla="*/ 252 h 526"/>
                    <a:gd name="T72" fmla="*/ 289 w 297"/>
                    <a:gd name="T73" fmla="*/ 209 h 526"/>
                    <a:gd name="T74" fmla="*/ 296 w 297"/>
                    <a:gd name="T75" fmla="*/ 165 h 526"/>
                    <a:gd name="T76" fmla="*/ 297 w 297"/>
                    <a:gd name="T77" fmla="*/ 121 h 526"/>
                    <a:gd name="T78" fmla="*/ 295 w 297"/>
                    <a:gd name="T79" fmla="*/ 81 h 526"/>
                    <a:gd name="T80" fmla="*/ 288 w 297"/>
                    <a:gd name="T81" fmla="*/ 43 h 526"/>
                    <a:gd name="T82" fmla="*/ 284 w 297"/>
                    <a:gd name="T83" fmla="*/ 31 h 526"/>
                    <a:gd name="T84" fmla="*/ 274 w 297"/>
                    <a:gd name="T85" fmla="*/ 14 h 526"/>
                    <a:gd name="T86" fmla="*/ 262 w 297"/>
                    <a:gd name="T87" fmla="*/ 4 h 526"/>
                    <a:gd name="T88" fmla="*/ 248 w 297"/>
                    <a:gd name="T89" fmla="*/ 0 h 526"/>
                    <a:gd name="T90" fmla="*/ 240 w 297"/>
                    <a:gd name="T91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97" h="526">
                      <a:moveTo>
                        <a:pt x="240" y="0"/>
                      </a:moveTo>
                      <a:lnTo>
                        <a:pt x="240" y="0"/>
                      </a:lnTo>
                      <a:lnTo>
                        <a:pt x="230" y="0"/>
                      </a:lnTo>
                      <a:lnTo>
                        <a:pt x="221" y="2"/>
                      </a:lnTo>
                      <a:lnTo>
                        <a:pt x="213" y="4"/>
                      </a:lnTo>
                      <a:lnTo>
                        <a:pt x="205" y="7"/>
                      </a:lnTo>
                      <a:lnTo>
                        <a:pt x="193" y="13"/>
                      </a:lnTo>
                      <a:lnTo>
                        <a:pt x="189" y="16"/>
                      </a:lnTo>
                      <a:lnTo>
                        <a:pt x="189" y="16"/>
                      </a:lnTo>
                      <a:lnTo>
                        <a:pt x="189" y="18"/>
                      </a:lnTo>
                      <a:lnTo>
                        <a:pt x="186" y="28"/>
                      </a:lnTo>
                      <a:lnTo>
                        <a:pt x="182" y="41"/>
                      </a:lnTo>
                      <a:lnTo>
                        <a:pt x="174" y="60"/>
                      </a:lnTo>
                      <a:lnTo>
                        <a:pt x="169" y="70"/>
                      </a:lnTo>
                      <a:lnTo>
                        <a:pt x="162" y="80"/>
                      </a:lnTo>
                      <a:lnTo>
                        <a:pt x="155" y="91"/>
                      </a:lnTo>
                      <a:lnTo>
                        <a:pt x="146" y="103"/>
                      </a:lnTo>
                      <a:lnTo>
                        <a:pt x="136" y="114"/>
                      </a:lnTo>
                      <a:lnTo>
                        <a:pt x="124" y="126"/>
                      </a:lnTo>
                      <a:lnTo>
                        <a:pt x="110" y="138"/>
                      </a:lnTo>
                      <a:lnTo>
                        <a:pt x="94" y="149"/>
                      </a:lnTo>
                      <a:lnTo>
                        <a:pt x="94" y="149"/>
                      </a:lnTo>
                      <a:lnTo>
                        <a:pt x="87" y="155"/>
                      </a:lnTo>
                      <a:lnTo>
                        <a:pt x="79" y="162"/>
                      </a:lnTo>
                      <a:lnTo>
                        <a:pt x="65" y="176"/>
                      </a:lnTo>
                      <a:lnTo>
                        <a:pt x="52" y="193"/>
                      </a:lnTo>
                      <a:lnTo>
                        <a:pt x="41" y="210"/>
                      </a:lnTo>
                      <a:lnTo>
                        <a:pt x="31" y="229"/>
                      </a:lnTo>
                      <a:lnTo>
                        <a:pt x="22" y="248"/>
                      </a:lnTo>
                      <a:lnTo>
                        <a:pt x="15" y="269"/>
                      </a:lnTo>
                      <a:lnTo>
                        <a:pt x="10" y="290"/>
                      </a:lnTo>
                      <a:lnTo>
                        <a:pt x="6" y="311"/>
                      </a:lnTo>
                      <a:lnTo>
                        <a:pt x="2" y="332"/>
                      </a:lnTo>
                      <a:lnTo>
                        <a:pt x="0" y="353"/>
                      </a:lnTo>
                      <a:lnTo>
                        <a:pt x="0" y="372"/>
                      </a:lnTo>
                      <a:lnTo>
                        <a:pt x="1" y="391"/>
                      </a:lnTo>
                      <a:lnTo>
                        <a:pt x="3" y="407"/>
                      </a:lnTo>
                      <a:lnTo>
                        <a:pt x="7" y="424"/>
                      </a:lnTo>
                      <a:lnTo>
                        <a:pt x="12" y="437"/>
                      </a:lnTo>
                      <a:lnTo>
                        <a:pt x="12" y="437"/>
                      </a:lnTo>
                      <a:lnTo>
                        <a:pt x="18" y="450"/>
                      </a:lnTo>
                      <a:lnTo>
                        <a:pt x="24" y="461"/>
                      </a:lnTo>
                      <a:lnTo>
                        <a:pt x="31" y="472"/>
                      </a:lnTo>
                      <a:lnTo>
                        <a:pt x="38" y="481"/>
                      </a:lnTo>
                      <a:lnTo>
                        <a:pt x="45" y="488"/>
                      </a:lnTo>
                      <a:lnTo>
                        <a:pt x="53" y="496"/>
                      </a:lnTo>
                      <a:lnTo>
                        <a:pt x="67" y="507"/>
                      </a:lnTo>
                      <a:lnTo>
                        <a:pt x="80" y="516"/>
                      </a:lnTo>
                      <a:lnTo>
                        <a:pt x="90" y="521"/>
                      </a:lnTo>
                      <a:lnTo>
                        <a:pt x="100" y="526"/>
                      </a:lnTo>
                      <a:lnTo>
                        <a:pt x="100" y="526"/>
                      </a:lnTo>
                      <a:lnTo>
                        <a:pt x="101" y="520"/>
                      </a:lnTo>
                      <a:lnTo>
                        <a:pt x="103" y="506"/>
                      </a:lnTo>
                      <a:lnTo>
                        <a:pt x="107" y="485"/>
                      </a:lnTo>
                      <a:lnTo>
                        <a:pt x="115" y="460"/>
                      </a:lnTo>
                      <a:lnTo>
                        <a:pt x="121" y="446"/>
                      </a:lnTo>
                      <a:lnTo>
                        <a:pt x="127" y="433"/>
                      </a:lnTo>
                      <a:lnTo>
                        <a:pt x="135" y="418"/>
                      </a:lnTo>
                      <a:lnTo>
                        <a:pt x="144" y="404"/>
                      </a:lnTo>
                      <a:lnTo>
                        <a:pt x="154" y="391"/>
                      </a:lnTo>
                      <a:lnTo>
                        <a:pt x="166" y="378"/>
                      </a:lnTo>
                      <a:lnTo>
                        <a:pt x="179" y="367"/>
                      </a:lnTo>
                      <a:lnTo>
                        <a:pt x="194" y="356"/>
                      </a:lnTo>
                      <a:lnTo>
                        <a:pt x="194" y="356"/>
                      </a:lnTo>
                      <a:lnTo>
                        <a:pt x="204" y="349"/>
                      </a:lnTo>
                      <a:lnTo>
                        <a:pt x="213" y="343"/>
                      </a:lnTo>
                      <a:lnTo>
                        <a:pt x="221" y="335"/>
                      </a:lnTo>
                      <a:lnTo>
                        <a:pt x="229" y="327"/>
                      </a:lnTo>
                      <a:lnTo>
                        <a:pt x="244" y="311"/>
                      </a:lnTo>
                      <a:lnTo>
                        <a:pt x="257" y="292"/>
                      </a:lnTo>
                      <a:lnTo>
                        <a:pt x="267" y="273"/>
                      </a:lnTo>
                      <a:lnTo>
                        <a:pt x="276" y="252"/>
                      </a:lnTo>
                      <a:lnTo>
                        <a:pt x="284" y="231"/>
                      </a:lnTo>
                      <a:lnTo>
                        <a:pt x="289" y="209"/>
                      </a:lnTo>
                      <a:lnTo>
                        <a:pt x="294" y="187"/>
                      </a:lnTo>
                      <a:lnTo>
                        <a:pt x="296" y="165"/>
                      </a:lnTo>
                      <a:lnTo>
                        <a:pt x="297" y="143"/>
                      </a:lnTo>
                      <a:lnTo>
                        <a:pt x="297" y="121"/>
                      </a:lnTo>
                      <a:lnTo>
                        <a:pt x="297" y="100"/>
                      </a:lnTo>
                      <a:lnTo>
                        <a:pt x="295" y="81"/>
                      </a:lnTo>
                      <a:lnTo>
                        <a:pt x="292" y="61"/>
                      </a:lnTo>
                      <a:lnTo>
                        <a:pt x="288" y="43"/>
                      </a:lnTo>
                      <a:lnTo>
                        <a:pt x="288" y="43"/>
                      </a:lnTo>
                      <a:lnTo>
                        <a:pt x="284" y="31"/>
                      </a:lnTo>
                      <a:lnTo>
                        <a:pt x="280" y="22"/>
                      </a:lnTo>
                      <a:lnTo>
                        <a:pt x="274" y="14"/>
                      </a:lnTo>
                      <a:lnTo>
                        <a:pt x="269" y="8"/>
                      </a:lnTo>
                      <a:lnTo>
                        <a:pt x="262" y="4"/>
                      </a:lnTo>
                      <a:lnTo>
                        <a:pt x="254" y="2"/>
                      </a:lnTo>
                      <a:lnTo>
                        <a:pt x="248" y="0"/>
                      </a:lnTo>
                      <a:lnTo>
                        <a:pt x="240" y="0"/>
                      </a:lnTo>
                      <a:lnTo>
                        <a:pt x="240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7" name="Freeform 13"/>
                <p:cNvSpPr>
                  <a:spLocks/>
                </p:cNvSpPr>
                <p:nvPr/>
              </p:nvSpPr>
              <p:spPr bwMode="auto">
                <a:xfrm>
                  <a:off x="3332163" y="2543175"/>
                  <a:ext cx="107950" cy="53975"/>
                </a:xfrm>
                <a:custGeom>
                  <a:avLst/>
                  <a:gdLst>
                    <a:gd name="T0" fmla="*/ 0 w 551"/>
                    <a:gd name="T1" fmla="*/ 36 h 272"/>
                    <a:gd name="T2" fmla="*/ 3 w 551"/>
                    <a:gd name="T3" fmla="*/ 51 h 272"/>
                    <a:gd name="T4" fmla="*/ 9 w 551"/>
                    <a:gd name="T5" fmla="*/ 64 h 272"/>
                    <a:gd name="T6" fmla="*/ 20 w 551"/>
                    <a:gd name="T7" fmla="*/ 77 h 272"/>
                    <a:gd name="T8" fmla="*/ 39 w 551"/>
                    <a:gd name="T9" fmla="*/ 86 h 272"/>
                    <a:gd name="T10" fmla="*/ 66 w 551"/>
                    <a:gd name="T11" fmla="*/ 89 h 272"/>
                    <a:gd name="T12" fmla="*/ 103 w 551"/>
                    <a:gd name="T13" fmla="*/ 83 h 272"/>
                    <a:gd name="T14" fmla="*/ 153 w 551"/>
                    <a:gd name="T15" fmla="*/ 65 h 272"/>
                    <a:gd name="T16" fmla="*/ 216 w 551"/>
                    <a:gd name="T17" fmla="*/ 35 h 272"/>
                    <a:gd name="T18" fmla="*/ 267 w 551"/>
                    <a:gd name="T19" fmla="*/ 13 h 272"/>
                    <a:gd name="T20" fmla="*/ 272 w 551"/>
                    <a:gd name="T21" fmla="*/ 11 h 272"/>
                    <a:gd name="T22" fmla="*/ 311 w 551"/>
                    <a:gd name="T23" fmla="*/ 2 h 272"/>
                    <a:gd name="T24" fmla="*/ 339 w 551"/>
                    <a:gd name="T25" fmla="*/ 0 h 272"/>
                    <a:gd name="T26" fmla="*/ 371 w 551"/>
                    <a:gd name="T27" fmla="*/ 1 h 272"/>
                    <a:gd name="T28" fmla="*/ 405 w 551"/>
                    <a:gd name="T29" fmla="*/ 9 h 272"/>
                    <a:gd name="T30" fmla="*/ 438 w 551"/>
                    <a:gd name="T31" fmla="*/ 24 h 272"/>
                    <a:gd name="T32" fmla="*/ 454 w 551"/>
                    <a:gd name="T33" fmla="*/ 36 h 272"/>
                    <a:gd name="T34" fmla="*/ 468 w 551"/>
                    <a:gd name="T35" fmla="*/ 51 h 272"/>
                    <a:gd name="T36" fmla="*/ 483 w 551"/>
                    <a:gd name="T37" fmla="*/ 66 h 272"/>
                    <a:gd name="T38" fmla="*/ 505 w 551"/>
                    <a:gd name="T39" fmla="*/ 99 h 272"/>
                    <a:gd name="T40" fmla="*/ 522 w 551"/>
                    <a:gd name="T41" fmla="*/ 129 h 272"/>
                    <a:gd name="T42" fmla="*/ 534 w 551"/>
                    <a:gd name="T43" fmla="*/ 158 h 272"/>
                    <a:gd name="T44" fmla="*/ 545 w 551"/>
                    <a:gd name="T45" fmla="*/ 195 h 272"/>
                    <a:gd name="T46" fmla="*/ 551 w 551"/>
                    <a:gd name="T47" fmla="*/ 229 h 272"/>
                    <a:gd name="T48" fmla="*/ 538 w 551"/>
                    <a:gd name="T49" fmla="*/ 220 h 272"/>
                    <a:gd name="T50" fmla="*/ 504 w 551"/>
                    <a:gd name="T51" fmla="*/ 204 h 272"/>
                    <a:gd name="T52" fmla="*/ 482 w 551"/>
                    <a:gd name="T53" fmla="*/ 197 h 272"/>
                    <a:gd name="T54" fmla="*/ 457 w 551"/>
                    <a:gd name="T55" fmla="*/ 194 h 272"/>
                    <a:gd name="T56" fmla="*/ 432 w 551"/>
                    <a:gd name="T57" fmla="*/ 196 h 272"/>
                    <a:gd name="T58" fmla="*/ 407 w 551"/>
                    <a:gd name="T59" fmla="*/ 205 h 272"/>
                    <a:gd name="T60" fmla="*/ 381 w 551"/>
                    <a:gd name="T61" fmla="*/ 217 h 272"/>
                    <a:gd name="T62" fmla="*/ 330 w 551"/>
                    <a:gd name="T63" fmla="*/ 238 h 272"/>
                    <a:gd name="T64" fmla="*/ 271 w 551"/>
                    <a:gd name="T65" fmla="*/ 258 h 272"/>
                    <a:gd name="T66" fmla="*/ 257 w 551"/>
                    <a:gd name="T67" fmla="*/ 262 h 272"/>
                    <a:gd name="T68" fmla="*/ 234 w 551"/>
                    <a:gd name="T69" fmla="*/ 268 h 272"/>
                    <a:gd name="T70" fmla="*/ 199 w 551"/>
                    <a:gd name="T71" fmla="*/ 272 h 272"/>
                    <a:gd name="T72" fmla="*/ 155 w 551"/>
                    <a:gd name="T73" fmla="*/ 270 h 272"/>
                    <a:gd name="T74" fmla="*/ 131 w 551"/>
                    <a:gd name="T75" fmla="*/ 264 h 272"/>
                    <a:gd name="T76" fmla="*/ 108 w 551"/>
                    <a:gd name="T77" fmla="*/ 257 h 272"/>
                    <a:gd name="T78" fmla="*/ 84 w 551"/>
                    <a:gd name="T79" fmla="*/ 243 h 272"/>
                    <a:gd name="T80" fmla="*/ 63 w 551"/>
                    <a:gd name="T81" fmla="*/ 225 h 272"/>
                    <a:gd name="T82" fmla="*/ 43 w 551"/>
                    <a:gd name="T83" fmla="*/ 202 h 272"/>
                    <a:gd name="T84" fmla="*/ 27 w 551"/>
                    <a:gd name="T85" fmla="*/ 171 h 272"/>
                    <a:gd name="T86" fmla="*/ 14 w 551"/>
                    <a:gd name="T87" fmla="*/ 134 h 272"/>
                    <a:gd name="T88" fmla="*/ 4 w 551"/>
                    <a:gd name="T89" fmla="*/ 89 h 272"/>
                    <a:gd name="T90" fmla="*/ 0 w 551"/>
                    <a:gd name="T91" fmla="*/ 36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51" h="272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41"/>
                      </a:lnTo>
                      <a:lnTo>
                        <a:pt x="3" y="51"/>
                      </a:lnTo>
                      <a:lnTo>
                        <a:pt x="6" y="57"/>
                      </a:lnTo>
                      <a:lnTo>
                        <a:pt x="9" y="64"/>
                      </a:lnTo>
                      <a:lnTo>
                        <a:pt x="14" y="70"/>
                      </a:lnTo>
                      <a:lnTo>
                        <a:pt x="20" y="77"/>
                      </a:lnTo>
                      <a:lnTo>
                        <a:pt x="29" y="81"/>
                      </a:lnTo>
                      <a:lnTo>
                        <a:pt x="39" y="86"/>
                      </a:lnTo>
                      <a:lnTo>
                        <a:pt x="51" y="89"/>
                      </a:lnTo>
                      <a:lnTo>
                        <a:pt x="66" y="89"/>
                      </a:lnTo>
                      <a:lnTo>
                        <a:pt x="84" y="88"/>
                      </a:lnTo>
                      <a:lnTo>
                        <a:pt x="103" y="83"/>
                      </a:lnTo>
                      <a:lnTo>
                        <a:pt x="127" y="76"/>
                      </a:lnTo>
                      <a:lnTo>
                        <a:pt x="153" y="65"/>
                      </a:lnTo>
                      <a:lnTo>
                        <a:pt x="153" y="65"/>
                      </a:lnTo>
                      <a:lnTo>
                        <a:pt x="216" y="35"/>
                      </a:lnTo>
                      <a:lnTo>
                        <a:pt x="250" y="20"/>
                      </a:lnTo>
                      <a:lnTo>
                        <a:pt x="267" y="13"/>
                      </a:lnTo>
                      <a:lnTo>
                        <a:pt x="267" y="13"/>
                      </a:lnTo>
                      <a:lnTo>
                        <a:pt x="272" y="11"/>
                      </a:lnTo>
                      <a:lnTo>
                        <a:pt x="288" y="7"/>
                      </a:lnTo>
                      <a:lnTo>
                        <a:pt x="311" y="2"/>
                      </a:lnTo>
                      <a:lnTo>
                        <a:pt x="324" y="1"/>
                      </a:lnTo>
                      <a:lnTo>
                        <a:pt x="339" y="0"/>
                      </a:lnTo>
                      <a:lnTo>
                        <a:pt x="354" y="0"/>
                      </a:lnTo>
                      <a:lnTo>
                        <a:pt x="371" y="1"/>
                      </a:lnTo>
                      <a:lnTo>
                        <a:pt x="388" y="5"/>
                      </a:lnTo>
                      <a:lnTo>
                        <a:pt x="405" y="9"/>
                      </a:lnTo>
                      <a:lnTo>
                        <a:pt x="421" y="15"/>
                      </a:lnTo>
                      <a:lnTo>
                        <a:pt x="438" y="24"/>
                      </a:lnTo>
                      <a:lnTo>
                        <a:pt x="447" y="30"/>
                      </a:lnTo>
                      <a:lnTo>
                        <a:pt x="454" y="36"/>
                      </a:lnTo>
                      <a:lnTo>
                        <a:pt x="462" y="43"/>
                      </a:lnTo>
                      <a:lnTo>
                        <a:pt x="468" y="51"/>
                      </a:lnTo>
                      <a:lnTo>
                        <a:pt x="468" y="51"/>
                      </a:lnTo>
                      <a:lnTo>
                        <a:pt x="483" y="66"/>
                      </a:lnTo>
                      <a:lnTo>
                        <a:pt x="495" y="82"/>
                      </a:lnTo>
                      <a:lnTo>
                        <a:pt x="505" y="99"/>
                      </a:lnTo>
                      <a:lnTo>
                        <a:pt x="514" y="114"/>
                      </a:lnTo>
                      <a:lnTo>
                        <a:pt x="522" y="129"/>
                      </a:lnTo>
                      <a:lnTo>
                        <a:pt x="529" y="145"/>
                      </a:lnTo>
                      <a:lnTo>
                        <a:pt x="534" y="158"/>
                      </a:lnTo>
                      <a:lnTo>
                        <a:pt x="539" y="172"/>
                      </a:lnTo>
                      <a:lnTo>
                        <a:pt x="545" y="195"/>
                      </a:lnTo>
                      <a:lnTo>
                        <a:pt x="548" y="213"/>
                      </a:lnTo>
                      <a:lnTo>
                        <a:pt x="551" y="229"/>
                      </a:lnTo>
                      <a:lnTo>
                        <a:pt x="551" y="229"/>
                      </a:lnTo>
                      <a:lnTo>
                        <a:pt x="538" y="220"/>
                      </a:lnTo>
                      <a:lnTo>
                        <a:pt x="523" y="213"/>
                      </a:lnTo>
                      <a:lnTo>
                        <a:pt x="504" y="204"/>
                      </a:lnTo>
                      <a:lnTo>
                        <a:pt x="494" y="201"/>
                      </a:lnTo>
                      <a:lnTo>
                        <a:pt x="482" y="197"/>
                      </a:lnTo>
                      <a:lnTo>
                        <a:pt x="470" y="195"/>
                      </a:lnTo>
                      <a:lnTo>
                        <a:pt x="457" y="194"/>
                      </a:lnTo>
                      <a:lnTo>
                        <a:pt x="445" y="194"/>
                      </a:lnTo>
                      <a:lnTo>
                        <a:pt x="432" y="196"/>
                      </a:lnTo>
                      <a:lnTo>
                        <a:pt x="419" y="200"/>
                      </a:lnTo>
                      <a:lnTo>
                        <a:pt x="407" y="205"/>
                      </a:lnTo>
                      <a:lnTo>
                        <a:pt x="407" y="205"/>
                      </a:lnTo>
                      <a:lnTo>
                        <a:pt x="381" y="217"/>
                      </a:lnTo>
                      <a:lnTo>
                        <a:pt x="356" y="228"/>
                      </a:lnTo>
                      <a:lnTo>
                        <a:pt x="330" y="238"/>
                      </a:lnTo>
                      <a:lnTo>
                        <a:pt x="307" y="247"/>
                      </a:lnTo>
                      <a:lnTo>
                        <a:pt x="271" y="258"/>
                      </a:lnTo>
                      <a:lnTo>
                        <a:pt x="257" y="262"/>
                      </a:lnTo>
                      <a:lnTo>
                        <a:pt x="257" y="262"/>
                      </a:lnTo>
                      <a:lnTo>
                        <a:pt x="247" y="265"/>
                      </a:lnTo>
                      <a:lnTo>
                        <a:pt x="234" y="268"/>
                      </a:lnTo>
                      <a:lnTo>
                        <a:pt x="219" y="271"/>
                      </a:lnTo>
                      <a:lnTo>
                        <a:pt x="199" y="272"/>
                      </a:lnTo>
                      <a:lnTo>
                        <a:pt x="178" y="272"/>
                      </a:lnTo>
                      <a:lnTo>
                        <a:pt x="155" y="270"/>
                      </a:lnTo>
                      <a:lnTo>
                        <a:pt x="143" y="268"/>
                      </a:lnTo>
                      <a:lnTo>
                        <a:pt x="131" y="264"/>
                      </a:lnTo>
                      <a:lnTo>
                        <a:pt x="119" y="261"/>
                      </a:lnTo>
                      <a:lnTo>
                        <a:pt x="108" y="257"/>
                      </a:lnTo>
                      <a:lnTo>
                        <a:pt x="96" y="250"/>
                      </a:lnTo>
                      <a:lnTo>
                        <a:pt x="84" y="243"/>
                      </a:lnTo>
                      <a:lnTo>
                        <a:pt x="73" y="235"/>
                      </a:lnTo>
                      <a:lnTo>
                        <a:pt x="63" y="225"/>
                      </a:lnTo>
                      <a:lnTo>
                        <a:pt x="52" y="214"/>
                      </a:lnTo>
                      <a:lnTo>
                        <a:pt x="43" y="202"/>
                      </a:lnTo>
                      <a:lnTo>
                        <a:pt x="34" y="188"/>
                      </a:lnTo>
                      <a:lnTo>
                        <a:pt x="27" y="171"/>
                      </a:lnTo>
                      <a:lnTo>
                        <a:pt x="19" y="154"/>
                      </a:lnTo>
                      <a:lnTo>
                        <a:pt x="14" y="134"/>
                      </a:lnTo>
                      <a:lnTo>
                        <a:pt x="8" y="113"/>
                      </a:lnTo>
                      <a:lnTo>
                        <a:pt x="4" y="89"/>
                      </a:lnTo>
                      <a:lnTo>
                        <a:pt x="2" y="64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8" name="Freeform 14"/>
                <p:cNvSpPr>
                  <a:spLocks/>
                </p:cNvSpPr>
                <p:nvPr/>
              </p:nvSpPr>
              <p:spPr bwMode="auto">
                <a:xfrm>
                  <a:off x="3436938" y="2757488"/>
                  <a:ext cx="109538" cy="53975"/>
                </a:xfrm>
                <a:custGeom>
                  <a:avLst/>
                  <a:gdLst>
                    <a:gd name="T0" fmla="*/ 0 w 547"/>
                    <a:gd name="T1" fmla="*/ 36 h 273"/>
                    <a:gd name="T2" fmla="*/ 4 w 547"/>
                    <a:gd name="T3" fmla="*/ 51 h 273"/>
                    <a:gd name="T4" fmla="*/ 9 w 547"/>
                    <a:gd name="T5" fmla="*/ 64 h 273"/>
                    <a:gd name="T6" fmla="*/ 21 w 547"/>
                    <a:gd name="T7" fmla="*/ 78 h 273"/>
                    <a:gd name="T8" fmla="*/ 40 w 547"/>
                    <a:gd name="T9" fmla="*/ 87 h 273"/>
                    <a:gd name="T10" fmla="*/ 66 w 547"/>
                    <a:gd name="T11" fmla="*/ 91 h 273"/>
                    <a:gd name="T12" fmla="*/ 103 w 547"/>
                    <a:gd name="T13" fmla="*/ 84 h 273"/>
                    <a:gd name="T14" fmla="*/ 153 w 547"/>
                    <a:gd name="T15" fmla="*/ 64 h 273"/>
                    <a:gd name="T16" fmla="*/ 213 w 547"/>
                    <a:gd name="T17" fmla="*/ 36 h 273"/>
                    <a:gd name="T18" fmla="*/ 263 w 547"/>
                    <a:gd name="T19" fmla="*/ 15 h 273"/>
                    <a:gd name="T20" fmla="*/ 267 w 547"/>
                    <a:gd name="T21" fmla="*/ 13 h 273"/>
                    <a:gd name="T22" fmla="*/ 287 w 547"/>
                    <a:gd name="T23" fmla="*/ 7 h 273"/>
                    <a:gd name="T24" fmla="*/ 324 w 547"/>
                    <a:gd name="T25" fmla="*/ 1 h 273"/>
                    <a:gd name="T26" fmla="*/ 354 w 547"/>
                    <a:gd name="T27" fmla="*/ 0 h 273"/>
                    <a:gd name="T28" fmla="*/ 388 w 547"/>
                    <a:gd name="T29" fmla="*/ 4 h 273"/>
                    <a:gd name="T30" fmla="*/ 421 w 547"/>
                    <a:gd name="T31" fmla="*/ 15 h 273"/>
                    <a:gd name="T32" fmla="*/ 446 w 547"/>
                    <a:gd name="T33" fmla="*/ 30 h 273"/>
                    <a:gd name="T34" fmla="*/ 462 w 547"/>
                    <a:gd name="T35" fmla="*/ 42 h 273"/>
                    <a:gd name="T36" fmla="*/ 469 w 547"/>
                    <a:gd name="T37" fmla="*/ 50 h 273"/>
                    <a:gd name="T38" fmla="*/ 495 w 547"/>
                    <a:gd name="T39" fmla="*/ 82 h 273"/>
                    <a:gd name="T40" fmla="*/ 513 w 547"/>
                    <a:gd name="T41" fmla="*/ 113 h 273"/>
                    <a:gd name="T42" fmla="*/ 527 w 547"/>
                    <a:gd name="T43" fmla="*/ 141 h 273"/>
                    <a:gd name="T44" fmla="*/ 537 w 547"/>
                    <a:gd name="T45" fmla="*/ 167 h 273"/>
                    <a:gd name="T46" fmla="*/ 546 w 547"/>
                    <a:gd name="T47" fmla="*/ 206 h 273"/>
                    <a:gd name="T48" fmla="*/ 547 w 547"/>
                    <a:gd name="T49" fmla="*/ 220 h 273"/>
                    <a:gd name="T50" fmla="*/ 520 w 547"/>
                    <a:gd name="T51" fmla="*/ 206 h 273"/>
                    <a:gd name="T52" fmla="*/ 491 w 547"/>
                    <a:gd name="T53" fmla="*/ 197 h 273"/>
                    <a:gd name="T54" fmla="*/ 469 w 547"/>
                    <a:gd name="T55" fmla="*/ 193 h 273"/>
                    <a:gd name="T56" fmla="*/ 444 w 547"/>
                    <a:gd name="T57" fmla="*/ 194 h 273"/>
                    <a:gd name="T58" fmla="*/ 419 w 547"/>
                    <a:gd name="T59" fmla="*/ 199 h 273"/>
                    <a:gd name="T60" fmla="*/ 407 w 547"/>
                    <a:gd name="T61" fmla="*/ 205 h 273"/>
                    <a:gd name="T62" fmla="*/ 355 w 547"/>
                    <a:gd name="T63" fmla="*/ 228 h 273"/>
                    <a:gd name="T64" fmla="*/ 307 w 547"/>
                    <a:gd name="T65" fmla="*/ 246 h 273"/>
                    <a:gd name="T66" fmla="*/ 258 w 547"/>
                    <a:gd name="T67" fmla="*/ 263 h 273"/>
                    <a:gd name="T68" fmla="*/ 247 w 547"/>
                    <a:gd name="T69" fmla="*/ 266 h 273"/>
                    <a:gd name="T70" fmla="*/ 218 w 547"/>
                    <a:gd name="T71" fmla="*/ 270 h 273"/>
                    <a:gd name="T72" fmla="*/ 178 w 547"/>
                    <a:gd name="T73" fmla="*/ 273 h 273"/>
                    <a:gd name="T74" fmla="*/ 143 w 547"/>
                    <a:gd name="T75" fmla="*/ 268 h 273"/>
                    <a:gd name="T76" fmla="*/ 119 w 547"/>
                    <a:gd name="T77" fmla="*/ 261 h 273"/>
                    <a:gd name="T78" fmla="*/ 96 w 547"/>
                    <a:gd name="T79" fmla="*/ 251 h 273"/>
                    <a:gd name="T80" fmla="*/ 73 w 547"/>
                    <a:gd name="T81" fmla="*/ 235 h 273"/>
                    <a:gd name="T82" fmla="*/ 53 w 547"/>
                    <a:gd name="T83" fmla="*/ 215 h 273"/>
                    <a:gd name="T84" fmla="*/ 34 w 547"/>
                    <a:gd name="T85" fmla="*/ 187 h 273"/>
                    <a:gd name="T86" fmla="*/ 19 w 547"/>
                    <a:gd name="T87" fmla="*/ 154 h 273"/>
                    <a:gd name="T88" fmla="*/ 8 w 547"/>
                    <a:gd name="T89" fmla="*/ 113 h 273"/>
                    <a:gd name="T90" fmla="*/ 1 w 547"/>
                    <a:gd name="T91" fmla="*/ 64 h 273"/>
                    <a:gd name="T92" fmla="*/ 0 w 547"/>
                    <a:gd name="T93" fmla="*/ 36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47" h="273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40"/>
                      </a:lnTo>
                      <a:lnTo>
                        <a:pt x="4" y="51"/>
                      </a:lnTo>
                      <a:lnTo>
                        <a:pt x="6" y="57"/>
                      </a:lnTo>
                      <a:lnTo>
                        <a:pt x="9" y="64"/>
                      </a:lnTo>
                      <a:lnTo>
                        <a:pt x="14" y="71"/>
                      </a:lnTo>
                      <a:lnTo>
                        <a:pt x="21" y="78"/>
                      </a:lnTo>
                      <a:lnTo>
                        <a:pt x="29" y="83"/>
                      </a:lnTo>
                      <a:lnTo>
                        <a:pt x="40" y="87"/>
                      </a:lnTo>
                      <a:lnTo>
                        <a:pt x="52" y="90"/>
                      </a:lnTo>
                      <a:lnTo>
                        <a:pt x="66" y="91"/>
                      </a:lnTo>
                      <a:lnTo>
                        <a:pt x="84" y="89"/>
                      </a:lnTo>
                      <a:lnTo>
                        <a:pt x="103" y="84"/>
                      </a:lnTo>
                      <a:lnTo>
                        <a:pt x="126" y="76"/>
                      </a:lnTo>
                      <a:lnTo>
                        <a:pt x="153" y="64"/>
                      </a:lnTo>
                      <a:lnTo>
                        <a:pt x="153" y="64"/>
                      </a:lnTo>
                      <a:lnTo>
                        <a:pt x="213" y="36"/>
                      </a:lnTo>
                      <a:lnTo>
                        <a:pt x="247" y="21"/>
                      </a:lnTo>
                      <a:lnTo>
                        <a:pt x="263" y="15"/>
                      </a:lnTo>
                      <a:lnTo>
                        <a:pt x="267" y="13"/>
                      </a:lnTo>
                      <a:lnTo>
                        <a:pt x="267" y="13"/>
                      </a:lnTo>
                      <a:lnTo>
                        <a:pt x="272" y="12"/>
                      </a:lnTo>
                      <a:lnTo>
                        <a:pt x="287" y="7"/>
                      </a:lnTo>
                      <a:lnTo>
                        <a:pt x="310" y="3"/>
                      </a:lnTo>
                      <a:lnTo>
                        <a:pt x="324" y="1"/>
                      </a:lnTo>
                      <a:lnTo>
                        <a:pt x="339" y="0"/>
                      </a:lnTo>
                      <a:lnTo>
                        <a:pt x="354" y="0"/>
                      </a:lnTo>
                      <a:lnTo>
                        <a:pt x="371" y="2"/>
                      </a:lnTo>
                      <a:lnTo>
                        <a:pt x="388" y="4"/>
                      </a:lnTo>
                      <a:lnTo>
                        <a:pt x="405" y="9"/>
                      </a:lnTo>
                      <a:lnTo>
                        <a:pt x="421" y="15"/>
                      </a:lnTo>
                      <a:lnTo>
                        <a:pt x="438" y="25"/>
                      </a:lnTo>
                      <a:lnTo>
                        <a:pt x="446" y="30"/>
                      </a:lnTo>
                      <a:lnTo>
                        <a:pt x="454" y="36"/>
                      </a:lnTo>
                      <a:lnTo>
                        <a:pt x="462" y="42"/>
                      </a:lnTo>
                      <a:lnTo>
                        <a:pt x="469" y="50"/>
                      </a:lnTo>
                      <a:lnTo>
                        <a:pt x="469" y="50"/>
                      </a:lnTo>
                      <a:lnTo>
                        <a:pt x="482" y="67"/>
                      </a:lnTo>
                      <a:lnTo>
                        <a:pt x="495" y="82"/>
                      </a:lnTo>
                      <a:lnTo>
                        <a:pt x="504" y="97"/>
                      </a:lnTo>
                      <a:lnTo>
                        <a:pt x="513" y="113"/>
                      </a:lnTo>
                      <a:lnTo>
                        <a:pt x="521" y="128"/>
                      </a:lnTo>
                      <a:lnTo>
                        <a:pt x="527" y="141"/>
                      </a:lnTo>
                      <a:lnTo>
                        <a:pt x="533" y="154"/>
                      </a:lnTo>
                      <a:lnTo>
                        <a:pt x="537" y="167"/>
                      </a:lnTo>
                      <a:lnTo>
                        <a:pt x="543" y="188"/>
                      </a:lnTo>
                      <a:lnTo>
                        <a:pt x="546" y="206"/>
                      </a:lnTo>
                      <a:lnTo>
                        <a:pt x="547" y="220"/>
                      </a:lnTo>
                      <a:lnTo>
                        <a:pt x="547" y="220"/>
                      </a:lnTo>
                      <a:lnTo>
                        <a:pt x="534" y="212"/>
                      </a:lnTo>
                      <a:lnTo>
                        <a:pt x="520" y="206"/>
                      </a:lnTo>
                      <a:lnTo>
                        <a:pt x="502" y="199"/>
                      </a:lnTo>
                      <a:lnTo>
                        <a:pt x="491" y="197"/>
                      </a:lnTo>
                      <a:lnTo>
                        <a:pt x="480" y="195"/>
                      </a:lnTo>
                      <a:lnTo>
                        <a:pt x="469" y="193"/>
                      </a:lnTo>
                      <a:lnTo>
                        <a:pt x="457" y="193"/>
                      </a:lnTo>
                      <a:lnTo>
                        <a:pt x="444" y="194"/>
                      </a:lnTo>
                      <a:lnTo>
                        <a:pt x="432" y="196"/>
                      </a:lnTo>
                      <a:lnTo>
                        <a:pt x="419" y="199"/>
                      </a:lnTo>
                      <a:lnTo>
                        <a:pt x="407" y="205"/>
                      </a:lnTo>
                      <a:lnTo>
                        <a:pt x="407" y="205"/>
                      </a:lnTo>
                      <a:lnTo>
                        <a:pt x="381" y="217"/>
                      </a:lnTo>
                      <a:lnTo>
                        <a:pt x="355" y="228"/>
                      </a:lnTo>
                      <a:lnTo>
                        <a:pt x="330" y="238"/>
                      </a:lnTo>
                      <a:lnTo>
                        <a:pt x="307" y="246"/>
                      </a:lnTo>
                      <a:lnTo>
                        <a:pt x="271" y="258"/>
                      </a:lnTo>
                      <a:lnTo>
                        <a:pt x="258" y="263"/>
                      </a:lnTo>
                      <a:lnTo>
                        <a:pt x="258" y="263"/>
                      </a:lnTo>
                      <a:lnTo>
                        <a:pt x="247" y="266"/>
                      </a:lnTo>
                      <a:lnTo>
                        <a:pt x="234" y="268"/>
                      </a:lnTo>
                      <a:lnTo>
                        <a:pt x="218" y="270"/>
                      </a:lnTo>
                      <a:lnTo>
                        <a:pt x="199" y="273"/>
                      </a:lnTo>
                      <a:lnTo>
                        <a:pt x="178" y="273"/>
                      </a:lnTo>
                      <a:lnTo>
                        <a:pt x="155" y="270"/>
                      </a:lnTo>
                      <a:lnTo>
                        <a:pt x="143" y="268"/>
                      </a:lnTo>
                      <a:lnTo>
                        <a:pt x="131" y="265"/>
                      </a:lnTo>
                      <a:lnTo>
                        <a:pt x="119" y="261"/>
                      </a:lnTo>
                      <a:lnTo>
                        <a:pt x="108" y="256"/>
                      </a:lnTo>
                      <a:lnTo>
                        <a:pt x="96" y="251"/>
                      </a:lnTo>
                      <a:lnTo>
                        <a:pt x="85" y="243"/>
                      </a:lnTo>
                      <a:lnTo>
                        <a:pt x="73" y="235"/>
                      </a:lnTo>
                      <a:lnTo>
                        <a:pt x="63" y="226"/>
                      </a:lnTo>
                      <a:lnTo>
                        <a:pt x="53" y="215"/>
                      </a:lnTo>
                      <a:lnTo>
                        <a:pt x="43" y="201"/>
                      </a:lnTo>
                      <a:lnTo>
                        <a:pt x="34" y="187"/>
                      </a:lnTo>
                      <a:lnTo>
                        <a:pt x="27" y="172"/>
                      </a:lnTo>
                      <a:lnTo>
                        <a:pt x="19" y="154"/>
                      </a:lnTo>
                      <a:lnTo>
                        <a:pt x="13" y="135"/>
                      </a:lnTo>
                      <a:lnTo>
                        <a:pt x="8" y="113"/>
                      </a:lnTo>
                      <a:lnTo>
                        <a:pt x="5" y="90"/>
                      </a:lnTo>
                      <a:lnTo>
                        <a:pt x="1" y="64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79" name="Freeform 15"/>
                <p:cNvSpPr>
                  <a:spLocks/>
                </p:cNvSpPr>
                <p:nvPr/>
              </p:nvSpPr>
              <p:spPr bwMode="auto">
                <a:xfrm>
                  <a:off x="3484563" y="2797175"/>
                  <a:ext cx="109538" cy="101600"/>
                </a:xfrm>
                <a:custGeom>
                  <a:avLst/>
                  <a:gdLst>
                    <a:gd name="T0" fmla="*/ 547 w 550"/>
                    <a:gd name="T1" fmla="*/ 364 h 505"/>
                    <a:gd name="T2" fmla="*/ 527 w 550"/>
                    <a:gd name="T3" fmla="*/ 324 h 505"/>
                    <a:gd name="T4" fmla="*/ 497 w 550"/>
                    <a:gd name="T5" fmla="*/ 299 h 505"/>
                    <a:gd name="T6" fmla="*/ 459 w 550"/>
                    <a:gd name="T7" fmla="*/ 286 h 505"/>
                    <a:gd name="T8" fmla="*/ 416 w 550"/>
                    <a:gd name="T9" fmla="*/ 283 h 505"/>
                    <a:gd name="T10" fmla="*/ 370 w 550"/>
                    <a:gd name="T11" fmla="*/ 286 h 505"/>
                    <a:gd name="T12" fmla="*/ 280 w 550"/>
                    <a:gd name="T13" fmla="*/ 310 h 505"/>
                    <a:gd name="T14" fmla="*/ 210 w 550"/>
                    <a:gd name="T15" fmla="*/ 341 h 505"/>
                    <a:gd name="T16" fmla="*/ 184 w 550"/>
                    <a:gd name="T17" fmla="*/ 357 h 505"/>
                    <a:gd name="T18" fmla="*/ 146 w 550"/>
                    <a:gd name="T19" fmla="*/ 402 h 505"/>
                    <a:gd name="T20" fmla="*/ 127 w 550"/>
                    <a:gd name="T21" fmla="*/ 448 h 505"/>
                    <a:gd name="T22" fmla="*/ 127 w 550"/>
                    <a:gd name="T23" fmla="*/ 468 h 505"/>
                    <a:gd name="T24" fmla="*/ 134 w 550"/>
                    <a:gd name="T25" fmla="*/ 484 h 505"/>
                    <a:gd name="T26" fmla="*/ 146 w 550"/>
                    <a:gd name="T27" fmla="*/ 497 h 505"/>
                    <a:gd name="T28" fmla="*/ 165 w 550"/>
                    <a:gd name="T29" fmla="*/ 504 h 505"/>
                    <a:gd name="T30" fmla="*/ 193 w 550"/>
                    <a:gd name="T31" fmla="*/ 504 h 505"/>
                    <a:gd name="T32" fmla="*/ 227 w 550"/>
                    <a:gd name="T33" fmla="*/ 496 h 505"/>
                    <a:gd name="T34" fmla="*/ 254 w 550"/>
                    <a:gd name="T35" fmla="*/ 486 h 505"/>
                    <a:gd name="T36" fmla="*/ 297 w 550"/>
                    <a:gd name="T37" fmla="*/ 461 h 505"/>
                    <a:gd name="T38" fmla="*/ 348 w 550"/>
                    <a:gd name="T39" fmla="*/ 417 h 505"/>
                    <a:gd name="T40" fmla="*/ 396 w 550"/>
                    <a:gd name="T41" fmla="*/ 356 h 505"/>
                    <a:gd name="T42" fmla="*/ 420 w 550"/>
                    <a:gd name="T43" fmla="*/ 308 h 505"/>
                    <a:gd name="T44" fmla="*/ 431 w 550"/>
                    <a:gd name="T45" fmla="*/ 267 h 505"/>
                    <a:gd name="T46" fmla="*/ 434 w 550"/>
                    <a:gd name="T47" fmla="*/ 224 h 505"/>
                    <a:gd name="T48" fmla="*/ 428 w 550"/>
                    <a:gd name="T49" fmla="*/ 178 h 505"/>
                    <a:gd name="T50" fmla="*/ 419 w 550"/>
                    <a:gd name="T51" fmla="*/ 148 h 505"/>
                    <a:gd name="T52" fmla="*/ 398 w 550"/>
                    <a:gd name="T53" fmla="*/ 109 h 505"/>
                    <a:gd name="T54" fmla="*/ 368 w 550"/>
                    <a:gd name="T55" fmla="*/ 81 h 505"/>
                    <a:gd name="T56" fmla="*/ 333 w 550"/>
                    <a:gd name="T57" fmla="*/ 62 h 505"/>
                    <a:gd name="T58" fmla="*/ 294 w 550"/>
                    <a:gd name="T59" fmla="*/ 52 h 505"/>
                    <a:gd name="T60" fmla="*/ 252 w 550"/>
                    <a:gd name="T61" fmla="*/ 52 h 505"/>
                    <a:gd name="T62" fmla="*/ 207 w 550"/>
                    <a:gd name="T63" fmla="*/ 60 h 505"/>
                    <a:gd name="T64" fmla="*/ 163 w 550"/>
                    <a:gd name="T65" fmla="*/ 78 h 505"/>
                    <a:gd name="T66" fmla="*/ 120 w 550"/>
                    <a:gd name="T67" fmla="*/ 102 h 505"/>
                    <a:gd name="T68" fmla="*/ 81 w 550"/>
                    <a:gd name="T69" fmla="*/ 133 h 505"/>
                    <a:gd name="T70" fmla="*/ 46 w 550"/>
                    <a:gd name="T71" fmla="*/ 172 h 505"/>
                    <a:gd name="T72" fmla="*/ 21 w 550"/>
                    <a:gd name="T73" fmla="*/ 211 h 505"/>
                    <a:gd name="T74" fmla="*/ 3 w 550"/>
                    <a:gd name="T75" fmla="*/ 250 h 505"/>
                    <a:gd name="T76" fmla="*/ 0 w 550"/>
                    <a:gd name="T77" fmla="*/ 270 h 505"/>
                    <a:gd name="T78" fmla="*/ 4 w 550"/>
                    <a:gd name="T79" fmla="*/ 285 h 505"/>
                    <a:gd name="T80" fmla="*/ 14 w 550"/>
                    <a:gd name="T81" fmla="*/ 295 h 505"/>
                    <a:gd name="T82" fmla="*/ 39 w 550"/>
                    <a:gd name="T83" fmla="*/ 300 h 505"/>
                    <a:gd name="T84" fmla="*/ 75 w 550"/>
                    <a:gd name="T85" fmla="*/ 296 h 505"/>
                    <a:gd name="T86" fmla="*/ 107 w 550"/>
                    <a:gd name="T87" fmla="*/ 285 h 505"/>
                    <a:gd name="T88" fmla="*/ 138 w 550"/>
                    <a:gd name="T89" fmla="*/ 266 h 505"/>
                    <a:gd name="T90" fmla="*/ 188 w 550"/>
                    <a:gd name="T91" fmla="*/ 224 h 505"/>
                    <a:gd name="T92" fmla="*/ 237 w 550"/>
                    <a:gd name="T93" fmla="*/ 172 h 505"/>
                    <a:gd name="T94" fmla="*/ 275 w 550"/>
                    <a:gd name="T95" fmla="*/ 110 h 505"/>
                    <a:gd name="T96" fmla="*/ 297 w 550"/>
                    <a:gd name="T97" fmla="*/ 45 h 505"/>
                    <a:gd name="T98" fmla="*/ 300 w 550"/>
                    <a:gd name="T99" fmla="*/ 11 h 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50" h="505">
                      <a:moveTo>
                        <a:pt x="550" y="380"/>
                      </a:moveTo>
                      <a:lnTo>
                        <a:pt x="550" y="380"/>
                      </a:lnTo>
                      <a:lnTo>
                        <a:pt x="547" y="364"/>
                      </a:lnTo>
                      <a:lnTo>
                        <a:pt x="541" y="349"/>
                      </a:lnTo>
                      <a:lnTo>
                        <a:pt x="535" y="336"/>
                      </a:lnTo>
                      <a:lnTo>
                        <a:pt x="527" y="324"/>
                      </a:lnTo>
                      <a:lnTo>
                        <a:pt x="518" y="314"/>
                      </a:lnTo>
                      <a:lnTo>
                        <a:pt x="508" y="307"/>
                      </a:lnTo>
                      <a:lnTo>
                        <a:pt x="497" y="299"/>
                      </a:lnTo>
                      <a:lnTo>
                        <a:pt x="485" y="293"/>
                      </a:lnTo>
                      <a:lnTo>
                        <a:pt x="472" y="289"/>
                      </a:lnTo>
                      <a:lnTo>
                        <a:pt x="459" y="286"/>
                      </a:lnTo>
                      <a:lnTo>
                        <a:pt x="446" y="284"/>
                      </a:lnTo>
                      <a:lnTo>
                        <a:pt x="432" y="283"/>
                      </a:lnTo>
                      <a:lnTo>
                        <a:pt x="416" y="283"/>
                      </a:lnTo>
                      <a:lnTo>
                        <a:pt x="401" y="283"/>
                      </a:lnTo>
                      <a:lnTo>
                        <a:pt x="386" y="284"/>
                      </a:lnTo>
                      <a:lnTo>
                        <a:pt x="370" y="286"/>
                      </a:lnTo>
                      <a:lnTo>
                        <a:pt x="340" y="292"/>
                      </a:lnTo>
                      <a:lnTo>
                        <a:pt x="310" y="300"/>
                      </a:lnTo>
                      <a:lnTo>
                        <a:pt x="280" y="310"/>
                      </a:lnTo>
                      <a:lnTo>
                        <a:pt x="254" y="320"/>
                      </a:lnTo>
                      <a:lnTo>
                        <a:pt x="230" y="331"/>
                      </a:lnTo>
                      <a:lnTo>
                        <a:pt x="210" y="341"/>
                      </a:lnTo>
                      <a:lnTo>
                        <a:pt x="195" y="350"/>
                      </a:lnTo>
                      <a:lnTo>
                        <a:pt x="184" y="357"/>
                      </a:lnTo>
                      <a:lnTo>
                        <a:pt x="184" y="357"/>
                      </a:lnTo>
                      <a:lnTo>
                        <a:pt x="170" y="371"/>
                      </a:lnTo>
                      <a:lnTo>
                        <a:pt x="157" y="387"/>
                      </a:lnTo>
                      <a:lnTo>
                        <a:pt x="146" y="402"/>
                      </a:lnTo>
                      <a:lnTo>
                        <a:pt x="137" y="418"/>
                      </a:lnTo>
                      <a:lnTo>
                        <a:pt x="131" y="433"/>
                      </a:lnTo>
                      <a:lnTo>
                        <a:pt x="127" y="448"/>
                      </a:lnTo>
                      <a:lnTo>
                        <a:pt x="127" y="455"/>
                      </a:lnTo>
                      <a:lnTo>
                        <a:pt x="127" y="461"/>
                      </a:lnTo>
                      <a:lnTo>
                        <a:pt x="127" y="468"/>
                      </a:lnTo>
                      <a:lnTo>
                        <a:pt x="128" y="474"/>
                      </a:lnTo>
                      <a:lnTo>
                        <a:pt x="130" y="480"/>
                      </a:lnTo>
                      <a:lnTo>
                        <a:pt x="134" y="484"/>
                      </a:lnTo>
                      <a:lnTo>
                        <a:pt x="137" y="490"/>
                      </a:lnTo>
                      <a:lnTo>
                        <a:pt x="141" y="493"/>
                      </a:lnTo>
                      <a:lnTo>
                        <a:pt x="146" y="497"/>
                      </a:lnTo>
                      <a:lnTo>
                        <a:pt x="152" y="500"/>
                      </a:lnTo>
                      <a:lnTo>
                        <a:pt x="159" y="502"/>
                      </a:lnTo>
                      <a:lnTo>
                        <a:pt x="165" y="504"/>
                      </a:lnTo>
                      <a:lnTo>
                        <a:pt x="174" y="505"/>
                      </a:lnTo>
                      <a:lnTo>
                        <a:pt x="183" y="505"/>
                      </a:lnTo>
                      <a:lnTo>
                        <a:pt x="193" y="504"/>
                      </a:lnTo>
                      <a:lnTo>
                        <a:pt x="204" y="502"/>
                      </a:lnTo>
                      <a:lnTo>
                        <a:pt x="215" y="500"/>
                      </a:lnTo>
                      <a:lnTo>
                        <a:pt x="227" y="496"/>
                      </a:lnTo>
                      <a:lnTo>
                        <a:pt x="240" y="492"/>
                      </a:lnTo>
                      <a:lnTo>
                        <a:pt x="254" y="486"/>
                      </a:lnTo>
                      <a:lnTo>
                        <a:pt x="254" y="486"/>
                      </a:lnTo>
                      <a:lnTo>
                        <a:pt x="267" y="480"/>
                      </a:lnTo>
                      <a:lnTo>
                        <a:pt x="282" y="472"/>
                      </a:lnTo>
                      <a:lnTo>
                        <a:pt x="297" y="461"/>
                      </a:lnTo>
                      <a:lnTo>
                        <a:pt x="313" y="449"/>
                      </a:lnTo>
                      <a:lnTo>
                        <a:pt x="331" y="434"/>
                      </a:lnTo>
                      <a:lnTo>
                        <a:pt x="348" y="417"/>
                      </a:lnTo>
                      <a:lnTo>
                        <a:pt x="365" y="399"/>
                      </a:lnTo>
                      <a:lnTo>
                        <a:pt x="381" y="378"/>
                      </a:lnTo>
                      <a:lnTo>
                        <a:pt x="396" y="356"/>
                      </a:lnTo>
                      <a:lnTo>
                        <a:pt x="409" y="333"/>
                      </a:lnTo>
                      <a:lnTo>
                        <a:pt x="414" y="321"/>
                      </a:lnTo>
                      <a:lnTo>
                        <a:pt x="420" y="308"/>
                      </a:lnTo>
                      <a:lnTo>
                        <a:pt x="424" y="295"/>
                      </a:lnTo>
                      <a:lnTo>
                        <a:pt x="427" y="281"/>
                      </a:lnTo>
                      <a:lnTo>
                        <a:pt x="431" y="267"/>
                      </a:lnTo>
                      <a:lnTo>
                        <a:pt x="433" y="253"/>
                      </a:lnTo>
                      <a:lnTo>
                        <a:pt x="434" y="239"/>
                      </a:lnTo>
                      <a:lnTo>
                        <a:pt x="434" y="224"/>
                      </a:lnTo>
                      <a:lnTo>
                        <a:pt x="433" y="209"/>
                      </a:lnTo>
                      <a:lnTo>
                        <a:pt x="432" y="194"/>
                      </a:lnTo>
                      <a:lnTo>
                        <a:pt x="428" y="178"/>
                      </a:lnTo>
                      <a:lnTo>
                        <a:pt x="424" y="163"/>
                      </a:lnTo>
                      <a:lnTo>
                        <a:pt x="424" y="163"/>
                      </a:lnTo>
                      <a:lnTo>
                        <a:pt x="419" y="148"/>
                      </a:lnTo>
                      <a:lnTo>
                        <a:pt x="413" y="133"/>
                      </a:lnTo>
                      <a:lnTo>
                        <a:pt x="405" y="120"/>
                      </a:lnTo>
                      <a:lnTo>
                        <a:pt x="398" y="109"/>
                      </a:lnTo>
                      <a:lnTo>
                        <a:pt x="388" y="98"/>
                      </a:lnTo>
                      <a:lnTo>
                        <a:pt x="379" y="89"/>
                      </a:lnTo>
                      <a:lnTo>
                        <a:pt x="368" y="81"/>
                      </a:lnTo>
                      <a:lnTo>
                        <a:pt x="357" y="73"/>
                      </a:lnTo>
                      <a:lnTo>
                        <a:pt x="345" y="67"/>
                      </a:lnTo>
                      <a:lnTo>
                        <a:pt x="333" y="62"/>
                      </a:lnTo>
                      <a:lnTo>
                        <a:pt x="321" y="58"/>
                      </a:lnTo>
                      <a:lnTo>
                        <a:pt x="308" y="55"/>
                      </a:lnTo>
                      <a:lnTo>
                        <a:pt x="294" y="52"/>
                      </a:lnTo>
                      <a:lnTo>
                        <a:pt x="280" y="51"/>
                      </a:lnTo>
                      <a:lnTo>
                        <a:pt x="266" y="51"/>
                      </a:lnTo>
                      <a:lnTo>
                        <a:pt x="252" y="52"/>
                      </a:lnTo>
                      <a:lnTo>
                        <a:pt x="237" y="55"/>
                      </a:lnTo>
                      <a:lnTo>
                        <a:pt x="222" y="57"/>
                      </a:lnTo>
                      <a:lnTo>
                        <a:pt x="207" y="60"/>
                      </a:lnTo>
                      <a:lnTo>
                        <a:pt x="193" y="65"/>
                      </a:lnTo>
                      <a:lnTo>
                        <a:pt x="179" y="71"/>
                      </a:lnTo>
                      <a:lnTo>
                        <a:pt x="163" y="78"/>
                      </a:lnTo>
                      <a:lnTo>
                        <a:pt x="149" y="84"/>
                      </a:lnTo>
                      <a:lnTo>
                        <a:pt x="135" y="93"/>
                      </a:lnTo>
                      <a:lnTo>
                        <a:pt x="120" y="102"/>
                      </a:lnTo>
                      <a:lnTo>
                        <a:pt x="107" y="112"/>
                      </a:lnTo>
                      <a:lnTo>
                        <a:pt x="94" y="121"/>
                      </a:lnTo>
                      <a:lnTo>
                        <a:pt x="81" y="133"/>
                      </a:lnTo>
                      <a:lnTo>
                        <a:pt x="69" y="146"/>
                      </a:lnTo>
                      <a:lnTo>
                        <a:pt x="57" y="159"/>
                      </a:lnTo>
                      <a:lnTo>
                        <a:pt x="46" y="172"/>
                      </a:lnTo>
                      <a:lnTo>
                        <a:pt x="36" y="187"/>
                      </a:lnTo>
                      <a:lnTo>
                        <a:pt x="36" y="187"/>
                      </a:lnTo>
                      <a:lnTo>
                        <a:pt x="21" y="211"/>
                      </a:lnTo>
                      <a:lnTo>
                        <a:pt x="10" y="232"/>
                      </a:lnTo>
                      <a:lnTo>
                        <a:pt x="5" y="241"/>
                      </a:lnTo>
                      <a:lnTo>
                        <a:pt x="3" y="250"/>
                      </a:lnTo>
                      <a:lnTo>
                        <a:pt x="1" y="257"/>
                      </a:lnTo>
                      <a:lnTo>
                        <a:pt x="0" y="264"/>
                      </a:lnTo>
                      <a:lnTo>
                        <a:pt x="0" y="270"/>
                      </a:lnTo>
                      <a:lnTo>
                        <a:pt x="1" y="276"/>
                      </a:lnTo>
                      <a:lnTo>
                        <a:pt x="2" y="280"/>
                      </a:lnTo>
                      <a:lnTo>
                        <a:pt x="4" y="285"/>
                      </a:lnTo>
                      <a:lnTo>
                        <a:pt x="8" y="289"/>
                      </a:lnTo>
                      <a:lnTo>
                        <a:pt x="11" y="291"/>
                      </a:lnTo>
                      <a:lnTo>
                        <a:pt x="14" y="295"/>
                      </a:lnTo>
                      <a:lnTo>
                        <a:pt x="18" y="297"/>
                      </a:lnTo>
                      <a:lnTo>
                        <a:pt x="28" y="299"/>
                      </a:lnTo>
                      <a:lnTo>
                        <a:pt x="39" y="300"/>
                      </a:lnTo>
                      <a:lnTo>
                        <a:pt x="51" y="300"/>
                      </a:lnTo>
                      <a:lnTo>
                        <a:pt x="63" y="299"/>
                      </a:lnTo>
                      <a:lnTo>
                        <a:pt x="75" y="296"/>
                      </a:lnTo>
                      <a:lnTo>
                        <a:pt x="86" y="292"/>
                      </a:lnTo>
                      <a:lnTo>
                        <a:pt x="97" y="289"/>
                      </a:lnTo>
                      <a:lnTo>
                        <a:pt x="107" y="285"/>
                      </a:lnTo>
                      <a:lnTo>
                        <a:pt x="107" y="285"/>
                      </a:lnTo>
                      <a:lnTo>
                        <a:pt x="122" y="276"/>
                      </a:lnTo>
                      <a:lnTo>
                        <a:pt x="138" y="266"/>
                      </a:lnTo>
                      <a:lnTo>
                        <a:pt x="154" y="254"/>
                      </a:lnTo>
                      <a:lnTo>
                        <a:pt x="172" y="240"/>
                      </a:lnTo>
                      <a:lnTo>
                        <a:pt x="188" y="224"/>
                      </a:lnTo>
                      <a:lnTo>
                        <a:pt x="205" y="208"/>
                      </a:lnTo>
                      <a:lnTo>
                        <a:pt x="221" y="190"/>
                      </a:lnTo>
                      <a:lnTo>
                        <a:pt x="237" y="172"/>
                      </a:lnTo>
                      <a:lnTo>
                        <a:pt x="251" y="152"/>
                      </a:lnTo>
                      <a:lnTo>
                        <a:pt x="264" y="132"/>
                      </a:lnTo>
                      <a:lnTo>
                        <a:pt x="275" y="110"/>
                      </a:lnTo>
                      <a:lnTo>
                        <a:pt x="285" y="90"/>
                      </a:lnTo>
                      <a:lnTo>
                        <a:pt x="292" y="67"/>
                      </a:lnTo>
                      <a:lnTo>
                        <a:pt x="297" y="45"/>
                      </a:lnTo>
                      <a:lnTo>
                        <a:pt x="299" y="34"/>
                      </a:lnTo>
                      <a:lnTo>
                        <a:pt x="300" y="22"/>
                      </a:lnTo>
                      <a:lnTo>
                        <a:pt x="300" y="11"/>
                      </a:lnTo>
                      <a:lnTo>
                        <a:pt x="299" y="0"/>
                      </a:lnTo>
                    </a:path>
                  </a:pathLst>
                </a:custGeom>
                <a:noFill/>
                <a:ln w="4763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0" name="Freeform 16"/>
                <p:cNvSpPr>
                  <a:spLocks/>
                </p:cNvSpPr>
                <p:nvPr/>
              </p:nvSpPr>
              <p:spPr bwMode="auto">
                <a:xfrm>
                  <a:off x="3306763" y="2357438"/>
                  <a:ext cx="41275" cy="100013"/>
                </a:xfrm>
                <a:custGeom>
                  <a:avLst/>
                  <a:gdLst>
                    <a:gd name="T0" fmla="*/ 183 w 204"/>
                    <a:gd name="T1" fmla="*/ 504 h 504"/>
                    <a:gd name="T2" fmla="*/ 155 w 204"/>
                    <a:gd name="T3" fmla="*/ 502 h 504"/>
                    <a:gd name="T4" fmla="*/ 133 w 204"/>
                    <a:gd name="T5" fmla="*/ 496 h 504"/>
                    <a:gd name="T6" fmla="*/ 110 w 204"/>
                    <a:gd name="T7" fmla="*/ 486 h 504"/>
                    <a:gd name="T8" fmla="*/ 98 w 204"/>
                    <a:gd name="T9" fmla="*/ 479 h 504"/>
                    <a:gd name="T10" fmla="*/ 75 w 204"/>
                    <a:gd name="T11" fmla="*/ 460 h 504"/>
                    <a:gd name="T12" fmla="*/ 54 w 204"/>
                    <a:gd name="T13" fmla="*/ 434 h 504"/>
                    <a:gd name="T14" fmla="*/ 35 w 204"/>
                    <a:gd name="T15" fmla="*/ 401 h 504"/>
                    <a:gd name="T16" fmla="*/ 18 w 204"/>
                    <a:gd name="T17" fmla="*/ 364 h 504"/>
                    <a:gd name="T18" fmla="*/ 6 w 204"/>
                    <a:gd name="T19" fmla="*/ 324 h 504"/>
                    <a:gd name="T20" fmla="*/ 0 w 204"/>
                    <a:gd name="T21" fmla="*/ 284 h 504"/>
                    <a:gd name="T22" fmla="*/ 1 w 204"/>
                    <a:gd name="T23" fmla="*/ 244 h 504"/>
                    <a:gd name="T24" fmla="*/ 9 w 204"/>
                    <a:gd name="T25" fmla="*/ 207 h 504"/>
                    <a:gd name="T26" fmla="*/ 15 w 204"/>
                    <a:gd name="T27" fmla="*/ 190 h 504"/>
                    <a:gd name="T28" fmla="*/ 24 w 204"/>
                    <a:gd name="T29" fmla="*/ 161 h 504"/>
                    <a:gd name="T30" fmla="*/ 27 w 204"/>
                    <a:gd name="T31" fmla="*/ 132 h 504"/>
                    <a:gd name="T32" fmla="*/ 28 w 204"/>
                    <a:gd name="T33" fmla="*/ 97 h 504"/>
                    <a:gd name="T34" fmla="*/ 23 w 204"/>
                    <a:gd name="T35" fmla="*/ 61 h 504"/>
                    <a:gd name="T36" fmla="*/ 15 w 204"/>
                    <a:gd name="T37" fmla="*/ 39 h 504"/>
                    <a:gd name="T38" fmla="*/ 23 w 204"/>
                    <a:gd name="T39" fmla="*/ 27 h 504"/>
                    <a:gd name="T40" fmla="*/ 32 w 204"/>
                    <a:gd name="T41" fmla="*/ 14 h 504"/>
                    <a:gd name="T42" fmla="*/ 47 w 204"/>
                    <a:gd name="T43" fmla="*/ 4 h 504"/>
                    <a:gd name="T44" fmla="*/ 62 w 204"/>
                    <a:gd name="T45" fmla="*/ 0 h 504"/>
                    <a:gd name="T46" fmla="*/ 69 w 204"/>
                    <a:gd name="T47" fmla="*/ 1 h 504"/>
                    <a:gd name="T48" fmla="*/ 85 w 204"/>
                    <a:gd name="T49" fmla="*/ 8 h 504"/>
                    <a:gd name="T50" fmla="*/ 93 w 204"/>
                    <a:gd name="T51" fmla="*/ 15 h 504"/>
                    <a:gd name="T52" fmla="*/ 118 w 204"/>
                    <a:gd name="T53" fmla="*/ 40 h 504"/>
                    <a:gd name="T54" fmla="*/ 142 w 204"/>
                    <a:gd name="T55" fmla="*/ 72 h 504"/>
                    <a:gd name="T56" fmla="*/ 165 w 204"/>
                    <a:gd name="T57" fmla="*/ 107 h 504"/>
                    <a:gd name="T58" fmla="*/ 184 w 204"/>
                    <a:gd name="T59" fmla="*/ 146 h 504"/>
                    <a:gd name="T60" fmla="*/ 197 w 204"/>
                    <a:gd name="T61" fmla="*/ 187 h 504"/>
                    <a:gd name="T62" fmla="*/ 203 w 204"/>
                    <a:gd name="T63" fmla="*/ 230 h 504"/>
                    <a:gd name="T64" fmla="*/ 200 w 204"/>
                    <a:gd name="T65" fmla="*/ 273 h 504"/>
                    <a:gd name="T66" fmla="*/ 196 w 204"/>
                    <a:gd name="T67" fmla="*/ 293 h 504"/>
                    <a:gd name="T68" fmla="*/ 187 w 204"/>
                    <a:gd name="T69" fmla="*/ 314 h 504"/>
                    <a:gd name="T70" fmla="*/ 181 w 204"/>
                    <a:gd name="T71" fmla="*/ 330 h 504"/>
                    <a:gd name="T72" fmla="*/ 174 w 204"/>
                    <a:gd name="T73" fmla="*/ 361 h 504"/>
                    <a:gd name="T74" fmla="*/ 174 w 204"/>
                    <a:gd name="T75" fmla="*/ 397 h 504"/>
                    <a:gd name="T76" fmla="*/ 178 w 204"/>
                    <a:gd name="T77" fmla="*/ 433 h 504"/>
                    <a:gd name="T78" fmla="*/ 184 w 204"/>
                    <a:gd name="T79" fmla="*/ 451 h 504"/>
                    <a:gd name="T80" fmla="*/ 194 w 204"/>
                    <a:gd name="T81" fmla="*/ 481 h 504"/>
                    <a:gd name="T82" fmla="*/ 204 w 204"/>
                    <a:gd name="T83" fmla="*/ 502 h 504"/>
                    <a:gd name="T84" fmla="*/ 183 w 204"/>
                    <a:gd name="T85" fmla="*/ 504 h 504"/>
                    <a:gd name="T86" fmla="*/ 183 w 204"/>
                    <a:gd name="T87" fmla="*/ 504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04" h="504">
                      <a:moveTo>
                        <a:pt x="183" y="504"/>
                      </a:moveTo>
                      <a:lnTo>
                        <a:pt x="183" y="504"/>
                      </a:lnTo>
                      <a:lnTo>
                        <a:pt x="165" y="503"/>
                      </a:lnTo>
                      <a:lnTo>
                        <a:pt x="155" y="502"/>
                      </a:lnTo>
                      <a:lnTo>
                        <a:pt x="144" y="498"/>
                      </a:lnTo>
                      <a:lnTo>
                        <a:pt x="133" y="496"/>
                      </a:lnTo>
                      <a:lnTo>
                        <a:pt x="121" y="492"/>
                      </a:lnTo>
                      <a:lnTo>
                        <a:pt x="110" y="486"/>
                      </a:lnTo>
                      <a:lnTo>
                        <a:pt x="98" y="479"/>
                      </a:lnTo>
                      <a:lnTo>
                        <a:pt x="98" y="479"/>
                      </a:lnTo>
                      <a:lnTo>
                        <a:pt x="87" y="471"/>
                      </a:lnTo>
                      <a:lnTo>
                        <a:pt x="75" y="460"/>
                      </a:lnTo>
                      <a:lnTo>
                        <a:pt x="64" y="448"/>
                      </a:lnTo>
                      <a:lnTo>
                        <a:pt x="54" y="434"/>
                      </a:lnTo>
                      <a:lnTo>
                        <a:pt x="43" y="417"/>
                      </a:lnTo>
                      <a:lnTo>
                        <a:pt x="35" y="401"/>
                      </a:lnTo>
                      <a:lnTo>
                        <a:pt x="26" y="382"/>
                      </a:lnTo>
                      <a:lnTo>
                        <a:pt x="18" y="364"/>
                      </a:lnTo>
                      <a:lnTo>
                        <a:pt x="12" y="344"/>
                      </a:lnTo>
                      <a:lnTo>
                        <a:pt x="6" y="324"/>
                      </a:lnTo>
                      <a:lnTo>
                        <a:pt x="2" y="303"/>
                      </a:lnTo>
                      <a:lnTo>
                        <a:pt x="0" y="284"/>
                      </a:lnTo>
                      <a:lnTo>
                        <a:pt x="0" y="264"/>
                      </a:lnTo>
                      <a:lnTo>
                        <a:pt x="1" y="244"/>
                      </a:lnTo>
                      <a:lnTo>
                        <a:pt x="4" y="226"/>
                      </a:lnTo>
                      <a:lnTo>
                        <a:pt x="9" y="207"/>
                      </a:lnTo>
                      <a:lnTo>
                        <a:pt x="9" y="207"/>
                      </a:lnTo>
                      <a:lnTo>
                        <a:pt x="15" y="190"/>
                      </a:lnTo>
                      <a:lnTo>
                        <a:pt x="19" y="175"/>
                      </a:lnTo>
                      <a:lnTo>
                        <a:pt x="24" y="161"/>
                      </a:lnTo>
                      <a:lnTo>
                        <a:pt x="26" y="147"/>
                      </a:lnTo>
                      <a:lnTo>
                        <a:pt x="27" y="132"/>
                      </a:lnTo>
                      <a:lnTo>
                        <a:pt x="28" y="120"/>
                      </a:lnTo>
                      <a:lnTo>
                        <a:pt x="28" y="97"/>
                      </a:lnTo>
                      <a:lnTo>
                        <a:pt x="26" y="78"/>
                      </a:lnTo>
                      <a:lnTo>
                        <a:pt x="23" y="61"/>
                      </a:lnTo>
                      <a:lnTo>
                        <a:pt x="18" y="48"/>
                      </a:lnTo>
                      <a:lnTo>
                        <a:pt x="15" y="39"/>
                      </a:lnTo>
                      <a:lnTo>
                        <a:pt x="15" y="39"/>
                      </a:lnTo>
                      <a:lnTo>
                        <a:pt x="23" y="27"/>
                      </a:lnTo>
                      <a:lnTo>
                        <a:pt x="27" y="21"/>
                      </a:lnTo>
                      <a:lnTo>
                        <a:pt x="32" y="14"/>
                      </a:lnTo>
                      <a:lnTo>
                        <a:pt x="39" y="8"/>
                      </a:lnTo>
                      <a:lnTo>
                        <a:pt x="47" y="4"/>
                      </a:lnTo>
                      <a:lnTo>
                        <a:pt x="53" y="1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9" y="1"/>
                      </a:lnTo>
                      <a:lnTo>
                        <a:pt x="77" y="4"/>
                      </a:lnTo>
                      <a:lnTo>
                        <a:pt x="85" y="8"/>
                      </a:lnTo>
                      <a:lnTo>
                        <a:pt x="93" y="15"/>
                      </a:lnTo>
                      <a:lnTo>
                        <a:pt x="93" y="15"/>
                      </a:lnTo>
                      <a:lnTo>
                        <a:pt x="106" y="27"/>
                      </a:lnTo>
                      <a:lnTo>
                        <a:pt x="118" y="40"/>
                      </a:lnTo>
                      <a:lnTo>
                        <a:pt x="130" y="56"/>
                      </a:lnTo>
                      <a:lnTo>
                        <a:pt x="142" y="72"/>
                      </a:lnTo>
                      <a:lnTo>
                        <a:pt x="154" y="89"/>
                      </a:lnTo>
                      <a:lnTo>
                        <a:pt x="165" y="107"/>
                      </a:lnTo>
                      <a:lnTo>
                        <a:pt x="175" y="126"/>
                      </a:lnTo>
                      <a:lnTo>
                        <a:pt x="184" y="146"/>
                      </a:lnTo>
                      <a:lnTo>
                        <a:pt x="191" y="166"/>
                      </a:lnTo>
                      <a:lnTo>
                        <a:pt x="197" y="187"/>
                      </a:lnTo>
                      <a:lnTo>
                        <a:pt x="201" y="208"/>
                      </a:lnTo>
                      <a:lnTo>
                        <a:pt x="203" y="230"/>
                      </a:lnTo>
                      <a:lnTo>
                        <a:pt x="203" y="251"/>
                      </a:lnTo>
                      <a:lnTo>
                        <a:pt x="200" y="273"/>
                      </a:lnTo>
                      <a:lnTo>
                        <a:pt x="198" y="283"/>
                      </a:lnTo>
                      <a:lnTo>
                        <a:pt x="196" y="293"/>
                      </a:lnTo>
                      <a:lnTo>
                        <a:pt x="191" y="304"/>
                      </a:lnTo>
                      <a:lnTo>
                        <a:pt x="187" y="314"/>
                      </a:lnTo>
                      <a:lnTo>
                        <a:pt x="187" y="314"/>
                      </a:lnTo>
                      <a:lnTo>
                        <a:pt x="181" y="330"/>
                      </a:lnTo>
                      <a:lnTo>
                        <a:pt x="177" y="345"/>
                      </a:lnTo>
                      <a:lnTo>
                        <a:pt x="174" y="361"/>
                      </a:lnTo>
                      <a:lnTo>
                        <a:pt x="173" y="379"/>
                      </a:lnTo>
                      <a:lnTo>
                        <a:pt x="174" y="397"/>
                      </a:lnTo>
                      <a:lnTo>
                        <a:pt x="175" y="414"/>
                      </a:lnTo>
                      <a:lnTo>
                        <a:pt x="178" y="433"/>
                      </a:lnTo>
                      <a:lnTo>
                        <a:pt x="184" y="451"/>
                      </a:lnTo>
                      <a:lnTo>
                        <a:pt x="184" y="451"/>
                      </a:lnTo>
                      <a:lnTo>
                        <a:pt x="189" y="467"/>
                      </a:lnTo>
                      <a:lnTo>
                        <a:pt x="194" y="481"/>
                      </a:lnTo>
                      <a:lnTo>
                        <a:pt x="204" y="502"/>
                      </a:lnTo>
                      <a:lnTo>
                        <a:pt x="204" y="502"/>
                      </a:lnTo>
                      <a:lnTo>
                        <a:pt x="195" y="503"/>
                      </a:lnTo>
                      <a:lnTo>
                        <a:pt x="183" y="504"/>
                      </a:lnTo>
                      <a:lnTo>
                        <a:pt x="183" y="504"/>
                      </a:lnTo>
                      <a:lnTo>
                        <a:pt x="183" y="504"/>
                      </a:lnTo>
                      <a:lnTo>
                        <a:pt x="183" y="5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1" name="Freeform 17"/>
                <p:cNvSpPr>
                  <a:spLocks noEditPoints="1"/>
                </p:cNvSpPr>
                <p:nvPr/>
              </p:nvSpPr>
              <p:spPr bwMode="auto">
                <a:xfrm>
                  <a:off x="3305176" y="2354263"/>
                  <a:ext cx="46038" cy="104775"/>
                </a:xfrm>
                <a:custGeom>
                  <a:avLst/>
                  <a:gdLst>
                    <a:gd name="T0" fmla="*/ 78 w 232"/>
                    <a:gd name="T1" fmla="*/ 23 h 526"/>
                    <a:gd name="T2" fmla="*/ 97 w 232"/>
                    <a:gd name="T3" fmla="*/ 34 h 526"/>
                    <a:gd name="T4" fmla="*/ 123 w 232"/>
                    <a:gd name="T5" fmla="*/ 62 h 526"/>
                    <a:gd name="T6" fmla="*/ 158 w 232"/>
                    <a:gd name="T7" fmla="*/ 110 h 526"/>
                    <a:gd name="T8" fmla="*/ 185 w 232"/>
                    <a:gd name="T9" fmla="*/ 163 h 526"/>
                    <a:gd name="T10" fmla="*/ 196 w 232"/>
                    <a:gd name="T11" fmla="*/ 197 h 526"/>
                    <a:gd name="T12" fmla="*/ 203 w 232"/>
                    <a:gd name="T13" fmla="*/ 256 h 526"/>
                    <a:gd name="T14" fmla="*/ 199 w 232"/>
                    <a:gd name="T15" fmla="*/ 288 h 526"/>
                    <a:gd name="T16" fmla="*/ 188 w 232"/>
                    <a:gd name="T17" fmla="*/ 321 h 526"/>
                    <a:gd name="T18" fmla="*/ 179 w 232"/>
                    <a:gd name="T19" fmla="*/ 347 h 526"/>
                    <a:gd name="T20" fmla="*/ 173 w 232"/>
                    <a:gd name="T21" fmla="*/ 387 h 526"/>
                    <a:gd name="T22" fmla="*/ 175 w 232"/>
                    <a:gd name="T23" fmla="*/ 424 h 526"/>
                    <a:gd name="T24" fmla="*/ 191 w 232"/>
                    <a:gd name="T25" fmla="*/ 488 h 526"/>
                    <a:gd name="T26" fmla="*/ 194 w 232"/>
                    <a:gd name="T27" fmla="*/ 504 h 526"/>
                    <a:gd name="T28" fmla="*/ 167 w 232"/>
                    <a:gd name="T29" fmla="*/ 502 h 526"/>
                    <a:gd name="T30" fmla="*/ 137 w 232"/>
                    <a:gd name="T31" fmla="*/ 492 h 526"/>
                    <a:gd name="T32" fmla="*/ 115 w 232"/>
                    <a:gd name="T33" fmla="*/ 481 h 526"/>
                    <a:gd name="T34" fmla="*/ 84 w 232"/>
                    <a:gd name="T35" fmla="*/ 451 h 526"/>
                    <a:gd name="T36" fmla="*/ 55 w 232"/>
                    <a:gd name="T37" fmla="*/ 406 h 526"/>
                    <a:gd name="T38" fmla="*/ 32 w 232"/>
                    <a:gd name="T39" fmla="*/ 352 h 526"/>
                    <a:gd name="T40" fmla="*/ 21 w 232"/>
                    <a:gd name="T41" fmla="*/ 295 h 526"/>
                    <a:gd name="T42" fmla="*/ 26 w 232"/>
                    <a:gd name="T43" fmla="*/ 239 h 526"/>
                    <a:gd name="T44" fmla="*/ 36 w 232"/>
                    <a:gd name="T45" fmla="*/ 207 h 526"/>
                    <a:gd name="T46" fmla="*/ 47 w 232"/>
                    <a:gd name="T47" fmla="*/ 163 h 526"/>
                    <a:gd name="T48" fmla="*/ 50 w 232"/>
                    <a:gd name="T49" fmla="*/ 114 h 526"/>
                    <a:gd name="T50" fmla="*/ 41 w 232"/>
                    <a:gd name="T51" fmla="*/ 62 h 526"/>
                    <a:gd name="T52" fmla="*/ 45 w 232"/>
                    <a:gd name="T53" fmla="*/ 41 h 526"/>
                    <a:gd name="T54" fmla="*/ 62 w 232"/>
                    <a:gd name="T55" fmla="*/ 25 h 526"/>
                    <a:gd name="T56" fmla="*/ 73 w 232"/>
                    <a:gd name="T57" fmla="*/ 0 h 526"/>
                    <a:gd name="T58" fmla="*/ 60 w 232"/>
                    <a:gd name="T59" fmla="*/ 2 h 526"/>
                    <a:gd name="T60" fmla="*/ 38 w 232"/>
                    <a:gd name="T61" fmla="*/ 16 h 526"/>
                    <a:gd name="T62" fmla="*/ 18 w 232"/>
                    <a:gd name="T63" fmla="*/ 43 h 526"/>
                    <a:gd name="T64" fmla="*/ 15 w 232"/>
                    <a:gd name="T65" fmla="*/ 53 h 526"/>
                    <a:gd name="T66" fmla="*/ 26 w 232"/>
                    <a:gd name="T67" fmla="*/ 95 h 526"/>
                    <a:gd name="T68" fmla="*/ 28 w 232"/>
                    <a:gd name="T69" fmla="*/ 132 h 526"/>
                    <a:gd name="T70" fmla="*/ 21 w 232"/>
                    <a:gd name="T71" fmla="*/ 178 h 526"/>
                    <a:gd name="T72" fmla="*/ 11 w 232"/>
                    <a:gd name="T73" fmla="*/ 214 h 526"/>
                    <a:gd name="T74" fmla="*/ 1 w 232"/>
                    <a:gd name="T75" fmla="*/ 253 h 526"/>
                    <a:gd name="T76" fmla="*/ 2 w 232"/>
                    <a:gd name="T77" fmla="*/ 315 h 526"/>
                    <a:gd name="T78" fmla="*/ 19 w 232"/>
                    <a:gd name="T79" fmla="*/ 378 h 526"/>
                    <a:gd name="T80" fmla="*/ 46 w 232"/>
                    <a:gd name="T81" fmla="*/ 435 h 526"/>
                    <a:gd name="T82" fmla="*/ 80 w 232"/>
                    <a:gd name="T83" fmla="*/ 480 h 526"/>
                    <a:gd name="T84" fmla="*/ 103 w 232"/>
                    <a:gd name="T85" fmla="*/ 500 h 526"/>
                    <a:gd name="T86" fmla="*/ 140 w 232"/>
                    <a:gd name="T87" fmla="*/ 517 h 526"/>
                    <a:gd name="T88" fmla="*/ 174 w 232"/>
                    <a:gd name="T89" fmla="*/ 525 h 526"/>
                    <a:gd name="T90" fmla="*/ 209 w 232"/>
                    <a:gd name="T91" fmla="*/ 525 h 526"/>
                    <a:gd name="T92" fmla="*/ 232 w 232"/>
                    <a:gd name="T93" fmla="*/ 520 h 526"/>
                    <a:gd name="T94" fmla="*/ 213 w 232"/>
                    <a:gd name="T95" fmla="*/ 484 h 526"/>
                    <a:gd name="T96" fmla="*/ 201 w 232"/>
                    <a:gd name="T97" fmla="*/ 445 h 526"/>
                    <a:gd name="T98" fmla="*/ 195 w 232"/>
                    <a:gd name="T99" fmla="*/ 398 h 526"/>
                    <a:gd name="T100" fmla="*/ 202 w 232"/>
                    <a:gd name="T101" fmla="*/ 347 h 526"/>
                    <a:gd name="T102" fmla="*/ 213 w 232"/>
                    <a:gd name="T103" fmla="*/ 319 h 526"/>
                    <a:gd name="T104" fmla="*/ 222 w 232"/>
                    <a:gd name="T105" fmla="*/ 286 h 526"/>
                    <a:gd name="T106" fmla="*/ 223 w 232"/>
                    <a:gd name="T107" fmla="*/ 220 h 526"/>
                    <a:gd name="T108" fmla="*/ 206 w 232"/>
                    <a:gd name="T109" fmla="*/ 155 h 526"/>
                    <a:gd name="T110" fmla="*/ 175 w 232"/>
                    <a:gd name="T111" fmla="*/ 95 h 526"/>
                    <a:gd name="T112" fmla="*/ 138 w 232"/>
                    <a:gd name="T113" fmla="*/ 45 h 526"/>
                    <a:gd name="T114" fmla="*/ 111 w 232"/>
                    <a:gd name="T115" fmla="*/ 18 h 526"/>
                    <a:gd name="T116" fmla="*/ 82 w 232"/>
                    <a:gd name="T117" fmla="*/ 1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32" h="526">
                      <a:moveTo>
                        <a:pt x="73" y="22"/>
                      </a:moveTo>
                      <a:lnTo>
                        <a:pt x="73" y="22"/>
                      </a:lnTo>
                      <a:lnTo>
                        <a:pt x="78" y="23"/>
                      </a:lnTo>
                      <a:lnTo>
                        <a:pt x="84" y="25"/>
                      </a:lnTo>
                      <a:lnTo>
                        <a:pt x="91" y="29"/>
                      </a:lnTo>
                      <a:lnTo>
                        <a:pt x="97" y="34"/>
                      </a:lnTo>
                      <a:lnTo>
                        <a:pt x="97" y="34"/>
                      </a:lnTo>
                      <a:lnTo>
                        <a:pt x="110" y="48"/>
                      </a:lnTo>
                      <a:lnTo>
                        <a:pt x="123" y="62"/>
                      </a:lnTo>
                      <a:lnTo>
                        <a:pt x="135" y="78"/>
                      </a:lnTo>
                      <a:lnTo>
                        <a:pt x="148" y="94"/>
                      </a:lnTo>
                      <a:lnTo>
                        <a:pt x="158" y="110"/>
                      </a:lnTo>
                      <a:lnTo>
                        <a:pt x="168" y="128"/>
                      </a:lnTo>
                      <a:lnTo>
                        <a:pt x="177" y="146"/>
                      </a:lnTo>
                      <a:lnTo>
                        <a:pt x="185" y="163"/>
                      </a:lnTo>
                      <a:lnTo>
                        <a:pt x="185" y="163"/>
                      </a:lnTo>
                      <a:lnTo>
                        <a:pt x="191" y="178"/>
                      </a:lnTo>
                      <a:lnTo>
                        <a:pt x="196" y="197"/>
                      </a:lnTo>
                      <a:lnTo>
                        <a:pt x="200" y="216"/>
                      </a:lnTo>
                      <a:lnTo>
                        <a:pt x="202" y="235"/>
                      </a:lnTo>
                      <a:lnTo>
                        <a:pt x="203" y="256"/>
                      </a:lnTo>
                      <a:lnTo>
                        <a:pt x="202" y="267"/>
                      </a:lnTo>
                      <a:lnTo>
                        <a:pt x="201" y="278"/>
                      </a:lnTo>
                      <a:lnTo>
                        <a:pt x="199" y="288"/>
                      </a:lnTo>
                      <a:lnTo>
                        <a:pt x="197" y="299"/>
                      </a:lnTo>
                      <a:lnTo>
                        <a:pt x="192" y="310"/>
                      </a:lnTo>
                      <a:lnTo>
                        <a:pt x="188" y="321"/>
                      </a:lnTo>
                      <a:lnTo>
                        <a:pt x="188" y="321"/>
                      </a:lnTo>
                      <a:lnTo>
                        <a:pt x="183" y="334"/>
                      </a:lnTo>
                      <a:lnTo>
                        <a:pt x="179" y="347"/>
                      </a:lnTo>
                      <a:lnTo>
                        <a:pt x="176" y="360"/>
                      </a:lnTo>
                      <a:lnTo>
                        <a:pt x="174" y="374"/>
                      </a:lnTo>
                      <a:lnTo>
                        <a:pt x="173" y="387"/>
                      </a:lnTo>
                      <a:lnTo>
                        <a:pt x="173" y="399"/>
                      </a:lnTo>
                      <a:lnTo>
                        <a:pt x="174" y="411"/>
                      </a:lnTo>
                      <a:lnTo>
                        <a:pt x="175" y="424"/>
                      </a:lnTo>
                      <a:lnTo>
                        <a:pt x="179" y="447"/>
                      </a:lnTo>
                      <a:lnTo>
                        <a:pt x="185" y="468"/>
                      </a:lnTo>
                      <a:lnTo>
                        <a:pt x="191" y="488"/>
                      </a:lnTo>
                      <a:lnTo>
                        <a:pt x="198" y="504"/>
                      </a:lnTo>
                      <a:lnTo>
                        <a:pt x="198" y="504"/>
                      </a:lnTo>
                      <a:lnTo>
                        <a:pt x="194" y="504"/>
                      </a:lnTo>
                      <a:lnTo>
                        <a:pt x="194" y="504"/>
                      </a:lnTo>
                      <a:lnTo>
                        <a:pt x="177" y="503"/>
                      </a:lnTo>
                      <a:lnTo>
                        <a:pt x="167" y="502"/>
                      </a:lnTo>
                      <a:lnTo>
                        <a:pt x="157" y="500"/>
                      </a:lnTo>
                      <a:lnTo>
                        <a:pt x="148" y="496"/>
                      </a:lnTo>
                      <a:lnTo>
                        <a:pt x="137" y="492"/>
                      </a:lnTo>
                      <a:lnTo>
                        <a:pt x="126" y="488"/>
                      </a:lnTo>
                      <a:lnTo>
                        <a:pt x="115" y="481"/>
                      </a:lnTo>
                      <a:lnTo>
                        <a:pt x="115" y="481"/>
                      </a:lnTo>
                      <a:lnTo>
                        <a:pt x="105" y="473"/>
                      </a:lnTo>
                      <a:lnTo>
                        <a:pt x="94" y="463"/>
                      </a:lnTo>
                      <a:lnTo>
                        <a:pt x="84" y="451"/>
                      </a:lnTo>
                      <a:lnTo>
                        <a:pt x="74" y="437"/>
                      </a:lnTo>
                      <a:lnTo>
                        <a:pt x="64" y="423"/>
                      </a:lnTo>
                      <a:lnTo>
                        <a:pt x="55" y="406"/>
                      </a:lnTo>
                      <a:lnTo>
                        <a:pt x="47" y="389"/>
                      </a:lnTo>
                      <a:lnTo>
                        <a:pt x="39" y="370"/>
                      </a:lnTo>
                      <a:lnTo>
                        <a:pt x="32" y="352"/>
                      </a:lnTo>
                      <a:lnTo>
                        <a:pt x="28" y="333"/>
                      </a:lnTo>
                      <a:lnTo>
                        <a:pt x="24" y="313"/>
                      </a:lnTo>
                      <a:lnTo>
                        <a:pt x="21" y="295"/>
                      </a:lnTo>
                      <a:lnTo>
                        <a:pt x="21" y="275"/>
                      </a:lnTo>
                      <a:lnTo>
                        <a:pt x="23" y="256"/>
                      </a:lnTo>
                      <a:lnTo>
                        <a:pt x="26" y="239"/>
                      </a:lnTo>
                      <a:lnTo>
                        <a:pt x="30" y="222"/>
                      </a:lnTo>
                      <a:lnTo>
                        <a:pt x="30" y="222"/>
                      </a:lnTo>
                      <a:lnTo>
                        <a:pt x="36" y="207"/>
                      </a:lnTo>
                      <a:lnTo>
                        <a:pt x="40" y="192"/>
                      </a:lnTo>
                      <a:lnTo>
                        <a:pt x="45" y="177"/>
                      </a:lnTo>
                      <a:lnTo>
                        <a:pt x="47" y="163"/>
                      </a:lnTo>
                      <a:lnTo>
                        <a:pt x="49" y="150"/>
                      </a:lnTo>
                      <a:lnTo>
                        <a:pt x="50" y="138"/>
                      </a:lnTo>
                      <a:lnTo>
                        <a:pt x="50" y="114"/>
                      </a:lnTo>
                      <a:lnTo>
                        <a:pt x="48" y="94"/>
                      </a:lnTo>
                      <a:lnTo>
                        <a:pt x="46" y="76"/>
                      </a:lnTo>
                      <a:lnTo>
                        <a:pt x="41" y="62"/>
                      </a:lnTo>
                      <a:lnTo>
                        <a:pt x="38" y="51"/>
                      </a:lnTo>
                      <a:lnTo>
                        <a:pt x="38" y="51"/>
                      </a:lnTo>
                      <a:lnTo>
                        <a:pt x="45" y="41"/>
                      </a:lnTo>
                      <a:lnTo>
                        <a:pt x="52" y="33"/>
                      </a:lnTo>
                      <a:lnTo>
                        <a:pt x="57" y="28"/>
                      </a:lnTo>
                      <a:lnTo>
                        <a:pt x="62" y="25"/>
                      </a:lnTo>
                      <a:lnTo>
                        <a:pt x="68" y="23"/>
                      </a:lnTo>
                      <a:lnTo>
                        <a:pt x="73" y="22"/>
                      </a:lnTo>
                      <a:close/>
                      <a:moveTo>
                        <a:pt x="73" y="0"/>
                      </a:moveTo>
                      <a:lnTo>
                        <a:pt x="73" y="0"/>
                      </a:lnTo>
                      <a:lnTo>
                        <a:pt x="65" y="1"/>
                      </a:lnTo>
                      <a:lnTo>
                        <a:pt x="60" y="2"/>
                      </a:lnTo>
                      <a:lnTo>
                        <a:pt x="53" y="4"/>
                      </a:lnTo>
                      <a:lnTo>
                        <a:pt x="48" y="7"/>
                      </a:lnTo>
                      <a:lnTo>
                        <a:pt x="38" y="16"/>
                      </a:lnTo>
                      <a:lnTo>
                        <a:pt x="29" y="25"/>
                      </a:lnTo>
                      <a:lnTo>
                        <a:pt x="23" y="35"/>
                      </a:lnTo>
                      <a:lnTo>
                        <a:pt x="18" y="43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5" y="53"/>
                      </a:lnTo>
                      <a:lnTo>
                        <a:pt x="18" y="62"/>
                      </a:lnTo>
                      <a:lnTo>
                        <a:pt x="23" y="76"/>
                      </a:lnTo>
                      <a:lnTo>
                        <a:pt x="26" y="95"/>
                      </a:lnTo>
                      <a:lnTo>
                        <a:pt x="28" y="106"/>
                      </a:lnTo>
                      <a:lnTo>
                        <a:pt x="28" y="118"/>
                      </a:lnTo>
                      <a:lnTo>
                        <a:pt x="28" y="132"/>
                      </a:lnTo>
                      <a:lnTo>
                        <a:pt x="27" y="147"/>
                      </a:lnTo>
                      <a:lnTo>
                        <a:pt x="25" y="162"/>
                      </a:lnTo>
                      <a:lnTo>
                        <a:pt x="21" y="178"/>
                      </a:lnTo>
                      <a:lnTo>
                        <a:pt x="16" y="196"/>
                      </a:lnTo>
                      <a:lnTo>
                        <a:pt x="11" y="214"/>
                      </a:lnTo>
                      <a:lnTo>
                        <a:pt x="11" y="214"/>
                      </a:lnTo>
                      <a:lnTo>
                        <a:pt x="7" y="223"/>
                      </a:lnTo>
                      <a:lnTo>
                        <a:pt x="4" y="233"/>
                      </a:lnTo>
                      <a:lnTo>
                        <a:pt x="1" y="253"/>
                      </a:lnTo>
                      <a:lnTo>
                        <a:pt x="0" y="274"/>
                      </a:lnTo>
                      <a:lnTo>
                        <a:pt x="0" y="295"/>
                      </a:lnTo>
                      <a:lnTo>
                        <a:pt x="2" y="315"/>
                      </a:lnTo>
                      <a:lnTo>
                        <a:pt x="6" y="337"/>
                      </a:lnTo>
                      <a:lnTo>
                        <a:pt x="12" y="358"/>
                      </a:lnTo>
                      <a:lnTo>
                        <a:pt x="19" y="378"/>
                      </a:lnTo>
                      <a:lnTo>
                        <a:pt x="27" y="399"/>
                      </a:lnTo>
                      <a:lnTo>
                        <a:pt x="36" y="417"/>
                      </a:lnTo>
                      <a:lnTo>
                        <a:pt x="46" y="435"/>
                      </a:lnTo>
                      <a:lnTo>
                        <a:pt x="57" y="451"/>
                      </a:lnTo>
                      <a:lnTo>
                        <a:pt x="68" y="467"/>
                      </a:lnTo>
                      <a:lnTo>
                        <a:pt x="80" y="480"/>
                      </a:lnTo>
                      <a:lnTo>
                        <a:pt x="92" y="491"/>
                      </a:lnTo>
                      <a:lnTo>
                        <a:pt x="103" y="500"/>
                      </a:lnTo>
                      <a:lnTo>
                        <a:pt x="103" y="500"/>
                      </a:lnTo>
                      <a:lnTo>
                        <a:pt x="116" y="506"/>
                      </a:lnTo>
                      <a:lnTo>
                        <a:pt x="128" y="513"/>
                      </a:lnTo>
                      <a:lnTo>
                        <a:pt x="140" y="517"/>
                      </a:lnTo>
                      <a:lnTo>
                        <a:pt x="152" y="520"/>
                      </a:lnTo>
                      <a:lnTo>
                        <a:pt x="163" y="523"/>
                      </a:lnTo>
                      <a:lnTo>
                        <a:pt x="174" y="525"/>
                      </a:lnTo>
                      <a:lnTo>
                        <a:pt x="194" y="526"/>
                      </a:lnTo>
                      <a:lnTo>
                        <a:pt x="194" y="526"/>
                      </a:lnTo>
                      <a:lnTo>
                        <a:pt x="209" y="525"/>
                      </a:lnTo>
                      <a:lnTo>
                        <a:pt x="221" y="524"/>
                      </a:lnTo>
                      <a:lnTo>
                        <a:pt x="232" y="520"/>
                      </a:lnTo>
                      <a:lnTo>
                        <a:pt x="232" y="520"/>
                      </a:lnTo>
                      <a:lnTo>
                        <a:pt x="230" y="516"/>
                      </a:lnTo>
                      <a:lnTo>
                        <a:pt x="223" y="504"/>
                      </a:lnTo>
                      <a:lnTo>
                        <a:pt x="213" y="484"/>
                      </a:lnTo>
                      <a:lnTo>
                        <a:pt x="209" y="472"/>
                      </a:lnTo>
                      <a:lnTo>
                        <a:pt x="205" y="459"/>
                      </a:lnTo>
                      <a:lnTo>
                        <a:pt x="201" y="445"/>
                      </a:lnTo>
                      <a:lnTo>
                        <a:pt x="198" y="429"/>
                      </a:lnTo>
                      <a:lnTo>
                        <a:pt x="196" y="414"/>
                      </a:lnTo>
                      <a:lnTo>
                        <a:pt x="195" y="398"/>
                      </a:lnTo>
                      <a:lnTo>
                        <a:pt x="196" y="381"/>
                      </a:lnTo>
                      <a:lnTo>
                        <a:pt x="198" y="364"/>
                      </a:lnTo>
                      <a:lnTo>
                        <a:pt x="202" y="347"/>
                      </a:lnTo>
                      <a:lnTo>
                        <a:pt x="208" y="330"/>
                      </a:lnTo>
                      <a:lnTo>
                        <a:pt x="208" y="330"/>
                      </a:lnTo>
                      <a:lnTo>
                        <a:pt x="213" y="319"/>
                      </a:lnTo>
                      <a:lnTo>
                        <a:pt x="217" y="309"/>
                      </a:lnTo>
                      <a:lnTo>
                        <a:pt x="220" y="298"/>
                      </a:lnTo>
                      <a:lnTo>
                        <a:pt x="222" y="286"/>
                      </a:lnTo>
                      <a:lnTo>
                        <a:pt x="224" y="264"/>
                      </a:lnTo>
                      <a:lnTo>
                        <a:pt x="225" y="242"/>
                      </a:lnTo>
                      <a:lnTo>
                        <a:pt x="223" y="220"/>
                      </a:lnTo>
                      <a:lnTo>
                        <a:pt x="219" y="198"/>
                      </a:lnTo>
                      <a:lnTo>
                        <a:pt x="213" y="176"/>
                      </a:lnTo>
                      <a:lnTo>
                        <a:pt x="206" y="155"/>
                      </a:lnTo>
                      <a:lnTo>
                        <a:pt x="197" y="135"/>
                      </a:lnTo>
                      <a:lnTo>
                        <a:pt x="186" y="115"/>
                      </a:lnTo>
                      <a:lnTo>
                        <a:pt x="175" y="95"/>
                      </a:lnTo>
                      <a:lnTo>
                        <a:pt x="163" y="78"/>
                      </a:lnTo>
                      <a:lnTo>
                        <a:pt x="151" y="60"/>
                      </a:lnTo>
                      <a:lnTo>
                        <a:pt x="138" y="45"/>
                      </a:lnTo>
                      <a:lnTo>
                        <a:pt x="125" y="30"/>
                      </a:lnTo>
                      <a:lnTo>
                        <a:pt x="111" y="18"/>
                      </a:lnTo>
                      <a:lnTo>
                        <a:pt x="111" y="18"/>
                      </a:lnTo>
                      <a:lnTo>
                        <a:pt x="100" y="10"/>
                      </a:lnTo>
                      <a:lnTo>
                        <a:pt x="91" y="4"/>
                      </a:lnTo>
                      <a:lnTo>
                        <a:pt x="82" y="1"/>
                      </a:lnTo>
                      <a:lnTo>
                        <a:pt x="73" y="0"/>
                      </a:lnTo>
                      <a:lnTo>
                        <a:pt x="7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2" name="Freeform 18"/>
                <p:cNvSpPr>
                  <a:spLocks/>
                </p:cNvSpPr>
                <p:nvPr/>
              </p:nvSpPr>
              <p:spPr bwMode="auto">
                <a:xfrm>
                  <a:off x="3308351" y="2359025"/>
                  <a:ext cx="36513" cy="95250"/>
                </a:xfrm>
                <a:custGeom>
                  <a:avLst/>
                  <a:gdLst>
                    <a:gd name="T0" fmla="*/ 52 w 182"/>
                    <a:gd name="T1" fmla="*/ 0 h 482"/>
                    <a:gd name="T2" fmla="*/ 63 w 182"/>
                    <a:gd name="T3" fmla="*/ 3 h 482"/>
                    <a:gd name="T4" fmla="*/ 76 w 182"/>
                    <a:gd name="T5" fmla="*/ 12 h 482"/>
                    <a:gd name="T6" fmla="*/ 89 w 182"/>
                    <a:gd name="T7" fmla="*/ 26 h 482"/>
                    <a:gd name="T8" fmla="*/ 114 w 182"/>
                    <a:gd name="T9" fmla="*/ 56 h 482"/>
                    <a:gd name="T10" fmla="*/ 137 w 182"/>
                    <a:gd name="T11" fmla="*/ 88 h 482"/>
                    <a:gd name="T12" fmla="*/ 156 w 182"/>
                    <a:gd name="T13" fmla="*/ 124 h 482"/>
                    <a:gd name="T14" fmla="*/ 164 w 182"/>
                    <a:gd name="T15" fmla="*/ 141 h 482"/>
                    <a:gd name="T16" fmla="*/ 175 w 182"/>
                    <a:gd name="T17" fmla="*/ 175 h 482"/>
                    <a:gd name="T18" fmla="*/ 181 w 182"/>
                    <a:gd name="T19" fmla="*/ 213 h 482"/>
                    <a:gd name="T20" fmla="*/ 181 w 182"/>
                    <a:gd name="T21" fmla="*/ 245 h 482"/>
                    <a:gd name="T22" fmla="*/ 178 w 182"/>
                    <a:gd name="T23" fmla="*/ 266 h 482"/>
                    <a:gd name="T24" fmla="*/ 171 w 182"/>
                    <a:gd name="T25" fmla="*/ 288 h 482"/>
                    <a:gd name="T26" fmla="*/ 167 w 182"/>
                    <a:gd name="T27" fmla="*/ 299 h 482"/>
                    <a:gd name="T28" fmla="*/ 158 w 182"/>
                    <a:gd name="T29" fmla="*/ 325 h 482"/>
                    <a:gd name="T30" fmla="*/ 153 w 182"/>
                    <a:gd name="T31" fmla="*/ 352 h 482"/>
                    <a:gd name="T32" fmla="*/ 152 w 182"/>
                    <a:gd name="T33" fmla="*/ 377 h 482"/>
                    <a:gd name="T34" fmla="*/ 154 w 182"/>
                    <a:gd name="T35" fmla="*/ 402 h 482"/>
                    <a:gd name="T36" fmla="*/ 164 w 182"/>
                    <a:gd name="T37" fmla="*/ 446 h 482"/>
                    <a:gd name="T38" fmla="*/ 177 w 182"/>
                    <a:gd name="T39" fmla="*/ 482 h 482"/>
                    <a:gd name="T40" fmla="*/ 173 w 182"/>
                    <a:gd name="T41" fmla="*/ 482 h 482"/>
                    <a:gd name="T42" fmla="*/ 156 w 182"/>
                    <a:gd name="T43" fmla="*/ 481 h 482"/>
                    <a:gd name="T44" fmla="*/ 136 w 182"/>
                    <a:gd name="T45" fmla="*/ 478 h 482"/>
                    <a:gd name="T46" fmla="*/ 116 w 182"/>
                    <a:gd name="T47" fmla="*/ 470 h 482"/>
                    <a:gd name="T48" fmla="*/ 94 w 182"/>
                    <a:gd name="T49" fmla="*/ 459 h 482"/>
                    <a:gd name="T50" fmla="*/ 84 w 182"/>
                    <a:gd name="T51" fmla="*/ 451 h 482"/>
                    <a:gd name="T52" fmla="*/ 63 w 182"/>
                    <a:gd name="T53" fmla="*/ 429 h 482"/>
                    <a:gd name="T54" fmla="*/ 43 w 182"/>
                    <a:gd name="T55" fmla="*/ 401 h 482"/>
                    <a:gd name="T56" fmla="*/ 26 w 182"/>
                    <a:gd name="T57" fmla="*/ 367 h 482"/>
                    <a:gd name="T58" fmla="*/ 11 w 182"/>
                    <a:gd name="T59" fmla="*/ 330 h 482"/>
                    <a:gd name="T60" fmla="*/ 3 w 182"/>
                    <a:gd name="T61" fmla="*/ 291 h 482"/>
                    <a:gd name="T62" fmla="*/ 0 w 182"/>
                    <a:gd name="T63" fmla="*/ 253 h 482"/>
                    <a:gd name="T64" fmla="*/ 5 w 182"/>
                    <a:gd name="T65" fmla="*/ 217 h 482"/>
                    <a:gd name="T66" fmla="*/ 9 w 182"/>
                    <a:gd name="T67" fmla="*/ 200 h 482"/>
                    <a:gd name="T68" fmla="*/ 19 w 182"/>
                    <a:gd name="T69" fmla="*/ 170 h 482"/>
                    <a:gd name="T70" fmla="*/ 26 w 182"/>
                    <a:gd name="T71" fmla="*/ 141 h 482"/>
                    <a:gd name="T72" fmla="*/ 29 w 182"/>
                    <a:gd name="T73" fmla="*/ 116 h 482"/>
                    <a:gd name="T74" fmla="*/ 27 w 182"/>
                    <a:gd name="T75" fmla="*/ 72 h 482"/>
                    <a:gd name="T76" fmla="*/ 20 w 182"/>
                    <a:gd name="T77" fmla="*/ 40 h 482"/>
                    <a:gd name="T78" fmla="*/ 17 w 182"/>
                    <a:gd name="T79" fmla="*/ 29 h 482"/>
                    <a:gd name="T80" fmla="*/ 31 w 182"/>
                    <a:gd name="T81" fmla="*/ 11 h 482"/>
                    <a:gd name="T82" fmla="*/ 41 w 182"/>
                    <a:gd name="T83" fmla="*/ 3 h 482"/>
                    <a:gd name="T84" fmla="*/ 52 w 182"/>
                    <a:gd name="T85" fmla="*/ 0 h 4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2" h="482">
                      <a:moveTo>
                        <a:pt x="52" y="0"/>
                      </a:moveTo>
                      <a:lnTo>
                        <a:pt x="52" y="0"/>
                      </a:lnTo>
                      <a:lnTo>
                        <a:pt x="57" y="1"/>
                      </a:lnTo>
                      <a:lnTo>
                        <a:pt x="63" y="3"/>
                      </a:lnTo>
                      <a:lnTo>
                        <a:pt x="70" y="7"/>
                      </a:lnTo>
                      <a:lnTo>
                        <a:pt x="76" y="12"/>
                      </a:lnTo>
                      <a:lnTo>
                        <a:pt x="76" y="12"/>
                      </a:lnTo>
                      <a:lnTo>
                        <a:pt x="89" y="26"/>
                      </a:lnTo>
                      <a:lnTo>
                        <a:pt x="102" y="40"/>
                      </a:lnTo>
                      <a:lnTo>
                        <a:pt x="114" y="56"/>
                      </a:lnTo>
                      <a:lnTo>
                        <a:pt x="127" y="72"/>
                      </a:lnTo>
                      <a:lnTo>
                        <a:pt x="137" y="88"/>
                      </a:lnTo>
                      <a:lnTo>
                        <a:pt x="147" y="106"/>
                      </a:lnTo>
                      <a:lnTo>
                        <a:pt x="156" y="124"/>
                      </a:lnTo>
                      <a:lnTo>
                        <a:pt x="164" y="141"/>
                      </a:lnTo>
                      <a:lnTo>
                        <a:pt x="164" y="141"/>
                      </a:lnTo>
                      <a:lnTo>
                        <a:pt x="170" y="156"/>
                      </a:lnTo>
                      <a:lnTo>
                        <a:pt x="175" y="175"/>
                      </a:lnTo>
                      <a:lnTo>
                        <a:pt x="179" y="194"/>
                      </a:lnTo>
                      <a:lnTo>
                        <a:pt x="181" y="213"/>
                      </a:lnTo>
                      <a:lnTo>
                        <a:pt x="182" y="234"/>
                      </a:lnTo>
                      <a:lnTo>
                        <a:pt x="181" y="245"/>
                      </a:lnTo>
                      <a:lnTo>
                        <a:pt x="180" y="256"/>
                      </a:lnTo>
                      <a:lnTo>
                        <a:pt x="178" y="266"/>
                      </a:lnTo>
                      <a:lnTo>
                        <a:pt x="176" y="277"/>
                      </a:lnTo>
                      <a:lnTo>
                        <a:pt x="171" y="288"/>
                      </a:lnTo>
                      <a:lnTo>
                        <a:pt x="167" y="299"/>
                      </a:lnTo>
                      <a:lnTo>
                        <a:pt x="167" y="299"/>
                      </a:lnTo>
                      <a:lnTo>
                        <a:pt x="162" y="312"/>
                      </a:lnTo>
                      <a:lnTo>
                        <a:pt x="158" y="325"/>
                      </a:lnTo>
                      <a:lnTo>
                        <a:pt x="155" y="338"/>
                      </a:lnTo>
                      <a:lnTo>
                        <a:pt x="153" y="352"/>
                      </a:lnTo>
                      <a:lnTo>
                        <a:pt x="152" y="365"/>
                      </a:lnTo>
                      <a:lnTo>
                        <a:pt x="152" y="377"/>
                      </a:lnTo>
                      <a:lnTo>
                        <a:pt x="153" y="389"/>
                      </a:lnTo>
                      <a:lnTo>
                        <a:pt x="154" y="402"/>
                      </a:lnTo>
                      <a:lnTo>
                        <a:pt x="158" y="425"/>
                      </a:lnTo>
                      <a:lnTo>
                        <a:pt x="164" y="446"/>
                      </a:lnTo>
                      <a:lnTo>
                        <a:pt x="170" y="466"/>
                      </a:lnTo>
                      <a:lnTo>
                        <a:pt x="177" y="482"/>
                      </a:lnTo>
                      <a:lnTo>
                        <a:pt x="177" y="482"/>
                      </a:lnTo>
                      <a:lnTo>
                        <a:pt x="173" y="482"/>
                      </a:lnTo>
                      <a:lnTo>
                        <a:pt x="173" y="482"/>
                      </a:lnTo>
                      <a:lnTo>
                        <a:pt x="156" y="481"/>
                      </a:lnTo>
                      <a:lnTo>
                        <a:pt x="146" y="480"/>
                      </a:lnTo>
                      <a:lnTo>
                        <a:pt x="136" y="478"/>
                      </a:lnTo>
                      <a:lnTo>
                        <a:pt x="127" y="474"/>
                      </a:lnTo>
                      <a:lnTo>
                        <a:pt x="116" y="470"/>
                      </a:lnTo>
                      <a:lnTo>
                        <a:pt x="105" y="466"/>
                      </a:lnTo>
                      <a:lnTo>
                        <a:pt x="94" y="459"/>
                      </a:lnTo>
                      <a:lnTo>
                        <a:pt x="94" y="459"/>
                      </a:lnTo>
                      <a:lnTo>
                        <a:pt x="84" y="451"/>
                      </a:lnTo>
                      <a:lnTo>
                        <a:pt x="73" y="441"/>
                      </a:lnTo>
                      <a:lnTo>
                        <a:pt x="63" y="429"/>
                      </a:lnTo>
                      <a:lnTo>
                        <a:pt x="53" y="415"/>
                      </a:lnTo>
                      <a:lnTo>
                        <a:pt x="43" y="401"/>
                      </a:lnTo>
                      <a:lnTo>
                        <a:pt x="34" y="384"/>
                      </a:lnTo>
                      <a:lnTo>
                        <a:pt x="26" y="367"/>
                      </a:lnTo>
                      <a:lnTo>
                        <a:pt x="18" y="348"/>
                      </a:lnTo>
                      <a:lnTo>
                        <a:pt x="11" y="330"/>
                      </a:lnTo>
                      <a:lnTo>
                        <a:pt x="7" y="311"/>
                      </a:lnTo>
                      <a:lnTo>
                        <a:pt x="3" y="291"/>
                      </a:lnTo>
                      <a:lnTo>
                        <a:pt x="0" y="273"/>
                      </a:lnTo>
                      <a:lnTo>
                        <a:pt x="0" y="253"/>
                      </a:lnTo>
                      <a:lnTo>
                        <a:pt x="2" y="234"/>
                      </a:lnTo>
                      <a:lnTo>
                        <a:pt x="5" y="217"/>
                      </a:lnTo>
                      <a:lnTo>
                        <a:pt x="9" y="200"/>
                      </a:lnTo>
                      <a:lnTo>
                        <a:pt x="9" y="200"/>
                      </a:lnTo>
                      <a:lnTo>
                        <a:pt x="15" y="185"/>
                      </a:lnTo>
                      <a:lnTo>
                        <a:pt x="19" y="170"/>
                      </a:lnTo>
                      <a:lnTo>
                        <a:pt x="24" y="155"/>
                      </a:lnTo>
                      <a:lnTo>
                        <a:pt x="26" y="141"/>
                      </a:lnTo>
                      <a:lnTo>
                        <a:pt x="28" y="128"/>
                      </a:lnTo>
                      <a:lnTo>
                        <a:pt x="29" y="116"/>
                      </a:lnTo>
                      <a:lnTo>
                        <a:pt x="29" y="92"/>
                      </a:lnTo>
                      <a:lnTo>
                        <a:pt x="27" y="72"/>
                      </a:lnTo>
                      <a:lnTo>
                        <a:pt x="25" y="54"/>
                      </a:lnTo>
                      <a:lnTo>
                        <a:pt x="20" y="40"/>
                      </a:lnTo>
                      <a:lnTo>
                        <a:pt x="17" y="29"/>
                      </a:lnTo>
                      <a:lnTo>
                        <a:pt x="17" y="29"/>
                      </a:lnTo>
                      <a:lnTo>
                        <a:pt x="24" y="19"/>
                      </a:lnTo>
                      <a:lnTo>
                        <a:pt x="31" y="11"/>
                      </a:lnTo>
                      <a:lnTo>
                        <a:pt x="36" y="6"/>
                      </a:lnTo>
                      <a:lnTo>
                        <a:pt x="41" y="3"/>
                      </a:lnTo>
                      <a:lnTo>
                        <a:pt x="47" y="1"/>
                      </a:lnTo>
                      <a:lnTo>
                        <a:pt x="52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3" name="Freeform 19"/>
                <p:cNvSpPr>
                  <a:spLocks/>
                </p:cNvSpPr>
                <p:nvPr/>
              </p:nvSpPr>
              <p:spPr bwMode="auto">
                <a:xfrm>
                  <a:off x="3305176" y="2354263"/>
                  <a:ext cx="46038" cy="104775"/>
                </a:xfrm>
                <a:custGeom>
                  <a:avLst/>
                  <a:gdLst>
                    <a:gd name="T0" fmla="*/ 73 w 232"/>
                    <a:gd name="T1" fmla="*/ 0 h 526"/>
                    <a:gd name="T2" fmla="*/ 60 w 232"/>
                    <a:gd name="T3" fmla="*/ 2 h 526"/>
                    <a:gd name="T4" fmla="*/ 48 w 232"/>
                    <a:gd name="T5" fmla="*/ 7 h 526"/>
                    <a:gd name="T6" fmla="*/ 29 w 232"/>
                    <a:gd name="T7" fmla="*/ 25 h 526"/>
                    <a:gd name="T8" fmla="*/ 18 w 232"/>
                    <a:gd name="T9" fmla="*/ 43 h 526"/>
                    <a:gd name="T10" fmla="*/ 14 w 232"/>
                    <a:gd name="T11" fmla="*/ 50 h 526"/>
                    <a:gd name="T12" fmla="*/ 18 w 232"/>
                    <a:gd name="T13" fmla="*/ 62 h 526"/>
                    <a:gd name="T14" fmla="*/ 26 w 232"/>
                    <a:gd name="T15" fmla="*/ 95 h 526"/>
                    <a:gd name="T16" fmla="*/ 28 w 232"/>
                    <a:gd name="T17" fmla="*/ 118 h 526"/>
                    <a:gd name="T18" fmla="*/ 27 w 232"/>
                    <a:gd name="T19" fmla="*/ 147 h 526"/>
                    <a:gd name="T20" fmla="*/ 21 w 232"/>
                    <a:gd name="T21" fmla="*/ 178 h 526"/>
                    <a:gd name="T22" fmla="*/ 11 w 232"/>
                    <a:gd name="T23" fmla="*/ 214 h 526"/>
                    <a:gd name="T24" fmla="*/ 7 w 232"/>
                    <a:gd name="T25" fmla="*/ 223 h 526"/>
                    <a:gd name="T26" fmla="*/ 1 w 232"/>
                    <a:gd name="T27" fmla="*/ 253 h 526"/>
                    <a:gd name="T28" fmla="*/ 0 w 232"/>
                    <a:gd name="T29" fmla="*/ 295 h 526"/>
                    <a:gd name="T30" fmla="*/ 6 w 232"/>
                    <a:gd name="T31" fmla="*/ 337 h 526"/>
                    <a:gd name="T32" fmla="*/ 19 w 232"/>
                    <a:gd name="T33" fmla="*/ 378 h 526"/>
                    <a:gd name="T34" fmla="*/ 36 w 232"/>
                    <a:gd name="T35" fmla="*/ 417 h 526"/>
                    <a:gd name="T36" fmla="*/ 57 w 232"/>
                    <a:gd name="T37" fmla="*/ 451 h 526"/>
                    <a:gd name="T38" fmla="*/ 80 w 232"/>
                    <a:gd name="T39" fmla="*/ 480 h 526"/>
                    <a:gd name="T40" fmla="*/ 103 w 232"/>
                    <a:gd name="T41" fmla="*/ 500 h 526"/>
                    <a:gd name="T42" fmla="*/ 116 w 232"/>
                    <a:gd name="T43" fmla="*/ 506 h 526"/>
                    <a:gd name="T44" fmla="*/ 140 w 232"/>
                    <a:gd name="T45" fmla="*/ 517 h 526"/>
                    <a:gd name="T46" fmla="*/ 163 w 232"/>
                    <a:gd name="T47" fmla="*/ 523 h 526"/>
                    <a:gd name="T48" fmla="*/ 194 w 232"/>
                    <a:gd name="T49" fmla="*/ 526 h 526"/>
                    <a:gd name="T50" fmla="*/ 209 w 232"/>
                    <a:gd name="T51" fmla="*/ 525 h 526"/>
                    <a:gd name="T52" fmla="*/ 232 w 232"/>
                    <a:gd name="T53" fmla="*/ 520 h 526"/>
                    <a:gd name="T54" fmla="*/ 230 w 232"/>
                    <a:gd name="T55" fmla="*/ 516 h 526"/>
                    <a:gd name="T56" fmla="*/ 213 w 232"/>
                    <a:gd name="T57" fmla="*/ 484 h 526"/>
                    <a:gd name="T58" fmla="*/ 205 w 232"/>
                    <a:gd name="T59" fmla="*/ 459 h 526"/>
                    <a:gd name="T60" fmla="*/ 198 w 232"/>
                    <a:gd name="T61" fmla="*/ 429 h 526"/>
                    <a:gd name="T62" fmla="*/ 195 w 232"/>
                    <a:gd name="T63" fmla="*/ 398 h 526"/>
                    <a:gd name="T64" fmla="*/ 198 w 232"/>
                    <a:gd name="T65" fmla="*/ 364 h 526"/>
                    <a:gd name="T66" fmla="*/ 208 w 232"/>
                    <a:gd name="T67" fmla="*/ 330 h 526"/>
                    <a:gd name="T68" fmla="*/ 213 w 232"/>
                    <a:gd name="T69" fmla="*/ 319 h 526"/>
                    <a:gd name="T70" fmla="*/ 220 w 232"/>
                    <a:gd name="T71" fmla="*/ 298 h 526"/>
                    <a:gd name="T72" fmla="*/ 224 w 232"/>
                    <a:gd name="T73" fmla="*/ 264 h 526"/>
                    <a:gd name="T74" fmla="*/ 223 w 232"/>
                    <a:gd name="T75" fmla="*/ 220 h 526"/>
                    <a:gd name="T76" fmla="*/ 213 w 232"/>
                    <a:gd name="T77" fmla="*/ 176 h 526"/>
                    <a:gd name="T78" fmla="*/ 197 w 232"/>
                    <a:gd name="T79" fmla="*/ 135 h 526"/>
                    <a:gd name="T80" fmla="*/ 175 w 232"/>
                    <a:gd name="T81" fmla="*/ 95 h 526"/>
                    <a:gd name="T82" fmla="*/ 151 w 232"/>
                    <a:gd name="T83" fmla="*/ 60 h 526"/>
                    <a:gd name="T84" fmla="*/ 125 w 232"/>
                    <a:gd name="T85" fmla="*/ 30 h 526"/>
                    <a:gd name="T86" fmla="*/ 111 w 232"/>
                    <a:gd name="T87" fmla="*/ 18 h 526"/>
                    <a:gd name="T88" fmla="*/ 91 w 232"/>
                    <a:gd name="T89" fmla="*/ 4 h 526"/>
                    <a:gd name="T90" fmla="*/ 73 w 232"/>
                    <a:gd name="T91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2" h="526">
                      <a:moveTo>
                        <a:pt x="73" y="0"/>
                      </a:moveTo>
                      <a:lnTo>
                        <a:pt x="73" y="0"/>
                      </a:lnTo>
                      <a:lnTo>
                        <a:pt x="65" y="1"/>
                      </a:lnTo>
                      <a:lnTo>
                        <a:pt x="60" y="2"/>
                      </a:lnTo>
                      <a:lnTo>
                        <a:pt x="53" y="4"/>
                      </a:lnTo>
                      <a:lnTo>
                        <a:pt x="48" y="7"/>
                      </a:lnTo>
                      <a:lnTo>
                        <a:pt x="38" y="16"/>
                      </a:lnTo>
                      <a:lnTo>
                        <a:pt x="29" y="25"/>
                      </a:lnTo>
                      <a:lnTo>
                        <a:pt x="23" y="35"/>
                      </a:lnTo>
                      <a:lnTo>
                        <a:pt x="18" y="43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5" y="53"/>
                      </a:lnTo>
                      <a:lnTo>
                        <a:pt x="18" y="62"/>
                      </a:lnTo>
                      <a:lnTo>
                        <a:pt x="23" y="76"/>
                      </a:lnTo>
                      <a:lnTo>
                        <a:pt x="26" y="95"/>
                      </a:lnTo>
                      <a:lnTo>
                        <a:pt x="28" y="106"/>
                      </a:lnTo>
                      <a:lnTo>
                        <a:pt x="28" y="118"/>
                      </a:lnTo>
                      <a:lnTo>
                        <a:pt x="28" y="132"/>
                      </a:lnTo>
                      <a:lnTo>
                        <a:pt x="27" y="147"/>
                      </a:lnTo>
                      <a:lnTo>
                        <a:pt x="25" y="162"/>
                      </a:lnTo>
                      <a:lnTo>
                        <a:pt x="21" y="178"/>
                      </a:lnTo>
                      <a:lnTo>
                        <a:pt x="16" y="196"/>
                      </a:lnTo>
                      <a:lnTo>
                        <a:pt x="11" y="214"/>
                      </a:lnTo>
                      <a:lnTo>
                        <a:pt x="11" y="214"/>
                      </a:lnTo>
                      <a:lnTo>
                        <a:pt x="7" y="223"/>
                      </a:lnTo>
                      <a:lnTo>
                        <a:pt x="4" y="233"/>
                      </a:lnTo>
                      <a:lnTo>
                        <a:pt x="1" y="253"/>
                      </a:lnTo>
                      <a:lnTo>
                        <a:pt x="0" y="274"/>
                      </a:lnTo>
                      <a:lnTo>
                        <a:pt x="0" y="295"/>
                      </a:lnTo>
                      <a:lnTo>
                        <a:pt x="2" y="315"/>
                      </a:lnTo>
                      <a:lnTo>
                        <a:pt x="6" y="337"/>
                      </a:lnTo>
                      <a:lnTo>
                        <a:pt x="12" y="358"/>
                      </a:lnTo>
                      <a:lnTo>
                        <a:pt x="19" y="378"/>
                      </a:lnTo>
                      <a:lnTo>
                        <a:pt x="27" y="399"/>
                      </a:lnTo>
                      <a:lnTo>
                        <a:pt x="36" y="417"/>
                      </a:lnTo>
                      <a:lnTo>
                        <a:pt x="46" y="435"/>
                      </a:lnTo>
                      <a:lnTo>
                        <a:pt x="57" y="451"/>
                      </a:lnTo>
                      <a:lnTo>
                        <a:pt x="68" y="467"/>
                      </a:lnTo>
                      <a:lnTo>
                        <a:pt x="80" y="480"/>
                      </a:lnTo>
                      <a:lnTo>
                        <a:pt x="92" y="491"/>
                      </a:lnTo>
                      <a:lnTo>
                        <a:pt x="103" y="500"/>
                      </a:lnTo>
                      <a:lnTo>
                        <a:pt x="103" y="500"/>
                      </a:lnTo>
                      <a:lnTo>
                        <a:pt x="116" y="506"/>
                      </a:lnTo>
                      <a:lnTo>
                        <a:pt x="128" y="513"/>
                      </a:lnTo>
                      <a:lnTo>
                        <a:pt x="140" y="517"/>
                      </a:lnTo>
                      <a:lnTo>
                        <a:pt x="152" y="520"/>
                      </a:lnTo>
                      <a:lnTo>
                        <a:pt x="163" y="523"/>
                      </a:lnTo>
                      <a:lnTo>
                        <a:pt x="174" y="525"/>
                      </a:lnTo>
                      <a:lnTo>
                        <a:pt x="194" y="526"/>
                      </a:lnTo>
                      <a:lnTo>
                        <a:pt x="194" y="526"/>
                      </a:lnTo>
                      <a:lnTo>
                        <a:pt x="209" y="525"/>
                      </a:lnTo>
                      <a:lnTo>
                        <a:pt x="221" y="524"/>
                      </a:lnTo>
                      <a:lnTo>
                        <a:pt x="232" y="520"/>
                      </a:lnTo>
                      <a:lnTo>
                        <a:pt x="232" y="520"/>
                      </a:lnTo>
                      <a:lnTo>
                        <a:pt x="230" y="516"/>
                      </a:lnTo>
                      <a:lnTo>
                        <a:pt x="223" y="504"/>
                      </a:lnTo>
                      <a:lnTo>
                        <a:pt x="213" y="484"/>
                      </a:lnTo>
                      <a:lnTo>
                        <a:pt x="209" y="472"/>
                      </a:lnTo>
                      <a:lnTo>
                        <a:pt x="205" y="459"/>
                      </a:lnTo>
                      <a:lnTo>
                        <a:pt x="201" y="445"/>
                      </a:lnTo>
                      <a:lnTo>
                        <a:pt x="198" y="429"/>
                      </a:lnTo>
                      <a:lnTo>
                        <a:pt x="196" y="414"/>
                      </a:lnTo>
                      <a:lnTo>
                        <a:pt x="195" y="398"/>
                      </a:lnTo>
                      <a:lnTo>
                        <a:pt x="196" y="381"/>
                      </a:lnTo>
                      <a:lnTo>
                        <a:pt x="198" y="364"/>
                      </a:lnTo>
                      <a:lnTo>
                        <a:pt x="202" y="347"/>
                      </a:lnTo>
                      <a:lnTo>
                        <a:pt x="208" y="330"/>
                      </a:lnTo>
                      <a:lnTo>
                        <a:pt x="208" y="330"/>
                      </a:lnTo>
                      <a:lnTo>
                        <a:pt x="213" y="319"/>
                      </a:lnTo>
                      <a:lnTo>
                        <a:pt x="217" y="309"/>
                      </a:lnTo>
                      <a:lnTo>
                        <a:pt x="220" y="298"/>
                      </a:lnTo>
                      <a:lnTo>
                        <a:pt x="222" y="286"/>
                      </a:lnTo>
                      <a:lnTo>
                        <a:pt x="224" y="264"/>
                      </a:lnTo>
                      <a:lnTo>
                        <a:pt x="225" y="242"/>
                      </a:lnTo>
                      <a:lnTo>
                        <a:pt x="223" y="220"/>
                      </a:lnTo>
                      <a:lnTo>
                        <a:pt x="219" y="198"/>
                      </a:lnTo>
                      <a:lnTo>
                        <a:pt x="213" y="176"/>
                      </a:lnTo>
                      <a:lnTo>
                        <a:pt x="206" y="155"/>
                      </a:lnTo>
                      <a:lnTo>
                        <a:pt x="197" y="135"/>
                      </a:lnTo>
                      <a:lnTo>
                        <a:pt x="186" y="115"/>
                      </a:lnTo>
                      <a:lnTo>
                        <a:pt x="175" y="95"/>
                      </a:lnTo>
                      <a:lnTo>
                        <a:pt x="163" y="78"/>
                      </a:lnTo>
                      <a:lnTo>
                        <a:pt x="151" y="60"/>
                      </a:lnTo>
                      <a:lnTo>
                        <a:pt x="138" y="45"/>
                      </a:lnTo>
                      <a:lnTo>
                        <a:pt x="125" y="30"/>
                      </a:lnTo>
                      <a:lnTo>
                        <a:pt x="111" y="18"/>
                      </a:lnTo>
                      <a:lnTo>
                        <a:pt x="111" y="18"/>
                      </a:lnTo>
                      <a:lnTo>
                        <a:pt x="100" y="10"/>
                      </a:lnTo>
                      <a:lnTo>
                        <a:pt x="91" y="4"/>
                      </a:lnTo>
                      <a:lnTo>
                        <a:pt x="82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4" name="Freeform 20"/>
                <p:cNvSpPr>
                  <a:spLocks/>
                </p:cNvSpPr>
                <p:nvPr/>
              </p:nvSpPr>
              <p:spPr bwMode="auto">
                <a:xfrm>
                  <a:off x="3409951" y="2416175"/>
                  <a:ext cx="39688" cy="100013"/>
                </a:xfrm>
                <a:custGeom>
                  <a:avLst/>
                  <a:gdLst>
                    <a:gd name="T0" fmla="*/ 182 w 204"/>
                    <a:gd name="T1" fmla="*/ 504 h 504"/>
                    <a:gd name="T2" fmla="*/ 156 w 204"/>
                    <a:gd name="T3" fmla="*/ 502 h 504"/>
                    <a:gd name="T4" fmla="*/ 134 w 204"/>
                    <a:gd name="T5" fmla="*/ 497 h 504"/>
                    <a:gd name="T6" fmla="*/ 111 w 204"/>
                    <a:gd name="T7" fmla="*/ 486 h 504"/>
                    <a:gd name="T8" fmla="*/ 99 w 204"/>
                    <a:gd name="T9" fmla="*/ 479 h 504"/>
                    <a:gd name="T10" fmla="*/ 76 w 204"/>
                    <a:gd name="T11" fmla="*/ 460 h 504"/>
                    <a:gd name="T12" fmla="*/ 55 w 204"/>
                    <a:gd name="T13" fmla="*/ 433 h 504"/>
                    <a:gd name="T14" fmla="*/ 35 w 204"/>
                    <a:gd name="T15" fmla="*/ 400 h 504"/>
                    <a:gd name="T16" fmla="*/ 19 w 204"/>
                    <a:gd name="T17" fmla="*/ 363 h 504"/>
                    <a:gd name="T18" fmla="*/ 7 w 204"/>
                    <a:gd name="T19" fmla="*/ 323 h 504"/>
                    <a:gd name="T20" fmla="*/ 0 w 204"/>
                    <a:gd name="T21" fmla="*/ 283 h 504"/>
                    <a:gd name="T22" fmla="*/ 1 w 204"/>
                    <a:gd name="T23" fmla="*/ 243 h 504"/>
                    <a:gd name="T24" fmla="*/ 10 w 204"/>
                    <a:gd name="T25" fmla="*/ 207 h 504"/>
                    <a:gd name="T26" fmla="*/ 15 w 204"/>
                    <a:gd name="T27" fmla="*/ 191 h 504"/>
                    <a:gd name="T28" fmla="*/ 24 w 204"/>
                    <a:gd name="T29" fmla="*/ 160 h 504"/>
                    <a:gd name="T30" fmla="*/ 27 w 204"/>
                    <a:gd name="T31" fmla="*/ 133 h 504"/>
                    <a:gd name="T32" fmla="*/ 29 w 204"/>
                    <a:gd name="T33" fmla="*/ 96 h 504"/>
                    <a:gd name="T34" fmla="*/ 23 w 204"/>
                    <a:gd name="T35" fmla="*/ 60 h 504"/>
                    <a:gd name="T36" fmla="*/ 15 w 204"/>
                    <a:gd name="T37" fmla="*/ 39 h 504"/>
                    <a:gd name="T38" fmla="*/ 23 w 204"/>
                    <a:gd name="T39" fmla="*/ 27 h 504"/>
                    <a:gd name="T40" fmla="*/ 33 w 204"/>
                    <a:gd name="T41" fmla="*/ 14 h 504"/>
                    <a:gd name="T42" fmla="*/ 47 w 204"/>
                    <a:gd name="T43" fmla="*/ 4 h 504"/>
                    <a:gd name="T44" fmla="*/ 62 w 204"/>
                    <a:gd name="T45" fmla="*/ 0 h 504"/>
                    <a:gd name="T46" fmla="*/ 69 w 204"/>
                    <a:gd name="T47" fmla="*/ 1 h 504"/>
                    <a:gd name="T48" fmla="*/ 86 w 204"/>
                    <a:gd name="T49" fmla="*/ 9 h 504"/>
                    <a:gd name="T50" fmla="*/ 93 w 204"/>
                    <a:gd name="T51" fmla="*/ 15 h 504"/>
                    <a:gd name="T52" fmla="*/ 118 w 204"/>
                    <a:gd name="T53" fmla="*/ 41 h 504"/>
                    <a:gd name="T54" fmla="*/ 143 w 204"/>
                    <a:gd name="T55" fmla="*/ 71 h 504"/>
                    <a:gd name="T56" fmla="*/ 166 w 204"/>
                    <a:gd name="T57" fmla="*/ 106 h 504"/>
                    <a:gd name="T58" fmla="*/ 184 w 204"/>
                    <a:gd name="T59" fmla="*/ 146 h 504"/>
                    <a:gd name="T60" fmla="*/ 197 w 204"/>
                    <a:gd name="T61" fmla="*/ 186 h 504"/>
                    <a:gd name="T62" fmla="*/ 204 w 204"/>
                    <a:gd name="T63" fmla="*/ 229 h 504"/>
                    <a:gd name="T64" fmla="*/ 201 w 204"/>
                    <a:gd name="T65" fmla="*/ 272 h 504"/>
                    <a:gd name="T66" fmla="*/ 196 w 204"/>
                    <a:gd name="T67" fmla="*/ 294 h 504"/>
                    <a:gd name="T68" fmla="*/ 187 w 204"/>
                    <a:gd name="T69" fmla="*/ 315 h 504"/>
                    <a:gd name="T70" fmla="*/ 182 w 204"/>
                    <a:gd name="T71" fmla="*/ 329 h 504"/>
                    <a:gd name="T72" fmla="*/ 175 w 204"/>
                    <a:gd name="T73" fmla="*/ 357 h 504"/>
                    <a:gd name="T74" fmla="*/ 172 w 204"/>
                    <a:gd name="T75" fmla="*/ 385 h 504"/>
                    <a:gd name="T76" fmla="*/ 173 w 204"/>
                    <a:gd name="T77" fmla="*/ 412 h 504"/>
                    <a:gd name="T78" fmla="*/ 180 w 204"/>
                    <a:gd name="T79" fmla="*/ 449 h 504"/>
                    <a:gd name="T80" fmla="*/ 192 w 204"/>
                    <a:gd name="T81" fmla="*/ 489 h 504"/>
                    <a:gd name="T82" fmla="*/ 198 w 204"/>
                    <a:gd name="T83" fmla="*/ 503 h 504"/>
                    <a:gd name="T84" fmla="*/ 182 w 204"/>
                    <a:gd name="T85" fmla="*/ 504 h 504"/>
                    <a:gd name="T86" fmla="*/ 182 w 204"/>
                    <a:gd name="T87" fmla="*/ 504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04" h="504">
                      <a:moveTo>
                        <a:pt x="182" y="504"/>
                      </a:moveTo>
                      <a:lnTo>
                        <a:pt x="182" y="504"/>
                      </a:lnTo>
                      <a:lnTo>
                        <a:pt x="166" y="503"/>
                      </a:lnTo>
                      <a:lnTo>
                        <a:pt x="156" y="502"/>
                      </a:lnTo>
                      <a:lnTo>
                        <a:pt x="145" y="500"/>
                      </a:lnTo>
                      <a:lnTo>
                        <a:pt x="134" y="497"/>
                      </a:lnTo>
                      <a:lnTo>
                        <a:pt x="123" y="492"/>
                      </a:lnTo>
                      <a:lnTo>
                        <a:pt x="111" y="486"/>
                      </a:lnTo>
                      <a:lnTo>
                        <a:pt x="99" y="479"/>
                      </a:lnTo>
                      <a:lnTo>
                        <a:pt x="99" y="479"/>
                      </a:lnTo>
                      <a:lnTo>
                        <a:pt x="88" y="470"/>
                      </a:lnTo>
                      <a:lnTo>
                        <a:pt x="76" y="460"/>
                      </a:lnTo>
                      <a:lnTo>
                        <a:pt x="65" y="447"/>
                      </a:lnTo>
                      <a:lnTo>
                        <a:pt x="55" y="433"/>
                      </a:lnTo>
                      <a:lnTo>
                        <a:pt x="44" y="418"/>
                      </a:lnTo>
                      <a:lnTo>
                        <a:pt x="35" y="400"/>
                      </a:lnTo>
                      <a:lnTo>
                        <a:pt x="26" y="383"/>
                      </a:lnTo>
                      <a:lnTo>
                        <a:pt x="19" y="363"/>
                      </a:lnTo>
                      <a:lnTo>
                        <a:pt x="12" y="344"/>
                      </a:lnTo>
                      <a:lnTo>
                        <a:pt x="7" y="323"/>
                      </a:lnTo>
                      <a:lnTo>
                        <a:pt x="2" y="304"/>
                      </a:lnTo>
                      <a:lnTo>
                        <a:pt x="0" y="283"/>
                      </a:lnTo>
                      <a:lnTo>
                        <a:pt x="0" y="263"/>
                      </a:lnTo>
                      <a:lnTo>
                        <a:pt x="1" y="243"/>
                      </a:lnTo>
                      <a:lnTo>
                        <a:pt x="4" y="225"/>
                      </a:lnTo>
                      <a:lnTo>
                        <a:pt x="10" y="207"/>
                      </a:lnTo>
                      <a:lnTo>
                        <a:pt x="10" y="207"/>
                      </a:lnTo>
                      <a:lnTo>
                        <a:pt x="15" y="191"/>
                      </a:lnTo>
                      <a:lnTo>
                        <a:pt x="20" y="175"/>
                      </a:lnTo>
                      <a:lnTo>
                        <a:pt x="24" y="160"/>
                      </a:lnTo>
                      <a:lnTo>
                        <a:pt x="26" y="146"/>
                      </a:lnTo>
                      <a:lnTo>
                        <a:pt x="27" y="133"/>
                      </a:lnTo>
                      <a:lnTo>
                        <a:pt x="29" y="119"/>
                      </a:lnTo>
                      <a:lnTo>
                        <a:pt x="29" y="96"/>
                      </a:lnTo>
                      <a:lnTo>
                        <a:pt x="26" y="77"/>
                      </a:lnTo>
                      <a:lnTo>
                        <a:pt x="23" y="60"/>
                      </a:lnTo>
                      <a:lnTo>
                        <a:pt x="19" y="48"/>
                      </a:lnTo>
                      <a:lnTo>
                        <a:pt x="15" y="39"/>
                      </a:lnTo>
                      <a:lnTo>
                        <a:pt x="15" y="39"/>
                      </a:lnTo>
                      <a:lnTo>
                        <a:pt x="23" y="27"/>
                      </a:lnTo>
                      <a:lnTo>
                        <a:pt x="27" y="21"/>
                      </a:lnTo>
                      <a:lnTo>
                        <a:pt x="33" y="14"/>
                      </a:lnTo>
                      <a:lnTo>
                        <a:pt x="39" y="9"/>
                      </a:lnTo>
                      <a:lnTo>
                        <a:pt x="47" y="4"/>
                      </a:lnTo>
                      <a:lnTo>
                        <a:pt x="54" y="1"/>
                      </a:lnTo>
                      <a:lnTo>
                        <a:pt x="62" y="0"/>
                      </a:lnTo>
                      <a:lnTo>
                        <a:pt x="62" y="0"/>
                      </a:lnTo>
                      <a:lnTo>
                        <a:pt x="69" y="1"/>
                      </a:lnTo>
                      <a:lnTo>
                        <a:pt x="78" y="3"/>
                      </a:lnTo>
                      <a:lnTo>
                        <a:pt x="86" y="9"/>
                      </a:lnTo>
                      <a:lnTo>
                        <a:pt x="93" y="15"/>
                      </a:lnTo>
                      <a:lnTo>
                        <a:pt x="93" y="15"/>
                      </a:lnTo>
                      <a:lnTo>
                        <a:pt x="106" y="26"/>
                      </a:lnTo>
                      <a:lnTo>
                        <a:pt x="118" y="41"/>
                      </a:lnTo>
                      <a:lnTo>
                        <a:pt x="130" y="55"/>
                      </a:lnTo>
                      <a:lnTo>
                        <a:pt x="143" y="71"/>
                      </a:lnTo>
                      <a:lnTo>
                        <a:pt x="155" y="89"/>
                      </a:lnTo>
                      <a:lnTo>
                        <a:pt x="166" y="106"/>
                      </a:lnTo>
                      <a:lnTo>
                        <a:pt x="175" y="126"/>
                      </a:lnTo>
                      <a:lnTo>
                        <a:pt x="184" y="146"/>
                      </a:lnTo>
                      <a:lnTo>
                        <a:pt x="192" y="165"/>
                      </a:lnTo>
                      <a:lnTo>
                        <a:pt x="197" y="186"/>
                      </a:lnTo>
                      <a:lnTo>
                        <a:pt x="202" y="208"/>
                      </a:lnTo>
                      <a:lnTo>
                        <a:pt x="204" y="229"/>
                      </a:lnTo>
                      <a:lnTo>
                        <a:pt x="204" y="251"/>
                      </a:lnTo>
                      <a:lnTo>
                        <a:pt x="201" y="272"/>
                      </a:lnTo>
                      <a:lnTo>
                        <a:pt x="198" y="283"/>
                      </a:lnTo>
                      <a:lnTo>
                        <a:pt x="196" y="294"/>
                      </a:lnTo>
                      <a:lnTo>
                        <a:pt x="192" y="304"/>
                      </a:lnTo>
                      <a:lnTo>
                        <a:pt x="187" y="315"/>
                      </a:lnTo>
                      <a:lnTo>
                        <a:pt x="187" y="315"/>
                      </a:lnTo>
                      <a:lnTo>
                        <a:pt x="182" y="329"/>
                      </a:lnTo>
                      <a:lnTo>
                        <a:pt x="178" y="343"/>
                      </a:lnTo>
                      <a:lnTo>
                        <a:pt x="175" y="357"/>
                      </a:lnTo>
                      <a:lnTo>
                        <a:pt x="173" y="372"/>
                      </a:lnTo>
                      <a:lnTo>
                        <a:pt x="172" y="385"/>
                      </a:lnTo>
                      <a:lnTo>
                        <a:pt x="172" y="399"/>
                      </a:lnTo>
                      <a:lnTo>
                        <a:pt x="173" y="412"/>
                      </a:lnTo>
                      <a:lnTo>
                        <a:pt x="175" y="425"/>
                      </a:lnTo>
                      <a:lnTo>
                        <a:pt x="180" y="449"/>
                      </a:lnTo>
                      <a:lnTo>
                        <a:pt x="186" y="471"/>
                      </a:lnTo>
                      <a:lnTo>
                        <a:pt x="192" y="489"/>
                      </a:lnTo>
                      <a:lnTo>
                        <a:pt x="198" y="503"/>
                      </a:lnTo>
                      <a:lnTo>
                        <a:pt x="198" y="503"/>
                      </a:lnTo>
                      <a:lnTo>
                        <a:pt x="182" y="504"/>
                      </a:lnTo>
                      <a:lnTo>
                        <a:pt x="182" y="504"/>
                      </a:lnTo>
                      <a:lnTo>
                        <a:pt x="182" y="504"/>
                      </a:lnTo>
                      <a:lnTo>
                        <a:pt x="182" y="5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5" name="Freeform 21"/>
                <p:cNvSpPr>
                  <a:spLocks noEditPoints="1"/>
                </p:cNvSpPr>
                <p:nvPr/>
              </p:nvSpPr>
              <p:spPr bwMode="auto">
                <a:xfrm>
                  <a:off x="3408363" y="2414588"/>
                  <a:ext cx="44450" cy="103188"/>
                </a:xfrm>
                <a:custGeom>
                  <a:avLst/>
                  <a:gdLst>
                    <a:gd name="T0" fmla="*/ 79 w 226"/>
                    <a:gd name="T1" fmla="*/ 22 h 526"/>
                    <a:gd name="T2" fmla="*/ 98 w 226"/>
                    <a:gd name="T3" fmla="*/ 34 h 526"/>
                    <a:gd name="T4" fmla="*/ 124 w 226"/>
                    <a:gd name="T5" fmla="*/ 61 h 526"/>
                    <a:gd name="T6" fmla="*/ 159 w 226"/>
                    <a:gd name="T7" fmla="*/ 110 h 526"/>
                    <a:gd name="T8" fmla="*/ 185 w 226"/>
                    <a:gd name="T9" fmla="*/ 162 h 526"/>
                    <a:gd name="T10" fmla="*/ 196 w 226"/>
                    <a:gd name="T11" fmla="*/ 196 h 526"/>
                    <a:gd name="T12" fmla="*/ 204 w 226"/>
                    <a:gd name="T13" fmla="*/ 257 h 526"/>
                    <a:gd name="T14" fmla="*/ 200 w 226"/>
                    <a:gd name="T15" fmla="*/ 288 h 526"/>
                    <a:gd name="T16" fmla="*/ 189 w 226"/>
                    <a:gd name="T17" fmla="*/ 321 h 526"/>
                    <a:gd name="T18" fmla="*/ 180 w 226"/>
                    <a:gd name="T19" fmla="*/ 346 h 526"/>
                    <a:gd name="T20" fmla="*/ 173 w 226"/>
                    <a:gd name="T21" fmla="*/ 386 h 526"/>
                    <a:gd name="T22" fmla="*/ 173 w 226"/>
                    <a:gd name="T23" fmla="*/ 423 h 526"/>
                    <a:gd name="T24" fmla="*/ 187 w 226"/>
                    <a:gd name="T25" fmla="*/ 488 h 526"/>
                    <a:gd name="T26" fmla="*/ 178 w 226"/>
                    <a:gd name="T27" fmla="*/ 503 h 526"/>
                    <a:gd name="T28" fmla="*/ 148 w 226"/>
                    <a:gd name="T29" fmla="*/ 497 h 526"/>
                    <a:gd name="T30" fmla="*/ 115 w 226"/>
                    <a:gd name="T31" fmla="*/ 480 h 526"/>
                    <a:gd name="T32" fmla="*/ 94 w 226"/>
                    <a:gd name="T33" fmla="*/ 463 h 526"/>
                    <a:gd name="T34" fmla="*/ 65 w 226"/>
                    <a:gd name="T35" fmla="*/ 422 h 526"/>
                    <a:gd name="T36" fmla="*/ 40 w 226"/>
                    <a:gd name="T37" fmla="*/ 371 h 526"/>
                    <a:gd name="T38" fmla="*/ 24 w 226"/>
                    <a:gd name="T39" fmla="*/ 314 h 526"/>
                    <a:gd name="T40" fmla="*/ 23 w 226"/>
                    <a:gd name="T41" fmla="*/ 257 h 526"/>
                    <a:gd name="T42" fmla="*/ 31 w 226"/>
                    <a:gd name="T43" fmla="*/ 221 h 526"/>
                    <a:gd name="T44" fmla="*/ 45 w 226"/>
                    <a:gd name="T45" fmla="*/ 176 h 526"/>
                    <a:gd name="T46" fmla="*/ 50 w 226"/>
                    <a:gd name="T47" fmla="*/ 137 h 526"/>
                    <a:gd name="T48" fmla="*/ 46 w 226"/>
                    <a:gd name="T49" fmla="*/ 76 h 526"/>
                    <a:gd name="T50" fmla="*/ 38 w 226"/>
                    <a:gd name="T51" fmla="*/ 52 h 526"/>
                    <a:gd name="T52" fmla="*/ 57 w 226"/>
                    <a:gd name="T53" fmla="*/ 27 h 526"/>
                    <a:gd name="T54" fmla="*/ 73 w 226"/>
                    <a:gd name="T55" fmla="*/ 22 h 526"/>
                    <a:gd name="T56" fmla="*/ 66 w 226"/>
                    <a:gd name="T57" fmla="*/ 0 h 526"/>
                    <a:gd name="T58" fmla="*/ 48 w 226"/>
                    <a:gd name="T59" fmla="*/ 8 h 526"/>
                    <a:gd name="T60" fmla="*/ 23 w 226"/>
                    <a:gd name="T61" fmla="*/ 34 h 526"/>
                    <a:gd name="T62" fmla="*/ 14 w 226"/>
                    <a:gd name="T63" fmla="*/ 50 h 526"/>
                    <a:gd name="T64" fmla="*/ 23 w 226"/>
                    <a:gd name="T65" fmla="*/ 76 h 526"/>
                    <a:gd name="T66" fmla="*/ 29 w 226"/>
                    <a:gd name="T67" fmla="*/ 118 h 526"/>
                    <a:gd name="T68" fmla="*/ 25 w 226"/>
                    <a:gd name="T69" fmla="*/ 162 h 526"/>
                    <a:gd name="T70" fmla="*/ 11 w 226"/>
                    <a:gd name="T71" fmla="*/ 214 h 526"/>
                    <a:gd name="T72" fmla="*/ 4 w 226"/>
                    <a:gd name="T73" fmla="*/ 232 h 526"/>
                    <a:gd name="T74" fmla="*/ 0 w 226"/>
                    <a:gd name="T75" fmla="*/ 294 h 526"/>
                    <a:gd name="T76" fmla="*/ 12 w 226"/>
                    <a:gd name="T77" fmla="*/ 357 h 526"/>
                    <a:gd name="T78" fmla="*/ 36 w 226"/>
                    <a:gd name="T79" fmla="*/ 417 h 526"/>
                    <a:gd name="T80" fmla="*/ 68 w 226"/>
                    <a:gd name="T81" fmla="*/ 466 h 526"/>
                    <a:gd name="T82" fmla="*/ 103 w 226"/>
                    <a:gd name="T83" fmla="*/ 499 h 526"/>
                    <a:gd name="T84" fmla="*/ 129 w 226"/>
                    <a:gd name="T85" fmla="*/ 513 h 526"/>
                    <a:gd name="T86" fmla="*/ 164 w 226"/>
                    <a:gd name="T87" fmla="*/ 524 h 526"/>
                    <a:gd name="T88" fmla="*/ 193 w 226"/>
                    <a:gd name="T89" fmla="*/ 526 h 526"/>
                    <a:gd name="T90" fmla="*/ 226 w 226"/>
                    <a:gd name="T91" fmla="*/ 523 h 526"/>
                    <a:gd name="T92" fmla="*/ 217 w 226"/>
                    <a:gd name="T93" fmla="*/ 505 h 526"/>
                    <a:gd name="T94" fmla="*/ 198 w 226"/>
                    <a:gd name="T95" fmla="*/ 445 h 526"/>
                    <a:gd name="T96" fmla="*/ 194 w 226"/>
                    <a:gd name="T97" fmla="*/ 398 h 526"/>
                    <a:gd name="T98" fmla="*/ 203 w 226"/>
                    <a:gd name="T99" fmla="*/ 346 h 526"/>
                    <a:gd name="T100" fmla="*/ 214 w 226"/>
                    <a:gd name="T101" fmla="*/ 319 h 526"/>
                    <a:gd name="T102" fmla="*/ 223 w 226"/>
                    <a:gd name="T103" fmla="*/ 286 h 526"/>
                    <a:gd name="T104" fmla="*/ 224 w 226"/>
                    <a:gd name="T105" fmla="*/ 219 h 526"/>
                    <a:gd name="T106" fmla="*/ 206 w 226"/>
                    <a:gd name="T107" fmla="*/ 155 h 526"/>
                    <a:gd name="T108" fmla="*/ 175 w 226"/>
                    <a:gd name="T109" fmla="*/ 95 h 526"/>
                    <a:gd name="T110" fmla="*/ 138 w 226"/>
                    <a:gd name="T111" fmla="*/ 45 h 526"/>
                    <a:gd name="T112" fmla="*/ 112 w 226"/>
                    <a:gd name="T113" fmla="*/ 18 h 526"/>
                    <a:gd name="T114" fmla="*/ 82 w 226"/>
                    <a:gd name="T115" fmla="*/ 1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6" h="526">
                      <a:moveTo>
                        <a:pt x="73" y="22"/>
                      </a:moveTo>
                      <a:lnTo>
                        <a:pt x="73" y="22"/>
                      </a:lnTo>
                      <a:lnTo>
                        <a:pt x="79" y="22"/>
                      </a:lnTo>
                      <a:lnTo>
                        <a:pt x="84" y="25"/>
                      </a:lnTo>
                      <a:lnTo>
                        <a:pt x="91" y="29"/>
                      </a:lnTo>
                      <a:lnTo>
                        <a:pt x="98" y="34"/>
                      </a:lnTo>
                      <a:lnTo>
                        <a:pt x="98" y="34"/>
                      </a:lnTo>
                      <a:lnTo>
                        <a:pt x="111" y="47"/>
                      </a:lnTo>
                      <a:lnTo>
                        <a:pt x="124" y="61"/>
                      </a:lnTo>
                      <a:lnTo>
                        <a:pt x="136" y="77"/>
                      </a:lnTo>
                      <a:lnTo>
                        <a:pt x="148" y="93"/>
                      </a:lnTo>
                      <a:lnTo>
                        <a:pt x="159" y="110"/>
                      </a:lnTo>
                      <a:lnTo>
                        <a:pt x="169" y="127"/>
                      </a:lnTo>
                      <a:lnTo>
                        <a:pt x="178" y="145"/>
                      </a:lnTo>
                      <a:lnTo>
                        <a:pt x="185" y="162"/>
                      </a:lnTo>
                      <a:lnTo>
                        <a:pt x="185" y="162"/>
                      </a:lnTo>
                      <a:lnTo>
                        <a:pt x="192" y="179"/>
                      </a:lnTo>
                      <a:lnTo>
                        <a:pt x="196" y="196"/>
                      </a:lnTo>
                      <a:lnTo>
                        <a:pt x="201" y="215"/>
                      </a:lnTo>
                      <a:lnTo>
                        <a:pt x="203" y="236"/>
                      </a:lnTo>
                      <a:lnTo>
                        <a:pt x="204" y="257"/>
                      </a:lnTo>
                      <a:lnTo>
                        <a:pt x="203" y="266"/>
                      </a:lnTo>
                      <a:lnTo>
                        <a:pt x="202" y="277"/>
                      </a:lnTo>
                      <a:lnTo>
                        <a:pt x="200" y="288"/>
                      </a:lnTo>
                      <a:lnTo>
                        <a:pt x="197" y="299"/>
                      </a:lnTo>
                      <a:lnTo>
                        <a:pt x="193" y="310"/>
                      </a:lnTo>
                      <a:lnTo>
                        <a:pt x="189" y="321"/>
                      </a:lnTo>
                      <a:lnTo>
                        <a:pt x="189" y="321"/>
                      </a:lnTo>
                      <a:lnTo>
                        <a:pt x="183" y="333"/>
                      </a:lnTo>
                      <a:lnTo>
                        <a:pt x="180" y="346"/>
                      </a:lnTo>
                      <a:lnTo>
                        <a:pt x="177" y="360"/>
                      </a:lnTo>
                      <a:lnTo>
                        <a:pt x="174" y="373"/>
                      </a:lnTo>
                      <a:lnTo>
                        <a:pt x="173" y="386"/>
                      </a:lnTo>
                      <a:lnTo>
                        <a:pt x="172" y="399"/>
                      </a:lnTo>
                      <a:lnTo>
                        <a:pt x="172" y="411"/>
                      </a:lnTo>
                      <a:lnTo>
                        <a:pt x="173" y="423"/>
                      </a:lnTo>
                      <a:lnTo>
                        <a:pt x="177" y="447"/>
                      </a:lnTo>
                      <a:lnTo>
                        <a:pt x="182" y="469"/>
                      </a:lnTo>
                      <a:lnTo>
                        <a:pt x="187" y="488"/>
                      </a:lnTo>
                      <a:lnTo>
                        <a:pt x="193" y="504"/>
                      </a:lnTo>
                      <a:lnTo>
                        <a:pt x="193" y="504"/>
                      </a:lnTo>
                      <a:lnTo>
                        <a:pt x="178" y="503"/>
                      </a:lnTo>
                      <a:lnTo>
                        <a:pt x="169" y="502"/>
                      </a:lnTo>
                      <a:lnTo>
                        <a:pt x="159" y="500"/>
                      </a:lnTo>
                      <a:lnTo>
                        <a:pt x="148" y="497"/>
                      </a:lnTo>
                      <a:lnTo>
                        <a:pt x="138" y="492"/>
                      </a:lnTo>
                      <a:lnTo>
                        <a:pt x="127" y="488"/>
                      </a:lnTo>
                      <a:lnTo>
                        <a:pt x="115" y="480"/>
                      </a:lnTo>
                      <a:lnTo>
                        <a:pt x="115" y="480"/>
                      </a:lnTo>
                      <a:lnTo>
                        <a:pt x="105" y="472"/>
                      </a:lnTo>
                      <a:lnTo>
                        <a:pt x="94" y="463"/>
                      </a:lnTo>
                      <a:lnTo>
                        <a:pt x="84" y="451"/>
                      </a:lnTo>
                      <a:lnTo>
                        <a:pt x="75" y="437"/>
                      </a:lnTo>
                      <a:lnTo>
                        <a:pt x="65" y="422"/>
                      </a:lnTo>
                      <a:lnTo>
                        <a:pt x="56" y="406"/>
                      </a:lnTo>
                      <a:lnTo>
                        <a:pt x="47" y="389"/>
                      </a:lnTo>
                      <a:lnTo>
                        <a:pt x="40" y="371"/>
                      </a:lnTo>
                      <a:lnTo>
                        <a:pt x="33" y="352"/>
                      </a:lnTo>
                      <a:lnTo>
                        <a:pt x="29" y="332"/>
                      </a:lnTo>
                      <a:lnTo>
                        <a:pt x="24" y="314"/>
                      </a:lnTo>
                      <a:lnTo>
                        <a:pt x="22" y="294"/>
                      </a:lnTo>
                      <a:lnTo>
                        <a:pt x="22" y="275"/>
                      </a:lnTo>
                      <a:lnTo>
                        <a:pt x="23" y="257"/>
                      </a:lnTo>
                      <a:lnTo>
                        <a:pt x="26" y="239"/>
                      </a:lnTo>
                      <a:lnTo>
                        <a:pt x="31" y="221"/>
                      </a:lnTo>
                      <a:lnTo>
                        <a:pt x="31" y="221"/>
                      </a:lnTo>
                      <a:lnTo>
                        <a:pt x="36" y="206"/>
                      </a:lnTo>
                      <a:lnTo>
                        <a:pt x="41" y="191"/>
                      </a:lnTo>
                      <a:lnTo>
                        <a:pt x="45" y="176"/>
                      </a:lnTo>
                      <a:lnTo>
                        <a:pt x="47" y="163"/>
                      </a:lnTo>
                      <a:lnTo>
                        <a:pt x="49" y="149"/>
                      </a:lnTo>
                      <a:lnTo>
                        <a:pt x="50" y="137"/>
                      </a:lnTo>
                      <a:lnTo>
                        <a:pt x="50" y="114"/>
                      </a:lnTo>
                      <a:lnTo>
                        <a:pt x="48" y="93"/>
                      </a:lnTo>
                      <a:lnTo>
                        <a:pt x="46" y="76"/>
                      </a:lnTo>
                      <a:lnTo>
                        <a:pt x="42" y="62"/>
                      </a:lnTo>
                      <a:lnTo>
                        <a:pt x="38" y="52"/>
                      </a:lnTo>
                      <a:lnTo>
                        <a:pt x="38" y="52"/>
                      </a:lnTo>
                      <a:lnTo>
                        <a:pt x="45" y="42"/>
                      </a:lnTo>
                      <a:lnTo>
                        <a:pt x="53" y="32"/>
                      </a:lnTo>
                      <a:lnTo>
                        <a:pt x="57" y="27"/>
                      </a:lnTo>
                      <a:lnTo>
                        <a:pt x="63" y="24"/>
                      </a:lnTo>
                      <a:lnTo>
                        <a:pt x="68" y="22"/>
                      </a:lnTo>
                      <a:lnTo>
                        <a:pt x="73" y="22"/>
                      </a:lnTo>
                      <a:close/>
                      <a:moveTo>
                        <a:pt x="73" y="0"/>
                      </a:moveTo>
                      <a:lnTo>
                        <a:pt x="73" y="0"/>
                      </a:lnTo>
                      <a:lnTo>
                        <a:pt x="66" y="0"/>
                      </a:lnTo>
                      <a:lnTo>
                        <a:pt x="60" y="2"/>
                      </a:lnTo>
                      <a:lnTo>
                        <a:pt x="54" y="4"/>
                      </a:lnTo>
                      <a:lnTo>
                        <a:pt x="48" y="8"/>
                      </a:lnTo>
                      <a:lnTo>
                        <a:pt x="38" y="15"/>
                      </a:lnTo>
                      <a:lnTo>
                        <a:pt x="30" y="25"/>
                      </a:lnTo>
                      <a:lnTo>
                        <a:pt x="23" y="34"/>
                      </a:lnTo>
                      <a:lnTo>
                        <a:pt x="19" y="43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5" y="54"/>
                      </a:lnTo>
                      <a:lnTo>
                        <a:pt x="19" y="61"/>
                      </a:lnTo>
                      <a:lnTo>
                        <a:pt x="23" y="76"/>
                      </a:lnTo>
                      <a:lnTo>
                        <a:pt x="26" y="94"/>
                      </a:lnTo>
                      <a:lnTo>
                        <a:pt x="29" y="106"/>
                      </a:lnTo>
                      <a:lnTo>
                        <a:pt x="29" y="118"/>
                      </a:lnTo>
                      <a:lnTo>
                        <a:pt x="29" y="132"/>
                      </a:lnTo>
                      <a:lnTo>
                        <a:pt x="27" y="146"/>
                      </a:lnTo>
                      <a:lnTo>
                        <a:pt x="25" y="162"/>
                      </a:lnTo>
                      <a:lnTo>
                        <a:pt x="22" y="179"/>
                      </a:lnTo>
                      <a:lnTo>
                        <a:pt x="17" y="195"/>
                      </a:lnTo>
                      <a:lnTo>
                        <a:pt x="11" y="214"/>
                      </a:lnTo>
                      <a:lnTo>
                        <a:pt x="11" y="214"/>
                      </a:lnTo>
                      <a:lnTo>
                        <a:pt x="8" y="224"/>
                      </a:lnTo>
                      <a:lnTo>
                        <a:pt x="4" y="232"/>
                      </a:lnTo>
                      <a:lnTo>
                        <a:pt x="1" y="252"/>
                      </a:lnTo>
                      <a:lnTo>
                        <a:pt x="0" y="273"/>
                      </a:lnTo>
                      <a:lnTo>
                        <a:pt x="0" y="294"/>
                      </a:lnTo>
                      <a:lnTo>
                        <a:pt x="2" y="316"/>
                      </a:lnTo>
                      <a:lnTo>
                        <a:pt x="7" y="337"/>
                      </a:lnTo>
                      <a:lnTo>
                        <a:pt x="12" y="357"/>
                      </a:lnTo>
                      <a:lnTo>
                        <a:pt x="20" y="378"/>
                      </a:lnTo>
                      <a:lnTo>
                        <a:pt x="27" y="398"/>
                      </a:lnTo>
                      <a:lnTo>
                        <a:pt x="36" y="417"/>
                      </a:lnTo>
                      <a:lnTo>
                        <a:pt x="46" y="435"/>
                      </a:lnTo>
                      <a:lnTo>
                        <a:pt x="57" y="452"/>
                      </a:lnTo>
                      <a:lnTo>
                        <a:pt x="68" y="466"/>
                      </a:lnTo>
                      <a:lnTo>
                        <a:pt x="80" y="479"/>
                      </a:lnTo>
                      <a:lnTo>
                        <a:pt x="92" y="490"/>
                      </a:lnTo>
                      <a:lnTo>
                        <a:pt x="103" y="499"/>
                      </a:lnTo>
                      <a:lnTo>
                        <a:pt x="103" y="499"/>
                      </a:lnTo>
                      <a:lnTo>
                        <a:pt x="116" y="506"/>
                      </a:lnTo>
                      <a:lnTo>
                        <a:pt x="129" y="513"/>
                      </a:lnTo>
                      <a:lnTo>
                        <a:pt x="141" y="517"/>
                      </a:lnTo>
                      <a:lnTo>
                        <a:pt x="152" y="521"/>
                      </a:lnTo>
                      <a:lnTo>
                        <a:pt x="164" y="524"/>
                      </a:lnTo>
                      <a:lnTo>
                        <a:pt x="174" y="525"/>
                      </a:lnTo>
                      <a:lnTo>
                        <a:pt x="193" y="526"/>
                      </a:lnTo>
                      <a:lnTo>
                        <a:pt x="193" y="526"/>
                      </a:lnTo>
                      <a:lnTo>
                        <a:pt x="207" y="526"/>
                      </a:lnTo>
                      <a:lnTo>
                        <a:pt x="217" y="524"/>
                      </a:lnTo>
                      <a:lnTo>
                        <a:pt x="226" y="523"/>
                      </a:lnTo>
                      <a:lnTo>
                        <a:pt x="226" y="523"/>
                      </a:lnTo>
                      <a:lnTo>
                        <a:pt x="224" y="517"/>
                      </a:lnTo>
                      <a:lnTo>
                        <a:pt x="217" y="505"/>
                      </a:lnTo>
                      <a:lnTo>
                        <a:pt x="209" y="486"/>
                      </a:lnTo>
                      <a:lnTo>
                        <a:pt x="202" y="459"/>
                      </a:lnTo>
                      <a:lnTo>
                        <a:pt x="198" y="445"/>
                      </a:lnTo>
                      <a:lnTo>
                        <a:pt x="196" y="430"/>
                      </a:lnTo>
                      <a:lnTo>
                        <a:pt x="195" y="414"/>
                      </a:lnTo>
                      <a:lnTo>
                        <a:pt x="194" y="398"/>
                      </a:lnTo>
                      <a:lnTo>
                        <a:pt x="195" y="380"/>
                      </a:lnTo>
                      <a:lnTo>
                        <a:pt x="197" y="364"/>
                      </a:lnTo>
                      <a:lnTo>
                        <a:pt x="203" y="346"/>
                      </a:lnTo>
                      <a:lnTo>
                        <a:pt x="208" y="330"/>
                      </a:lnTo>
                      <a:lnTo>
                        <a:pt x="208" y="330"/>
                      </a:lnTo>
                      <a:lnTo>
                        <a:pt x="214" y="319"/>
                      </a:lnTo>
                      <a:lnTo>
                        <a:pt x="217" y="308"/>
                      </a:lnTo>
                      <a:lnTo>
                        <a:pt x="220" y="297"/>
                      </a:lnTo>
                      <a:lnTo>
                        <a:pt x="223" y="286"/>
                      </a:lnTo>
                      <a:lnTo>
                        <a:pt x="225" y="264"/>
                      </a:lnTo>
                      <a:lnTo>
                        <a:pt x="226" y="241"/>
                      </a:lnTo>
                      <a:lnTo>
                        <a:pt x="224" y="219"/>
                      </a:lnTo>
                      <a:lnTo>
                        <a:pt x="219" y="197"/>
                      </a:lnTo>
                      <a:lnTo>
                        <a:pt x="214" y="175"/>
                      </a:lnTo>
                      <a:lnTo>
                        <a:pt x="206" y="155"/>
                      </a:lnTo>
                      <a:lnTo>
                        <a:pt x="197" y="134"/>
                      </a:lnTo>
                      <a:lnTo>
                        <a:pt x="186" y="114"/>
                      </a:lnTo>
                      <a:lnTo>
                        <a:pt x="175" y="95"/>
                      </a:lnTo>
                      <a:lnTo>
                        <a:pt x="163" y="77"/>
                      </a:lnTo>
                      <a:lnTo>
                        <a:pt x="151" y="60"/>
                      </a:lnTo>
                      <a:lnTo>
                        <a:pt x="138" y="45"/>
                      </a:lnTo>
                      <a:lnTo>
                        <a:pt x="125" y="31"/>
                      </a:lnTo>
                      <a:lnTo>
                        <a:pt x="112" y="18"/>
                      </a:lnTo>
                      <a:lnTo>
                        <a:pt x="112" y="18"/>
                      </a:lnTo>
                      <a:lnTo>
                        <a:pt x="101" y="10"/>
                      </a:lnTo>
                      <a:lnTo>
                        <a:pt x="91" y="3"/>
                      </a:lnTo>
                      <a:lnTo>
                        <a:pt x="82" y="1"/>
                      </a:lnTo>
                      <a:lnTo>
                        <a:pt x="73" y="0"/>
                      </a:lnTo>
                      <a:lnTo>
                        <a:pt x="7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6" name="Freeform 22"/>
                <p:cNvSpPr>
                  <a:spLocks/>
                </p:cNvSpPr>
                <p:nvPr/>
              </p:nvSpPr>
              <p:spPr bwMode="auto">
                <a:xfrm>
                  <a:off x="3411538" y="2417763"/>
                  <a:ext cx="36513" cy="96838"/>
                </a:xfrm>
                <a:custGeom>
                  <a:avLst/>
                  <a:gdLst>
                    <a:gd name="T0" fmla="*/ 51 w 182"/>
                    <a:gd name="T1" fmla="*/ 0 h 482"/>
                    <a:gd name="T2" fmla="*/ 62 w 182"/>
                    <a:gd name="T3" fmla="*/ 3 h 482"/>
                    <a:gd name="T4" fmla="*/ 76 w 182"/>
                    <a:gd name="T5" fmla="*/ 12 h 482"/>
                    <a:gd name="T6" fmla="*/ 89 w 182"/>
                    <a:gd name="T7" fmla="*/ 25 h 482"/>
                    <a:gd name="T8" fmla="*/ 114 w 182"/>
                    <a:gd name="T9" fmla="*/ 55 h 482"/>
                    <a:gd name="T10" fmla="*/ 137 w 182"/>
                    <a:gd name="T11" fmla="*/ 88 h 482"/>
                    <a:gd name="T12" fmla="*/ 156 w 182"/>
                    <a:gd name="T13" fmla="*/ 123 h 482"/>
                    <a:gd name="T14" fmla="*/ 163 w 182"/>
                    <a:gd name="T15" fmla="*/ 140 h 482"/>
                    <a:gd name="T16" fmla="*/ 174 w 182"/>
                    <a:gd name="T17" fmla="*/ 174 h 482"/>
                    <a:gd name="T18" fmla="*/ 181 w 182"/>
                    <a:gd name="T19" fmla="*/ 214 h 482"/>
                    <a:gd name="T20" fmla="*/ 181 w 182"/>
                    <a:gd name="T21" fmla="*/ 244 h 482"/>
                    <a:gd name="T22" fmla="*/ 178 w 182"/>
                    <a:gd name="T23" fmla="*/ 266 h 482"/>
                    <a:gd name="T24" fmla="*/ 171 w 182"/>
                    <a:gd name="T25" fmla="*/ 288 h 482"/>
                    <a:gd name="T26" fmla="*/ 167 w 182"/>
                    <a:gd name="T27" fmla="*/ 299 h 482"/>
                    <a:gd name="T28" fmla="*/ 158 w 182"/>
                    <a:gd name="T29" fmla="*/ 324 h 482"/>
                    <a:gd name="T30" fmla="*/ 152 w 182"/>
                    <a:gd name="T31" fmla="*/ 351 h 482"/>
                    <a:gd name="T32" fmla="*/ 150 w 182"/>
                    <a:gd name="T33" fmla="*/ 377 h 482"/>
                    <a:gd name="T34" fmla="*/ 151 w 182"/>
                    <a:gd name="T35" fmla="*/ 401 h 482"/>
                    <a:gd name="T36" fmla="*/ 160 w 182"/>
                    <a:gd name="T37" fmla="*/ 447 h 482"/>
                    <a:gd name="T38" fmla="*/ 171 w 182"/>
                    <a:gd name="T39" fmla="*/ 482 h 482"/>
                    <a:gd name="T40" fmla="*/ 156 w 182"/>
                    <a:gd name="T41" fmla="*/ 481 h 482"/>
                    <a:gd name="T42" fmla="*/ 137 w 182"/>
                    <a:gd name="T43" fmla="*/ 478 h 482"/>
                    <a:gd name="T44" fmla="*/ 116 w 182"/>
                    <a:gd name="T45" fmla="*/ 470 h 482"/>
                    <a:gd name="T46" fmla="*/ 93 w 182"/>
                    <a:gd name="T47" fmla="*/ 458 h 482"/>
                    <a:gd name="T48" fmla="*/ 83 w 182"/>
                    <a:gd name="T49" fmla="*/ 450 h 482"/>
                    <a:gd name="T50" fmla="*/ 62 w 182"/>
                    <a:gd name="T51" fmla="*/ 429 h 482"/>
                    <a:gd name="T52" fmla="*/ 43 w 182"/>
                    <a:gd name="T53" fmla="*/ 400 h 482"/>
                    <a:gd name="T54" fmla="*/ 25 w 182"/>
                    <a:gd name="T55" fmla="*/ 367 h 482"/>
                    <a:gd name="T56" fmla="*/ 11 w 182"/>
                    <a:gd name="T57" fmla="*/ 330 h 482"/>
                    <a:gd name="T58" fmla="*/ 2 w 182"/>
                    <a:gd name="T59" fmla="*/ 292 h 482"/>
                    <a:gd name="T60" fmla="*/ 0 w 182"/>
                    <a:gd name="T61" fmla="*/ 253 h 482"/>
                    <a:gd name="T62" fmla="*/ 4 w 182"/>
                    <a:gd name="T63" fmla="*/ 217 h 482"/>
                    <a:gd name="T64" fmla="*/ 9 w 182"/>
                    <a:gd name="T65" fmla="*/ 199 h 482"/>
                    <a:gd name="T66" fmla="*/ 19 w 182"/>
                    <a:gd name="T67" fmla="*/ 169 h 482"/>
                    <a:gd name="T68" fmla="*/ 25 w 182"/>
                    <a:gd name="T69" fmla="*/ 141 h 482"/>
                    <a:gd name="T70" fmla="*/ 28 w 182"/>
                    <a:gd name="T71" fmla="*/ 115 h 482"/>
                    <a:gd name="T72" fmla="*/ 26 w 182"/>
                    <a:gd name="T73" fmla="*/ 71 h 482"/>
                    <a:gd name="T74" fmla="*/ 20 w 182"/>
                    <a:gd name="T75" fmla="*/ 40 h 482"/>
                    <a:gd name="T76" fmla="*/ 16 w 182"/>
                    <a:gd name="T77" fmla="*/ 30 h 482"/>
                    <a:gd name="T78" fmla="*/ 31 w 182"/>
                    <a:gd name="T79" fmla="*/ 10 h 482"/>
                    <a:gd name="T80" fmla="*/ 41 w 182"/>
                    <a:gd name="T81" fmla="*/ 2 h 482"/>
                    <a:gd name="T82" fmla="*/ 51 w 182"/>
                    <a:gd name="T83" fmla="*/ 0 h 4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82" h="482">
                      <a:moveTo>
                        <a:pt x="51" y="0"/>
                      </a:moveTo>
                      <a:lnTo>
                        <a:pt x="51" y="0"/>
                      </a:lnTo>
                      <a:lnTo>
                        <a:pt x="57" y="0"/>
                      </a:lnTo>
                      <a:lnTo>
                        <a:pt x="62" y="3"/>
                      </a:lnTo>
                      <a:lnTo>
                        <a:pt x="69" y="7"/>
                      </a:lnTo>
                      <a:lnTo>
                        <a:pt x="76" y="12"/>
                      </a:lnTo>
                      <a:lnTo>
                        <a:pt x="76" y="12"/>
                      </a:lnTo>
                      <a:lnTo>
                        <a:pt x="89" y="25"/>
                      </a:lnTo>
                      <a:lnTo>
                        <a:pt x="102" y="39"/>
                      </a:lnTo>
                      <a:lnTo>
                        <a:pt x="114" y="55"/>
                      </a:lnTo>
                      <a:lnTo>
                        <a:pt x="126" y="71"/>
                      </a:lnTo>
                      <a:lnTo>
                        <a:pt x="137" y="88"/>
                      </a:lnTo>
                      <a:lnTo>
                        <a:pt x="147" y="105"/>
                      </a:lnTo>
                      <a:lnTo>
                        <a:pt x="156" y="123"/>
                      </a:lnTo>
                      <a:lnTo>
                        <a:pt x="163" y="140"/>
                      </a:lnTo>
                      <a:lnTo>
                        <a:pt x="163" y="140"/>
                      </a:lnTo>
                      <a:lnTo>
                        <a:pt x="170" y="157"/>
                      </a:lnTo>
                      <a:lnTo>
                        <a:pt x="174" y="174"/>
                      </a:lnTo>
                      <a:lnTo>
                        <a:pt x="179" y="193"/>
                      </a:lnTo>
                      <a:lnTo>
                        <a:pt x="181" y="214"/>
                      </a:lnTo>
                      <a:lnTo>
                        <a:pt x="182" y="235"/>
                      </a:lnTo>
                      <a:lnTo>
                        <a:pt x="181" y="244"/>
                      </a:lnTo>
                      <a:lnTo>
                        <a:pt x="180" y="255"/>
                      </a:lnTo>
                      <a:lnTo>
                        <a:pt x="178" y="266"/>
                      </a:lnTo>
                      <a:lnTo>
                        <a:pt x="175" y="277"/>
                      </a:lnTo>
                      <a:lnTo>
                        <a:pt x="171" y="288"/>
                      </a:lnTo>
                      <a:lnTo>
                        <a:pt x="167" y="299"/>
                      </a:lnTo>
                      <a:lnTo>
                        <a:pt x="167" y="299"/>
                      </a:lnTo>
                      <a:lnTo>
                        <a:pt x="161" y="311"/>
                      </a:lnTo>
                      <a:lnTo>
                        <a:pt x="158" y="324"/>
                      </a:lnTo>
                      <a:lnTo>
                        <a:pt x="155" y="338"/>
                      </a:lnTo>
                      <a:lnTo>
                        <a:pt x="152" y="351"/>
                      </a:lnTo>
                      <a:lnTo>
                        <a:pt x="151" y="364"/>
                      </a:lnTo>
                      <a:lnTo>
                        <a:pt x="150" y="377"/>
                      </a:lnTo>
                      <a:lnTo>
                        <a:pt x="150" y="389"/>
                      </a:lnTo>
                      <a:lnTo>
                        <a:pt x="151" y="401"/>
                      </a:lnTo>
                      <a:lnTo>
                        <a:pt x="155" y="425"/>
                      </a:lnTo>
                      <a:lnTo>
                        <a:pt x="160" y="447"/>
                      </a:lnTo>
                      <a:lnTo>
                        <a:pt x="165" y="466"/>
                      </a:lnTo>
                      <a:lnTo>
                        <a:pt x="171" y="482"/>
                      </a:lnTo>
                      <a:lnTo>
                        <a:pt x="171" y="482"/>
                      </a:lnTo>
                      <a:lnTo>
                        <a:pt x="156" y="481"/>
                      </a:lnTo>
                      <a:lnTo>
                        <a:pt x="147" y="480"/>
                      </a:lnTo>
                      <a:lnTo>
                        <a:pt x="137" y="478"/>
                      </a:lnTo>
                      <a:lnTo>
                        <a:pt x="126" y="475"/>
                      </a:lnTo>
                      <a:lnTo>
                        <a:pt x="116" y="470"/>
                      </a:lnTo>
                      <a:lnTo>
                        <a:pt x="105" y="466"/>
                      </a:lnTo>
                      <a:lnTo>
                        <a:pt x="93" y="458"/>
                      </a:lnTo>
                      <a:lnTo>
                        <a:pt x="93" y="458"/>
                      </a:lnTo>
                      <a:lnTo>
                        <a:pt x="83" y="450"/>
                      </a:lnTo>
                      <a:lnTo>
                        <a:pt x="72" y="441"/>
                      </a:lnTo>
                      <a:lnTo>
                        <a:pt x="62" y="429"/>
                      </a:lnTo>
                      <a:lnTo>
                        <a:pt x="53" y="415"/>
                      </a:lnTo>
                      <a:lnTo>
                        <a:pt x="43" y="400"/>
                      </a:lnTo>
                      <a:lnTo>
                        <a:pt x="34" y="384"/>
                      </a:lnTo>
                      <a:lnTo>
                        <a:pt x="25" y="367"/>
                      </a:lnTo>
                      <a:lnTo>
                        <a:pt x="18" y="349"/>
                      </a:lnTo>
                      <a:lnTo>
                        <a:pt x="11" y="330"/>
                      </a:lnTo>
                      <a:lnTo>
                        <a:pt x="7" y="310"/>
                      </a:lnTo>
                      <a:lnTo>
                        <a:pt x="2" y="292"/>
                      </a:lnTo>
                      <a:lnTo>
                        <a:pt x="0" y="272"/>
                      </a:lnTo>
                      <a:lnTo>
                        <a:pt x="0" y="253"/>
                      </a:lnTo>
                      <a:lnTo>
                        <a:pt x="1" y="235"/>
                      </a:lnTo>
                      <a:lnTo>
                        <a:pt x="4" y="217"/>
                      </a:lnTo>
                      <a:lnTo>
                        <a:pt x="9" y="199"/>
                      </a:lnTo>
                      <a:lnTo>
                        <a:pt x="9" y="199"/>
                      </a:lnTo>
                      <a:lnTo>
                        <a:pt x="14" y="184"/>
                      </a:lnTo>
                      <a:lnTo>
                        <a:pt x="19" y="169"/>
                      </a:lnTo>
                      <a:lnTo>
                        <a:pt x="23" y="154"/>
                      </a:lnTo>
                      <a:lnTo>
                        <a:pt x="25" y="141"/>
                      </a:lnTo>
                      <a:lnTo>
                        <a:pt x="27" y="127"/>
                      </a:lnTo>
                      <a:lnTo>
                        <a:pt x="28" y="115"/>
                      </a:lnTo>
                      <a:lnTo>
                        <a:pt x="28" y="92"/>
                      </a:lnTo>
                      <a:lnTo>
                        <a:pt x="26" y="71"/>
                      </a:lnTo>
                      <a:lnTo>
                        <a:pt x="24" y="54"/>
                      </a:lnTo>
                      <a:lnTo>
                        <a:pt x="20" y="40"/>
                      </a:lnTo>
                      <a:lnTo>
                        <a:pt x="16" y="30"/>
                      </a:lnTo>
                      <a:lnTo>
                        <a:pt x="16" y="30"/>
                      </a:lnTo>
                      <a:lnTo>
                        <a:pt x="23" y="20"/>
                      </a:lnTo>
                      <a:lnTo>
                        <a:pt x="31" y="10"/>
                      </a:lnTo>
                      <a:lnTo>
                        <a:pt x="35" y="5"/>
                      </a:lnTo>
                      <a:lnTo>
                        <a:pt x="41" y="2"/>
                      </a:lnTo>
                      <a:lnTo>
                        <a:pt x="46" y="0"/>
                      </a:lnTo>
                      <a:lnTo>
                        <a:pt x="51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7" name="Freeform 23"/>
                <p:cNvSpPr>
                  <a:spLocks/>
                </p:cNvSpPr>
                <p:nvPr/>
              </p:nvSpPr>
              <p:spPr bwMode="auto">
                <a:xfrm>
                  <a:off x="3408363" y="2414588"/>
                  <a:ext cx="44450" cy="103188"/>
                </a:xfrm>
                <a:custGeom>
                  <a:avLst/>
                  <a:gdLst>
                    <a:gd name="T0" fmla="*/ 73 w 226"/>
                    <a:gd name="T1" fmla="*/ 0 h 526"/>
                    <a:gd name="T2" fmla="*/ 60 w 226"/>
                    <a:gd name="T3" fmla="*/ 2 h 526"/>
                    <a:gd name="T4" fmla="*/ 48 w 226"/>
                    <a:gd name="T5" fmla="*/ 8 h 526"/>
                    <a:gd name="T6" fmla="*/ 30 w 226"/>
                    <a:gd name="T7" fmla="*/ 25 h 526"/>
                    <a:gd name="T8" fmla="*/ 19 w 226"/>
                    <a:gd name="T9" fmla="*/ 43 h 526"/>
                    <a:gd name="T10" fmla="*/ 14 w 226"/>
                    <a:gd name="T11" fmla="*/ 50 h 526"/>
                    <a:gd name="T12" fmla="*/ 19 w 226"/>
                    <a:gd name="T13" fmla="*/ 61 h 526"/>
                    <a:gd name="T14" fmla="*/ 26 w 226"/>
                    <a:gd name="T15" fmla="*/ 94 h 526"/>
                    <a:gd name="T16" fmla="*/ 29 w 226"/>
                    <a:gd name="T17" fmla="*/ 118 h 526"/>
                    <a:gd name="T18" fmla="*/ 27 w 226"/>
                    <a:gd name="T19" fmla="*/ 146 h 526"/>
                    <a:gd name="T20" fmla="*/ 22 w 226"/>
                    <a:gd name="T21" fmla="*/ 179 h 526"/>
                    <a:gd name="T22" fmla="*/ 11 w 226"/>
                    <a:gd name="T23" fmla="*/ 214 h 526"/>
                    <a:gd name="T24" fmla="*/ 8 w 226"/>
                    <a:gd name="T25" fmla="*/ 224 h 526"/>
                    <a:gd name="T26" fmla="*/ 1 w 226"/>
                    <a:gd name="T27" fmla="*/ 252 h 526"/>
                    <a:gd name="T28" fmla="*/ 0 w 226"/>
                    <a:gd name="T29" fmla="*/ 294 h 526"/>
                    <a:gd name="T30" fmla="*/ 7 w 226"/>
                    <a:gd name="T31" fmla="*/ 337 h 526"/>
                    <a:gd name="T32" fmla="*/ 20 w 226"/>
                    <a:gd name="T33" fmla="*/ 378 h 526"/>
                    <a:gd name="T34" fmla="*/ 36 w 226"/>
                    <a:gd name="T35" fmla="*/ 417 h 526"/>
                    <a:gd name="T36" fmla="*/ 57 w 226"/>
                    <a:gd name="T37" fmla="*/ 452 h 526"/>
                    <a:gd name="T38" fmla="*/ 80 w 226"/>
                    <a:gd name="T39" fmla="*/ 479 h 526"/>
                    <a:gd name="T40" fmla="*/ 103 w 226"/>
                    <a:gd name="T41" fmla="*/ 499 h 526"/>
                    <a:gd name="T42" fmla="*/ 116 w 226"/>
                    <a:gd name="T43" fmla="*/ 506 h 526"/>
                    <a:gd name="T44" fmla="*/ 141 w 226"/>
                    <a:gd name="T45" fmla="*/ 517 h 526"/>
                    <a:gd name="T46" fmla="*/ 164 w 226"/>
                    <a:gd name="T47" fmla="*/ 524 h 526"/>
                    <a:gd name="T48" fmla="*/ 193 w 226"/>
                    <a:gd name="T49" fmla="*/ 526 h 526"/>
                    <a:gd name="T50" fmla="*/ 207 w 226"/>
                    <a:gd name="T51" fmla="*/ 526 h 526"/>
                    <a:gd name="T52" fmla="*/ 226 w 226"/>
                    <a:gd name="T53" fmla="*/ 523 h 526"/>
                    <a:gd name="T54" fmla="*/ 224 w 226"/>
                    <a:gd name="T55" fmla="*/ 517 h 526"/>
                    <a:gd name="T56" fmla="*/ 209 w 226"/>
                    <a:gd name="T57" fmla="*/ 486 h 526"/>
                    <a:gd name="T58" fmla="*/ 198 w 226"/>
                    <a:gd name="T59" fmla="*/ 445 h 526"/>
                    <a:gd name="T60" fmla="*/ 195 w 226"/>
                    <a:gd name="T61" fmla="*/ 414 h 526"/>
                    <a:gd name="T62" fmla="*/ 195 w 226"/>
                    <a:gd name="T63" fmla="*/ 380 h 526"/>
                    <a:gd name="T64" fmla="*/ 203 w 226"/>
                    <a:gd name="T65" fmla="*/ 346 h 526"/>
                    <a:gd name="T66" fmla="*/ 208 w 226"/>
                    <a:gd name="T67" fmla="*/ 330 h 526"/>
                    <a:gd name="T68" fmla="*/ 217 w 226"/>
                    <a:gd name="T69" fmla="*/ 308 h 526"/>
                    <a:gd name="T70" fmla="*/ 223 w 226"/>
                    <a:gd name="T71" fmla="*/ 286 h 526"/>
                    <a:gd name="T72" fmla="*/ 226 w 226"/>
                    <a:gd name="T73" fmla="*/ 241 h 526"/>
                    <a:gd name="T74" fmla="*/ 219 w 226"/>
                    <a:gd name="T75" fmla="*/ 197 h 526"/>
                    <a:gd name="T76" fmla="*/ 206 w 226"/>
                    <a:gd name="T77" fmla="*/ 155 h 526"/>
                    <a:gd name="T78" fmla="*/ 186 w 226"/>
                    <a:gd name="T79" fmla="*/ 114 h 526"/>
                    <a:gd name="T80" fmla="*/ 163 w 226"/>
                    <a:gd name="T81" fmla="*/ 77 h 526"/>
                    <a:gd name="T82" fmla="*/ 138 w 226"/>
                    <a:gd name="T83" fmla="*/ 45 h 526"/>
                    <a:gd name="T84" fmla="*/ 112 w 226"/>
                    <a:gd name="T85" fmla="*/ 18 h 526"/>
                    <a:gd name="T86" fmla="*/ 101 w 226"/>
                    <a:gd name="T87" fmla="*/ 10 h 526"/>
                    <a:gd name="T88" fmla="*/ 82 w 226"/>
                    <a:gd name="T89" fmla="*/ 1 h 526"/>
                    <a:gd name="T90" fmla="*/ 73 w 226"/>
                    <a:gd name="T91" fmla="*/ 0 h 5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6" h="526">
                      <a:moveTo>
                        <a:pt x="73" y="0"/>
                      </a:moveTo>
                      <a:lnTo>
                        <a:pt x="73" y="0"/>
                      </a:lnTo>
                      <a:lnTo>
                        <a:pt x="66" y="0"/>
                      </a:lnTo>
                      <a:lnTo>
                        <a:pt x="60" y="2"/>
                      </a:lnTo>
                      <a:lnTo>
                        <a:pt x="54" y="4"/>
                      </a:lnTo>
                      <a:lnTo>
                        <a:pt x="48" y="8"/>
                      </a:lnTo>
                      <a:lnTo>
                        <a:pt x="38" y="15"/>
                      </a:lnTo>
                      <a:lnTo>
                        <a:pt x="30" y="25"/>
                      </a:lnTo>
                      <a:lnTo>
                        <a:pt x="23" y="34"/>
                      </a:lnTo>
                      <a:lnTo>
                        <a:pt x="19" y="43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5" y="54"/>
                      </a:lnTo>
                      <a:lnTo>
                        <a:pt x="19" y="61"/>
                      </a:lnTo>
                      <a:lnTo>
                        <a:pt x="23" y="76"/>
                      </a:lnTo>
                      <a:lnTo>
                        <a:pt x="26" y="94"/>
                      </a:lnTo>
                      <a:lnTo>
                        <a:pt x="29" y="106"/>
                      </a:lnTo>
                      <a:lnTo>
                        <a:pt x="29" y="118"/>
                      </a:lnTo>
                      <a:lnTo>
                        <a:pt x="29" y="132"/>
                      </a:lnTo>
                      <a:lnTo>
                        <a:pt x="27" y="146"/>
                      </a:lnTo>
                      <a:lnTo>
                        <a:pt x="25" y="162"/>
                      </a:lnTo>
                      <a:lnTo>
                        <a:pt x="22" y="179"/>
                      </a:lnTo>
                      <a:lnTo>
                        <a:pt x="17" y="195"/>
                      </a:lnTo>
                      <a:lnTo>
                        <a:pt x="11" y="214"/>
                      </a:lnTo>
                      <a:lnTo>
                        <a:pt x="11" y="214"/>
                      </a:lnTo>
                      <a:lnTo>
                        <a:pt x="8" y="224"/>
                      </a:lnTo>
                      <a:lnTo>
                        <a:pt x="4" y="232"/>
                      </a:lnTo>
                      <a:lnTo>
                        <a:pt x="1" y="252"/>
                      </a:lnTo>
                      <a:lnTo>
                        <a:pt x="0" y="273"/>
                      </a:lnTo>
                      <a:lnTo>
                        <a:pt x="0" y="294"/>
                      </a:lnTo>
                      <a:lnTo>
                        <a:pt x="2" y="316"/>
                      </a:lnTo>
                      <a:lnTo>
                        <a:pt x="7" y="337"/>
                      </a:lnTo>
                      <a:lnTo>
                        <a:pt x="12" y="357"/>
                      </a:lnTo>
                      <a:lnTo>
                        <a:pt x="20" y="378"/>
                      </a:lnTo>
                      <a:lnTo>
                        <a:pt x="27" y="398"/>
                      </a:lnTo>
                      <a:lnTo>
                        <a:pt x="36" y="417"/>
                      </a:lnTo>
                      <a:lnTo>
                        <a:pt x="46" y="435"/>
                      </a:lnTo>
                      <a:lnTo>
                        <a:pt x="57" y="452"/>
                      </a:lnTo>
                      <a:lnTo>
                        <a:pt x="68" y="466"/>
                      </a:lnTo>
                      <a:lnTo>
                        <a:pt x="80" y="479"/>
                      </a:lnTo>
                      <a:lnTo>
                        <a:pt x="92" y="490"/>
                      </a:lnTo>
                      <a:lnTo>
                        <a:pt x="103" y="499"/>
                      </a:lnTo>
                      <a:lnTo>
                        <a:pt x="103" y="499"/>
                      </a:lnTo>
                      <a:lnTo>
                        <a:pt x="116" y="506"/>
                      </a:lnTo>
                      <a:lnTo>
                        <a:pt x="129" y="513"/>
                      </a:lnTo>
                      <a:lnTo>
                        <a:pt x="141" y="517"/>
                      </a:lnTo>
                      <a:lnTo>
                        <a:pt x="152" y="521"/>
                      </a:lnTo>
                      <a:lnTo>
                        <a:pt x="164" y="524"/>
                      </a:lnTo>
                      <a:lnTo>
                        <a:pt x="174" y="525"/>
                      </a:lnTo>
                      <a:lnTo>
                        <a:pt x="193" y="526"/>
                      </a:lnTo>
                      <a:lnTo>
                        <a:pt x="193" y="526"/>
                      </a:lnTo>
                      <a:lnTo>
                        <a:pt x="207" y="526"/>
                      </a:lnTo>
                      <a:lnTo>
                        <a:pt x="217" y="524"/>
                      </a:lnTo>
                      <a:lnTo>
                        <a:pt x="226" y="523"/>
                      </a:lnTo>
                      <a:lnTo>
                        <a:pt x="226" y="523"/>
                      </a:lnTo>
                      <a:lnTo>
                        <a:pt x="224" y="517"/>
                      </a:lnTo>
                      <a:lnTo>
                        <a:pt x="217" y="505"/>
                      </a:lnTo>
                      <a:lnTo>
                        <a:pt x="209" y="486"/>
                      </a:lnTo>
                      <a:lnTo>
                        <a:pt x="202" y="459"/>
                      </a:lnTo>
                      <a:lnTo>
                        <a:pt x="198" y="445"/>
                      </a:lnTo>
                      <a:lnTo>
                        <a:pt x="196" y="430"/>
                      </a:lnTo>
                      <a:lnTo>
                        <a:pt x="195" y="414"/>
                      </a:lnTo>
                      <a:lnTo>
                        <a:pt x="194" y="398"/>
                      </a:lnTo>
                      <a:lnTo>
                        <a:pt x="195" y="380"/>
                      </a:lnTo>
                      <a:lnTo>
                        <a:pt x="197" y="364"/>
                      </a:lnTo>
                      <a:lnTo>
                        <a:pt x="203" y="346"/>
                      </a:lnTo>
                      <a:lnTo>
                        <a:pt x="208" y="330"/>
                      </a:lnTo>
                      <a:lnTo>
                        <a:pt x="208" y="330"/>
                      </a:lnTo>
                      <a:lnTo>
                        <a:pt x="214" y="319"/>
                      </a:lnTo>
                      <a:lnTo>
                        <a:pt x="217" y="308"/>
                      </a:lnTo>
                      <a:lnTo>
                        <a:pt x="220" y="297"/>
                      </a:lnTo>
                      <a:lnTo>
                        <a:pt x="223" y="286"/>
                      </a:lnTo>
                      <a:lnTo>
                        <a:pt x="225" y="264"/>
                      </a:lnTo>
                      <a:lnTo>
                        <a:pt x="226" y="241"/>
                      </a:lnTo>
                      <a:lnTo>
                        <a:pt x="224" y="219"/>
                      </a:lnTo>
                      <a:lnTo>
                        <a:pt x="219" y="197"/>
                      </a:lnTo>
                      <a:lnTo>
                        <a:pt x="214" y="175"/>
                      </a:lnTo>
                      <a:lnTo>
                        <a:pt x="206" y="155"/>
                      </a:lnTo>
                      <a:lnTo>
                        <a:pt x="197" y="134"/>
                      </a:lnTo>
                      <a:lnTo>
                        <a:pt x="186" y="114"/>
                      </a:lnTo>
                      <a:lnTo>
                        <a:pt x="175" y="95"/>
                      </a:lnTo>
                      <a:lnTo>
                        <a:pt x="163" y="77"/>
                      </a:lnTo>
                      <a:lnTo>
                        <a:pt x="151" y="60"/>
                      </a:lnTo>
                      <a:lnTo>
                        <a:pt x="138" y="45"/>
                      </a:lnTo>
                      <a:lnTo>
                        <a:pt x="125" y="31"/>
                      </a:lnTo>
                      <a:lnTo>
                        <a:pt x="112" y="18"/>
                      </a:lnTo>
                      <a:lnTo>
                        <a:pt x="112" y="18"/>
                      </a:lnTo>
                      <a:lnTo>
                        <a:pt x="101" y="10"/>
                      </a:lnTo>
                      <a:lnTo>
                        <a:pt x="91" y="3"/>
                      </a:lnTo>
                      <a:lnTo>
                        <a:pt x="82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8" name="Freeform 24"/>
                <p:cNvSpPr>
                  <a:spLocks/>
                </p:cNvSpPr>
                <p:nvPr/>
              </p:nvSpPr>
              <p:spPr bwMode="auto">
                <a:xfrm>
                  <a:off x="3219451" y="2341563"/>
                  <a:ext cx="112713" cy="76200"/>
                </a:xfrm>
                <a:custGeom>
                  <a:avLst/>
                  <a:gdLst>
                    <a:gd name="T0" fmla="*/ 0 w 564"/>
                    <a:gd name="T1" fmla="*/ 256 h 379"/>
                    <a:gd name="T2" fmla="*/ 10 w 564"/>
                    <a:gd name="T3" fmla="*/ 265 h 379"/>
                    <a:gd name="T4" fmla="*/ 22 w 564"/>
                    <a:gd name="T5" fmla="*/ 273 h 379"/>
                    <a:gd name="T6" fmla="*/ 38 w 564"/>
                    <a:gd name="T7" fmla="*/ 278 h 379"/>
                    <a:gd name="T8" fmla="*/ 59 w 564"/>
                    <a:gd name="T9" fmla="*/ 275 h 379"/>
                    <a:gd name="T10" fmla="*/ 83 w 564"/>
                    <a:gd name="T11" fmla="*/ 262 h 379"/>
                    <a:gd name="T12" fmla="*/ 112 w 564"/>
                    <a:gd name="T13" fmla="*/ 236 h 379"/>
                    <a:gd name="T14" fmla="*/ 143 w 564"/>
                    <a:gd name="T15" fmla="*/ 193 h 379"/>
                    <a:gd name="T16" fmla="*/ 201 w 564"/>
                    <a:gd name="T17" fmla="*/ 99 h 379"/>
                    <a:gd name="T18" fmla="*/ 208 w 564"/>
                    <a:gd name="T19" fmla="*/ 87 h 379"/>
                    <a:gd name="T20" fmla="*/ 221 w 564"/>
                    <a:gd name="T21" fmla="*/ 70 h 379"/>
                    <a:gd name="T22" fmla="*/ 249 w 564"/>
                    <a:gd name="T23" fmla="*/ 45 h 379"/>
                    <a:gd name="T24" fmla="*/ 273 w 564"/>
                    <a:gd name="T25" fmla="*/ 26 h 379"/>
                    <a:gd name="T26" fmla="*/ 304 w 564"/>
                    <a:gd name="T27" fmla="*/ 12 h 379"/>
                    <a:gd name="T28" fmla="*/ 338 w 564"/>
                    <a:gd name="T29" fmla="*/ 2 h 379"/>
                    <a:gd name="T30" fmla="*/ 366 w 564"/>
                    <a:gd name="T31" fmla="*/ 0 h 379"/>
                    <a:gd name="T32" fmla="*/ 386 w 564"/>
                    <a:gd name="T33" fmla="*/ 2 h 379"/>
                    <a:gd name="T34" fmla="*/ 396 w 564"/>
                    <a:gd name="T35" fmla="*/ 5 h 379"/>
                    <a:gd name="T36" fmla="*/ 435 w 564"/>
                    <a:gd name="T37" fmla="*/ 18 h 379"/>
                    <a:gd name="T38" fmla="*/ 469 w 564"/>
                    <a:gd name="T39" fmla="*/ 32 h 379"/>
                    <a:gd name="T40" fmla="*/ 499 w 564"/>
                    <a:gd name="T41" fmla="*/ 50 h 379"/>
                    <a:gd name="T42" fmla="*/ 522 w 564"/>
                    <a:gd name="T43" fmla="*/ 66 h 379"/>
                    <a:gd name="T44" fmla="*/ 554 w 564"/>
                    <a:gd name="T45" fmla="*/ 96 h 379"/>
                    <a:gd name="T46" fmla="*/ 564 w 564"/>
                    <a:gd name="T47" fmla="*/ 108 h 379"/>
                    <a:gd name="T48" fmla="*/ 532 w 564"/>
                    <a:gd name="T49" fmla="*/ 109 h 379"/>
                    <a:gd name="T50" fmla="*/ 500 w 564"/>
                    <a:gd name="T51" fmla="*/ 115 h 379"/>
                    <a:gd name="T52" fmla="*/ 478 w 564"/>
                    <a:gd name="T53" fmla="*/ 124 h 379"/>
                    <a:gd name="T54" fmla="*/ 457 w 564"/>
                    <a:gd name="T55" fmla="*/ 137 h 379"/>
                    <a:gd name="T56" fmla="*/ 438 w 564"/>
                    <a:gd name="T57" fmla="*/ 156 h 379"/>
                    <a:gd name="T58" fmla="*/ 431 w 564"/>
                    <a:gd name="T59" fmla="*/ 168 h 379"/>
                    <a:gd name="T60" fmla="*/ 401 w 564"/>
                    <a:gd name="T61" fmla="*/ 216 h 379"/>
                    <a:gd name="T62" fmla="*/ 372 w 564"/>
                    <a:gd name="T63" fmla="*/ 258 h 379"/>
                    <a:gd name="T64" fmla="*/ 340 w 564"/>
                    <a:gd name="T65" fmla="*/ 299 h 379"/>
                    <a:gd name="T66" fmla="*/ 332 w 564"/>
                    <a:gd name="T67" fmla="*/ 307 h 379"/>
                    <a:gd name="T68" fmla="*/ 311 w 564"/>
                    <a:gd name="T69" fmla="*/ 328 h 379"/>
                    <a:gd name="T70" fmla="*/ 278 w 564"/>
                    <a:gd name="T71" fmla="*/ 352 h 379"/>
                    <a:gd name="T72" fmla="*/ 248 w 564"/>
                    <a:gd name="T73" fmla="*/ 367 h 379"/>
                    <a:gd name="T74" fmla="*/ 224 w 564"/>
                    <a:gd name="T75" fmla="*/ 375 h 379"/>
                    <a:gd name="T76" fmla="*/ 198 w 564"/>
                    <a:gd name="T77" fmla="*/ 379 h 379"/>
                    <a:gd name="T78" fmla="*/ 171 w 564"/>
                    <a:gd name="T79" fmla="*/ 379 h 379"/>
                    <a:gd name="T80" fmla="*/ 143 w 564"/>
                    <a:gd name="T81" fmla="*/ 374 h 379"/>
                    <a:gd name="T82" fmla="*/ 113 w 564"/>
                    <a:gd name="T83" fmla="*/ 362 h 379"/>
                    <a:gd name="T84" fmla="*/ 81 w 564"/>
                    <a:gd name="T85" fmla="*/ 342 h 379"/>
                    <a:gd name="T86" fmla="*/ 49 w 564"/>
                    <a:gd name="T87" fmla="*/ 315 h 379"/>
                    <a:gd name="T88" fmla="*/ 16 w 564"/>
                    <a:gd name="T89" fmla="*/ 278 h 379"/>
                    <a:gd name="T90" fmla="*/ 0 w 564"/>
                    <a:gd name="T91" fmla="*/ 256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64" h="379">
                      <a:moveTo>
                        <a:pt x="0" y="256"/>
                      </a:moveTo>
                      <a:lnTo>
                        <a:pt x="0" y="256"/>
                      </a:lnTo>
                      <a:lnTo>
                        <a:pt x="2" y="259"/>
                      </a:lnTo>
                      <a:lnTo>
                        <a:pt x="10" y="265"/>
                      </a:lnTo>
                      <a:lnTo>
                        <a:pt x="15" y="269"/>
                      </a:lnTo>
                      <a:lnTo>
                        <a:pt x="22" y="273"/>
                      </a:lnTo>
                      <a:lnTo>
                        <a:pt x="30" y="275"/>
                      </a:lnTo>
                      <a:lnTo>
                        <a:pt x="38" y="278"/>
                      </a:lnTo>
                      <a:lnTo>
                        <a:pt x="48" y="278"/>
                      </a:lnTo>
                      <a:lnTo>
                        <a:pt x="59" y="275"/>
                      </a:lnTo>
                      <a:lnTo>
                        <a:pt x="71" y="270"/>
                      </a:lnTo>
                      <a:lnTo>
                        <a:pt x="83" y="262"/>
                      </a:lnTo>
                      <a:lnTo>
                        <a:pt x="98" y="251"/>
                      </a:lnTo>
                      <a:lnTo>
                        <a:pt x="112" y="236"/>
                      </a:lnTo>
                      <a:lnTo>
                        <a:pt x="126" y="217"/>
                      </a:lnTo>
                      <a:lnTo>
                        <a:pt x="143" y="193"/>
                      </a:lnTo>
                      <a:lnTo>
                        <a:pt x="143" y="193"/>
                      </a:lnTo>
                      <a:lnTo>
                        <a:pt x="201" y="99"/>
                      </a:lnTo>
                      <a:lnTo>
                        <a:pt x="208" y="87"/>
                      </a:lnTo>
                      <a:lnTo>
                        <a:pt x="208" y="87"/>
                      </a:lnTo>
                      <a:lnTo>
                        <a:pt x="212" y="82"/>
                      </a:lnTo>
                      <a:lnTo>
                        <a:pt x="221" y="70"/>
                      </a:lnTo>
                      <a:lnTo>
                        <a:pt x="238" y="54"/>
                      </a:lnTo>
                      <a:lnTo>
                        <a:pt x="249" y="45"/>
                      </a:lnTo>
                      <a:lnTo>
                        <a:pt x="261" y="35"/>
                      </a:lnTo>
                      <a:lnTo>
                        <a:pt x="273" y="26"/>
                      </a:lnTo>
                      <a:lnTo>
                        <a:pt x="287" y="19"/>
                      </a:lnTo>
                      <a:lnTo>
                        <a:pt x="304" y="12"/>
                      </a:lnTo>
                      <a:lnTo>
                        <a:pt x="320" y="7"/>
                      </a:lnTo>
                      <a:lnTo>
                        <a:pt x="338" y="2"/>
                      </a:lnTo>
                      <a:lnTo>
                        <a:pt x="356" y="0"/>
                      </a:lnTo>
                      <a:lnTo>
                        <a:pt x="366" y="0"/>
                      </a:lnTo>
                      <a:lnTo>
                        <a:pt x="376" y="1"/>
                      </a:lnTo>
                      <a:lnTo>
                        <a:pt x="386" y="2"/>
                      </a:lnTo>
                      <a:lnTo>
                        <a:pt x="396" y="5"/>
                      </a:lnTo>
                      <a:lnTo>
                        <a:pt x="396" y="5"/>
                      </a:lnTo>
                      <a:lnTo>
                        <a:pt x="417" y="10"/>
                      </a:lnTo>
                      <a:lnTo>
                        <a:pt x="435" y="18"/>
                      </a:lnTo>
                      <a:lnTo>
                        <a:pt x="453" y="24"/>
                      </a:lnTo>
                      <a:lnTo>
                        <a:pt x="469" y="32"/>
                      </a:lnTo>
                      <a:lnTo>
                        <a:pt x="484" y="41"/>
                      </a:lnTo>
                      <a:lnTo>
                        <a:pt x="499" y="50"/>
                      </a:lnTo>
                      <a:lnTo>
                        <a:pt x="511" y="58"/>
                      </a:lnTo>
                      <a:lnTo>
                        <a:pt x="522" y="66"/>
                      </a:lnTo>
                      <a:lnTo>
                        <a:pt x="540" y="82"/>
                      </a:lnTo>
                      <a:lnTo>
                        <a:pt x="554" y="96"/>
                      </a:lnTo>
                      <a:lnTo>
                        <a:pt x="564" y="108"/>
                      </a:lnTo>
                      <a:lnTo>
                        <a:pt x="564" y="108"/>
                      </a:lnTo>
                      <a:lnTo>
                        <a:pt x="548" y="108"/>
                      </a:lnTo>
                      <a:lnTo>
                        <a:pt x="532" y="109"/>
                      </a:lnTo>
                      <a:lnTo>
                        <a:pt x="511" y="113"/>
                      </a:lnTo>
                      <a:lnTo>
                        <a:pt x="500" y="115"/>
                      </a:lnTo>
                      <a:lnTo>
                        <a:pt x="489" y="120"/>
                      </a:lnTo>
                      <a:lnTo>
                        <a:pt x="478" y="124"/>
                      </a:lnTo>
                      <a:lnTo>
                        <a:pt x="467" y="131"/>
                      </a:lnTo>
                      <a:lnTo>
                        <a:pt x="457" y="137"/>
                      </a:lnTo>
                      <a:lnTo>
                        <a:pt x="447" y="146"/>
                      </a:lnTo>
                      <a:lnTo>
                        <a:pt x="438" y="156"/>
                      </a:lnTo>
                      <a:lnTo>
                        <a:pt x="431" y="168"/>
                      </a:lnTo>
                      <a:lnTo>
                        <a:pt x="431" y="168"/>
                      </a:lnTo>
                      <a:lnTo>
                        <a:pt x="417" y="192"/>
                      </a:lnTo>
                      <a:lnTo>
                        <a:pt x="401" y="216"/>
                      </a:lnTo>
                      <a:lnTo>
                        <a:pt x="386" y="238"/>
                      </a:lnTo>
                      <a:lnTo>
                        <a:pt x="372" y="258"/>
                      </a:lnTo>
                      <a:lnTo>
                        <a:pt x="349" y="287"/>
                      </a:lnTo>
                      <a:lnTo>
                        <a:pt x="340" y="299"/>
                      </a:lnTo>
                      <a:lnTo>
                        <a:pt x="340" y="299"/>
                      </a:lnTo>
                      <a:lnTo>
                        <a:pt x="332" y="307"/>
                      </a:lnTo>
                      <a:lnTo>
                        <a:pt x="323" y="317"/>
                      </a:lnTo>
                      <a:lnTo>
                        <a:pt x="311" y="328"/>
                      </a:lnTo>
                      <a:lnTo>
                        <a:pt x="296" y="340"/>
                      </a:lnTo>
                      <a:lnTo>
                        <a:pt x="278" y="352"/>
                      </a:lnTo>
                      <a:lnTo>
                        <a:pt x="259" y="363"/>
                      </a:lnTo>
                      <a:lnTo>
                        <a:pt x="248" y="367"/>
                      </a:lnTo>
                      <a:lnTo>
                        <a:pt x="236" y="372"/>
                      </a:lnTo>
                      <a:lnTo>
                        <a:pt x="224" y="375"/>
                      </a:lnTo>
                      <a:lnTo>
                        <a:pt x="212" y="377"/>
                      </a:lnTo>
                      <a:lnTo>
                        <a:pt x="198" y="379"/>
                      </a:lnTo>
                      <a:lnTo>
                        <a:pt x="185" y="379"/>
                      </a:lnTo>
                      <a:lnTo>
                        <a:pt x="171" y="379"/>
                      </a:lnTo>
                      <a:lnTo>
                        <a:pt x="157" y="377"/>
                      </a:lnTo>
                      <a:lnTo>
                        <a:pt x="143" y="374"/>
                      </a:lnTo>
                      <a:lnTo>
                        <a:pt x="127" y="368"/>
                      </a:lnTo>
                      <a:lnTo>
                        <a:pt x="113" y="362"/>
                      </a:lnTo>
                      <a:lnTo>
                        <a:pt x="96" y="353"/>
                      </a:lnTo>
                      <a:lnTo>
                        <a:pt x="81" y="342"/>
                      </a:lnTo>
                      <a:lnTo>
                        <a:pt x="66" y="329"/>
                      </a:lnTo>
                      <a:lnTo>
                        <a:pt x="49" y="315"/>
                      </a:lnTo>
                      <a:lnTo>
                        <a:pt x="33" y="297"/>
                      </a:lnTo>
                      <a:lnTo>
                        <a:pt x="16" y="278"/>
                      </a:lnTo>
                      <a:lnTo>
                        <a:pt x="0" y="256"/>
                      </a:lnTo>
                      <a:lnTo>
                        <a:pt x="0" y="2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89" name="Freeform 25"/>
                <p:cNvSpPr>
                  <a:spLocks/>
                </p:cNvSpPr>
                <p:nvPr/>
              </p:nvSpPr>
              <p:spPr bwMode="auto">
                <a:xfrm>
                  <a:off x="3321051" y="2400300"/>
                  <a:ext cx="111125" cy="74613"/>
                </a:xfrm>
                <a:custGeom>
                  <a:avLst/>
                  <a:gdLst>
                    <a:gd name="T0" fmla="*/ 0 w 561"/>
                    <a:gd name="T1" fmla="*/ 254 h 379"/>
                    <a:gd name="T2" fmla="*/ 10 w 561"/>
                    <a:gd name="T3" fmla="*/ 264 h 379"/>
                    <a:gd name="T4" fmla="*/ 22 w 561"/>
                    <a:gd name="T5" fmla="*/ 272 h 379"/>
                    <a:gd name="T6" fmla="*/ 38 w 561"/>
                    <a:gd name="T7" fmla="*/ 276 h 379"/>
                    <a:gd name="T8" fmla="*/ 59 w 561"/>
                    <a:gd name="T9" fmla="*/ 274 h 379"/>
                    <a:gd name="T10" fmla="*/ 83 w 561"/>
                    <a:gd name="T11" fmla="*/ 261 h 379"/>
                    <a:gd name="T12" fmla="*/ 112 w 561"/>
                    <a:gd name="T13" fmla="*/ 236 h 379"/>
                    <a:gd name="T14" fmla="*/ 142 w 561"/>
                    <a:gd name="T15" fmla="*/ 193 h 379"/>
                    <a:gd name="T16" fmla="*/ 208 w 561"/>
                    <a:gd name="T17" fmla="*/ 88 h 379"/>
                    <a:gd name="T18" fmla="*/ 209 w 561"/>
                    <a:gd name="T19" fmla="*/ 84 h 379"/>
                    <a:gd name="T20" fmla="*/ 217 w 561"/>
                    <a:gd name="T21" fmla="*/ 77 h 379"/>
                    <a:gd name="T22" fmla="*/ 247 w 561"/>
                    <a:gd name="T23" fmla="*/ 46 h 379"/>
                    <a:gd name="T24" fmla="*/ 268 w 561"/>
                    <a:gd name="T25" fmla="*/ 29 h 379"/>
                    <a:gd name="T26" fmla="*/ 295 w 561"/>
                    <a:gd name="T27" fmla="*/ 15 h 379"/>
                    <a:gd name="T28" fmla="*/ 325 w 561"/>
                    <a:gd name="T29" fmla="*/ 4 h 379"/>
                    <a:gd name="T30" fmla="*/ 359 w 561"/>
                    <a:gd name="T31" fmla="*/ 0 h 379"/>
                    <a:gd name="T32" fmla="*/ 397 w 561"/>
                    <a:gd name="T33" fmla="*/ 4 h 379"/>
                    <a:gd name="T34" fmla="*/ 413 w 561"/>
                    <a:gd name="T35" fmla="*/ 9 h 379"/>
                    <a:gd name="T36" fmla="*/ 445 w 561"/>
                    <a:gd name="T37" fmla="*/ 21 h 379"/>
                    <a:gd name="T38" fmla="*/ 473 w 561"/>
                    <a:gd name="T39" fmla="*/ 34 h 379"/>
                    <a:gd name="T40" fmla="*/ 508 w 561"/>
                    <a:gd name="T41" fmla="*/ 55 h 379"/>
                    <a:gd name="T42" fmla="*/ 541 w 561"/>
                    <a:gd name="T43" fmla="*/ 82 h 379"/>
                    <a:gd name="T44" fmla="*/ 560 w 561"/>
                    <a:gd name="T45" fmla="*/ 102 h 379"/>
                    <a:gd name="T46" fmla="*/ 561 w 561"/>
                    <a:gd name="T47" fmla="*/ 103 h 379"/>
                    <a:gd name="T48" fmla="*/ 560 w 561"/>
                    <a:gd name="T49" fmla="*/ 106 h 379"/>
                    <a:gd name="T50" fmla="*/ 558 w 561"/>
                    <a:gd name="T51" fmla="*/ 106 h 379"/>
                    <a:gd name="T52" fmla="*/ 534 w 561"/>
                    <a:gd name="T53" fmla="*/ 108 h 379"/>
                    <a:gd name="T54" fmla="*/ 498 w 561"/>
                    <a:gd name="T55" fmla="*/ 116 h 379"/>
                    <a:gd name="T56" fmla="*/ 479 w 561"/>
                    <a:gd name="T57" fmla="*/ 124 h 379"/>
                    <a:gd name="T58" fmla="*/ 461 w 561"/>
                    <a:gd name="T59" fmla="*/ 134 h 379"/>
                    <a:gd name="T60" fmla="*/ 445 w 561"/>
                    <a:gd name="T61" fmla="*/ 148 h 379"/>
                    <a:gd name="T62" fmla="*/ 431 w 561"/>
                    <a:gd name="T63" fmla="*/ 166 h 379"/>
                    <a:gd name="T64" fmla="*/ 416 w 561"/>
                    <a:gd name="T65" fmla="*/ 192 h 379"/>
                    <a:gd name="T66" fmla="*/ 386 w 561"/>
                    <a:gd name="T67" fmla="*/ 238 h 379"/>
                    <a:gd name="T68" fmla="*/ 348 w 561"/>
                    <a:gd name="T69" fmla="*/ 287 h 379"/>
                    <a:gd name="T70" fmla="*/ 340 w 561"/>
                    <a:gd name="T71" fmla="*/ 298 h 379"/>
                    <a:gd name="T72" fmla="*/ 323 w 561"/>
                    <a:gd name="T73" fmla="*/ 316 h 379"/>
                    <a:gd name="T74" fmla="*/ 297 w 561"/>
                    <a:gd name="T75" fmla="*/ 339 h 379"/>
                    <a:gd name="T76" fmla="*/ 259 w 561"/>
                    <a:gd name="T77" fmla="*/ 362 h 379"/>
                    <a:gd name="T78" fmla="*/ 237 w 561"/>
                    <a:gd name="T79" fmla="*/ 371 h 379"/>
                    <a:gd name="T80" fmla="*/ 211 w 561"/>
                    <a:gd name="T81" fmla="*/ 377 h 379"/>
                    <a:gd name="T82" fmla="*/ 185 w 561"/>
                    <a:gd name="T83" fmla="*/ 379 h 379"/>
                    <a:gd name="T84" fmla="*/ 158 w 561"/>
                    <a:gd name="T85" fmla="*/ 377 h 379"/>
                    <a:gd name="T86" fmla="*/ 128 w 561"/>
                    <a:gd name="T87" fmla="*/ 368 h 379"/>
                    <a:gd name="T88" fmla="*/ 98 w 561"/>
                    <a:gd name="T89" fmla="*/ 352 h 379"/>
                    <a:gd name="T90" fmla="*/ 66 w 561"/>
                    <a:gd name="T91" fmla="*/ 329 h 379"/>
                    <a:gd name="T92" fmla="*/ 33 w 561"/>
                    <a:gd name="T93" fmla="*/ 297 h 379"/>
                    <a:gd name="T94" fmla="*/ 0 w 561"/>
                    <a:gd name="T95" fmla="*/ 254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61" h="379">
                      <a:moveTo>
                        <a:pt x="0" y="254"/>
                      </a:moveTo>
                      <a:lnTo>
                        <a:pt x="0" y="254"/>
                      </a:lnTo>
                      <a:lnTo>
                        <a:pt x="2" y="257"/>
                      </a:lnTo>
                      <a:lnTo>
                        <a:pt x="10" y="264"/>
                      </a:lnTo>
                      <a:lnTo>
                        <a:pt x="15" y="268"/>
                      </a:lnTo>
                      <a:lnTo>
                        <a:pt x="22" y="272"/>
                      </a:lnTo>
                      <a:lnTo>
                        <a:pt x="30" y="275"/>
                      </a:lnTo>
                      <a:lnTo>
                        <a:pt x="38" y="276"/>
                      </a:lnTo>
                      <a:lnTo>
                        <a:pt x="48" y="276"/>
                      </a:lnTo>
                      <a:lnTo>
                        <a:pt x="59" y="274"/>
                      </a:lnTo>
                      <a:lnTo>
                        <a:pt x="71" y="268"/>
                      </a:lnTo>
                      <a:lnTo>
                        <a:pt x="83" y="261"/>
                      </a:lnTo>
                      <a:lnTo>
                        <a:pt x="96" y="250"/>
                      </a:lnTo>
                      <a:lnTo>
                        <a:pt x="112" y="236"/>
                      </a:lnTo>
                      <a:lnTo>
                        <a:pt x="126" y="216"/>
                      </a:lnTo>
                      <a:lnTo>
                        <a:pt x="142" y="193"/>
                      </a:lnTo>
                      <a:lnTo>
                        <a:pt x="142" y="193"/>
                      </a:lnTo>
                      <a:lnTo>
                        <a:pt x="208" y="88"/>
                      </a:lnTo>
                      <a:lnTo>
                        <a:pt x="208" y="88"/>
                      </a:lnTo>
                      <a:lnTo>
                        <a:pt x="209" y="84"/>
                      </a:lnTo>
                      <a:lnTo>
                        <a:pt x="209" y="84"/>
                      </a:lnTo>
                      <a:lnTo>
                        <a:pt x="217" y="77"/>
                      </a:lnTo>
                      <a:lnTo>
                        <a:pt x="229" y="62"/>
                      </a:lnTo>
                      <a:lnTo>
                        <a:pt x="247" y="46"/>
                      </a:lnTo>
                      <a:lnTo>
                        <a:pt x="256" y="38"/>
                      </a:lnTo>
                      <a:lnTo>
                        <a:pt x="268" y="29"/>
                      </a:lnTo>
                      <a:lnTo>
                        <a:pt x="282" y="22"/>
                      </a:lnTo>
                      <a:lnTo>
                        <a:pt x="295" y="15"/>
                      </a:lnTo>
                      <a:lnTo>
                        <a:pt x="310" y="9"/>
                      </a:lnTo>
                      <a:lnTo>
                        <a:pt x="325" y="4"/>
                      </a:lnTo>
                      <a:lnTo>
                        <a:pt x="342" y="1"/>
                      </a:lnTo>
                      <a:lnTo>
                        <a:pt x="359" y="0"/>
                      </a:lnTo>
                      <a:lnTo>
                        <a:pt x="378" y="1"/>
                      </a:lnTo>
                      <a:lnTo>
                        <a:pt x="397" y="4"/>
                      </a:lnTo>
                      <a:lnTo>
                        <a:pt x="397" y="4"/>
                      </a:lnTo>
                      <a:lnTo>
                        <a:pt x="413" y="9"/>
                      </a:lnTo>
                      <a:lnTo>
                        <a:pt x="430" y="14"/>
                      </a:lnTo>
                      <a:lnTo>
                        <a:pt x="445" y="21"/>
                      </a:lnTo>
                      <a:lnTo>
                        <a:pt x="459" y="27"/>
                      </a:lnTo>
                      <a:lnTo>
                        <a:pt x="473" y="34"/>
                      </a:lnTo>
                      <a:lnTo>
                        <a:pt x="485" y="40"/>
                      </a:lnTo>
                      <a:lnTo>
                        <a:pt x="508" y="55"/>
                      </a:lnTo>
                      <a:lnTo>
                        <a:pt x="527" y="69"/>
                      </a:lnTo>
                      <a:lnTo>
                        <a:pt x="541" y="82"/>
                      </a:lnTo>
                      <a:lnTo>
                        <a:pt x="553" y="93"/>
                      </a:lnTo>
                      <a:lnTo>
                        <a:pt x="560" y="102"/>
                      </a:lnTo>
                      <a:lnTo>
                        <a:pt x="560" y="102"/>
                      </a:lnTo>
                      <a:lnTo>
                        <a:pt x="561" y="103"/>
                      </a:lnTo>
                      <a:lnTo>
                        <a:pt x="561" y="105"/>
                      </a:lnTo>
                      <a:lnTo>
                        <a:pt x="560" y="106"/>
                      </a:lnTo>
                      <a:lnTo>
                        <a:pt x="558" y="106"/>
                      </a:lnTo>
                      <a:lnTo>
                        <a:pt x="558" y="106"/>
                      </a:lnTo>
                      <a:lnTo>
                        <a:pt x="548" y="107"/>
                      </a:lnTo>
                      <a:lnTo>
                        <a:pt x="534" y="108"/>
                      </a:lnTo>
                      <a:lnTo>
                        <a:pt x="516" y="111"/>
                      </a:lnTo>
                      <a:lnTo>
                        <a:pt x="498" y="116"/>
                      </a:lnTo>
                      <a:lnTo>
                        <a:pt x="489" y="119"/>
                      </a:lnTo>
                      <a:lnTo>
                        <a:pt x="479" y="124"/>
                      </a:lnTo>
                      <a:lnTo>
                        <a:pt x="470" y="128"/>
                      </a:lnTo>
                      <a:lnTo>
                        <a:pt x="461" y="134"/>
                      </a:lnTo>
                      <a:lnTo>
                        <a:pt x="453" y="140"/>
                      </a:lnTo>
                      <a:lnTo>
                        <a:pt x="445" y="148"/>
                      </a:lnTo>
                      <a:lnTo>
                        <a:pt x="437" y="157"/>
                      </a:lnTo>
                      <a:lnTo>
                        <a:pt x="431" y="166"/>
                      </a:lnTo>
                      <a:lnTo>
                        <a:pt x="431" y="166"/>
                      </a:lnTo>
                      <a:lnTo>
                        <a:pt x="416" y="192"/>
                      </a:lnTo>
                      <a:lnTo>
                        <a:pt x="401" y="215"/>
                      </a:lnTo>
                      <a:lnTo>
                        <a:pt x="386" y="238"/>
                      </a:lnTo>
                      <a:lnTo>
                        <a:pt x="372" y="257"/>
                      </a:lnTo>
                      <a:lnTo>
                        <a:pt x="348" y="287"/>
                      </a:lnTo>
                      <a:lnTo>
                        <a:pt x="340" y="298"/>
                      </a:lnTo>
                      <a:lnTo>
                        <a:pt x="340" y="298"/>
                      </a:lnTo>
                      <a:lnTo>
                        <a:pt x="332" y="307"/>
                      </a:lnTo>
                      <a:lnTo>
                        <a:pt x="323" y="316"/>
                      </a:lnTo>
                      <a:lnTo>
                        <a:pt x="311" y="327"/>
                      </a:lnTo>
                      <a:lnTo>
                        <a:pt x="297" y="339"/>
                      </a:lnTo>
                      <a:lnTo>
                        <a:pt x="279" y="351"/>
                      </a:lnTo>
                      <a:lnTo>
                        <a:pt x="259" y="362"/>
                      </a:lnTo>
                      <a:lnTo>
                        <a:pt x="248" y="367"/>
                      </a:lnTo>
                      <a:lnTo>
                        <a:pt x="237" y="371"/>
                      </a:lnTo>
                      <a:lnTo>
                        <a:pt x="225" y="375"/>
                      </a:lnTo>
                      <a:lnTo>
                        <a:pt x="211" y="377"/>
                      </a:lnTo>
                      <a:lnTo>
                        <a:pt x="199" y="379"/>
                      </a:lnTo>
                      <a:lnTo>
                        <a:pt x="185" y="379"/>
                      </a:lnTo>
                      <a:lnTo>
                        <a:pt x="172" y="378"/>
                      </a:lnTo>
                      <a:lnTo>
                        <a:pt x="158" y="377"/>
                      </a:lnTo>
                      <a:lnTo>
                        <a:pt x="142" y="373"/>
                      </a:lnTo>
                      <a:lnTo>
                        <a:pt x="128" y="368"/>
                      </a:lnTo>
                      <a:lnTo>
                        <a:pt x="113" y="360"/>
                      </a:lnTo>
                      <a:lnTo>
                        <a:pt x="98" y="352"/>
                      </a:lnTo>
                      <a:lnTo>
                        <a:pt x="81" y="342"/>
                      </a:lnTo>
                      <a:lnTo>
                        <a:pt x="66" y="329"/>
                      </a:lnTo>
                      <a:lnTo>
                        <a:pt x="49" y="313"/>
                      </a:lnTo>
                      <a:lnTo>
                        <a:pt x="33" y="297"/>
                      </a:lnTo>
                      <a:lnTo>
                        <a:pt x="16" y="277"/>
                      </a:lnTo>
                      <a:lnTo>
                        <a:pt x="0" y="254"/>
                      </a:lnTo>
                      <a:lnTo>
                        <a:pt x="0" y="25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0" name="Freeform 26"/>
                <p:cNvSpPr>
                  <a:spLocks/>
                </p:cNvSpPr>
                <p:nvPr/>
              </p:nvSpPr>
              <p:spPr bwMode="auto">
                <a:xfrm>
                  <a:off x="3097213" y="2268538"/>
                  <a:ext cx="153988" cy="130175"/>
                </a:xfrm>
                <a:custGeom>
                  <a:avLst/>
                  <a:gdLst>
                    <a:gd name="T0" fmla="*/ 25 w 774"/>
                    <a:gd name="T1" fmla="*/ 320 h 655"/>
                    <a:gd name="T2" fmla="*/ 116 w 774"/>
                    <a:gd name="T3" fmla="*/ 324 h 655"/>
                    <a:gd name="T4" fmla="*/ 172 w 774"/>
                    <a:gd name="T5" fmla="*/ 316 h 655"/>
                    <a:gd name="T6" fmla="*/ 228 w 774"/>
                    <a:gd name="T7" fmla="*/ 290 h 655"/>
                    <a:gd name="T8" fmla="*/ 278 w 774"/>
                    <a:gd name="T9" fmla="*/ 247 h 655"/>
                    <a:gd name="T10" fmla="*/ 315 w 774"/>
                    <a:gd name="T11" fmla="*/ 179 h 655"/>
                    <a:gd name="T12" fmla="*/ 332 w 774"/>
                    <a:gd name="T13" fmla="*/ 96 h 655"/>
                    <a:gd name="T14" fmla="*/ 333 w 774"/>
                    <a:gd name="T15" fmla="*/ 43 h 655"/>
                    <a:gd name="T16" fmla="*/ 325 w 774"/>
                    <a:gd name="T17" fmla="*/ 12 h 655"/>
                    <a:gd name="T18" fmla="*/ 307 w 774"/>
                    <a:gd name="T19" fmla="*/ 1 h 655"/>
                    <a:gd name="T20" fmla="*/ 274 w 774"/>
                    <a:gd name="T21" fmla="*/ 9 h 655"/>
                    <a:gd name="T22" fmla="*/ 230 w 774"/>
                    <a:gd name="T23" fmla="*/ 43 h 655"/>
                    <a:gd name="T24" fmla="*/ 212 w 774"/>
                    <a:gd name="T25" fmla="*/ 68 h 655"/>
                    <a:gd name="T26" fmla="*/ 184 w 774"/>
                    <a:gd name="T27" fmla="*/ 129 h 655"/>
                    <a:gd name="T28" fmla="*/ 166 w 774"/>
                    <a:gd name="T29" fmla="*/ 224 h 655"/>
                    <a:gd name="T30" fmla="*/ 172 w 774"/>
                    <a:gd name="T31" fmla="*/ 307 h 655"/>
                    <a:gd name="T32" fmla="*/ 192 w 774"/>
                    <a:gd name="T33" fmla="*/ 364 h 655"/>
                    <a:gd name="T34" fmla="*/ 227 w 774"/>
                    <a:gd name="T35" fmla="*/ 420 h 655"/>
                    <a:gd name="T36" fmla="*/ 262 w 774"/>
                    <a:gd name="T37" fmla="*/ 452 h 655"/>
                    <a:gd name="T38" fmla="*/ 314 w 774"/>
                    <a:gd name="T39" fmla="*/ 466 h 655"/>
                    <a:gd name="T40" fmla="*/ 366 w 774"/>
                    <a:gd name="T41" fmla="*/ 455 h 655"/>
                    <a:gd name="T42" fmla="*/ 418 w 774"/>
                    <a:gd name="T43" fmla="*/ 425 h 655"/>
                    <a:gd name="T44" fmla="*/ 498 w 774"/>
                    <a:gd name="T45" fmla="*/ 352 h 655"/>
                    <a:gd name="T46" fmla="*/ 554 w 774"/>
                    <a:gd name="T47" fmla="*/ 275 h 655"/>
                    <a:gd name="T48" fmla="*/ 570 w 774"/>
                    <a:gd name="T49" fmla="*/ 225 h 655"/>
                    <a:gd name="T50" fmla="*/ 566 w 774"/>
                    <a:gd name="T51" fmla="*/ 158 h 655"/>
                    <a:gd name="T52" fmla="*/ 552 w 774"/>
                    <a:gd name="T53" fmla="*/ 135 h 655"/>
                    <a:gd name="T54" fmla="*/ 532 w 774"/>
                    <a:gd name="T55" fmla="*/ 124 h 655"/>
                    <a:gd name="T56" fmla="*/ 506 w 774"/>
                    <a:gd name="T57" fmla="*/ 127 h 655"/>
                    <a:gd name="T58" fmla="*/ 473 w 774"/>
                    <a:gd name="T59" fmla="*/ 147 h 655"/>
                    <a:gd name="T60" fmla="*/ 435 w 774"/>
                    <a:gd name="T61" fmla="*/ 185 h 655"/>
                    <a:gd name="T62" fmla="*/ 410 w 774"/>
                    <a:gd name="T63" fmla="*/ 227 h 655"/>
                    <a:gd name="T64" fmla="*/ 382 w 774"/>
                    <a:gd name="T65" fmla="*/ 315 h 655"/>
                    <a:gd name="T66" fmla="*/ 376 w 774"/>
                    <a:gd name="T67" fmla="*/ 408 h 655"/>
                    <a:gd name="T68" fmla="*/ 387 w 774"/>
                    <a:gd name="T69" fmla="*/ 461 h 655"/>
                    <a:gd name="T70" fmla="*/ 412 w 774"/>
                    <a:gd name="T71" fmla="*/ 514 h 655"/>
                    <a:gd name="T72" fmla="*/ 443 w 774"/>
                    <a:gd name="T73" fmla="*/ 550 h 655"/>
                    <a:gd name="T74" fmla="*/ 492 w 774"/>
                    <a:gd name="T75" fmla="*/ 584 h 655"/>
                    <a:gd name="T76" fmla="*/ 545 w 774"/>
                    <a:gd name="T77" fmla="*/ 596 h 655"/>
                    <a:gd name="T78" fmla="*/ 598 w 774"/>
                    <a:gd name="T79" fmla="*/ 589 h 655"/>
                    <a:gd name="T80" fmla="*/ 648 w 774"/>
                    <a:gd name="T81" fmla="*/ 563 h 655"/>
                    <a:gd name="T82" fmla="*/ 693 w 774"/>
                    <a:gd name="T83" fmla="*/ 524 h 655"/>
                    <a:gd name="T84" fmla="*/ 730 w 774"/>
                    <a:gd name="T85" fmla="*/ 472 h 655"/>
                    <a:gd name="T86" fmla="*/ 758 w 774"/>
                    <a:gd name="T87" fmla="*/ 411 h 655"/>
                    <a:gd name="T88" fmla="*/ 772 w 774"/>
                    <a:gd name="T89" fmla="*/ 342 h 655"/>
                    <a:gd name="T90" fmla="*/ 772 w 774"/>
                    <a:gd name="T91" fmla="*/ 279 h 655"/>
                    <a:gd name="T92" fmla="*/ 763 w 774"/>
                    <a:gd name="T93" fmla="*/ 251 h 655"/>
                    <a:gd name="T94" fmla="*/ 748 w 774"/>
                    <a:gd name="T95" fmla="*/ 239 h 655"/>
                    <a:gd name="T96" fmla="*/ 724 w 774"/>
                    <a:gd name="T97" fmla="*/ 240 h 655"/>
                    <a:gd name="T98" fmla="*/ 684 w 774"/>
                    <a:gd name="T99" fmla="*/ 265 h 655"/>
                    <a:gd name="T100" fmla="*/ 662 w 774"/>
                    <a:gd name="T101" fmla="*/ 290 h 655"/>
                    <a:gd name="T102" fmla="*/ 627 w 774"/>
                    <a:gd name="T103" fmla="*/ 365 h 655"/>
                    <a:gd name="T104" fmla="*/ 605 w 774"/>
                    <a:gd name="T105" fmla="*/ 465 h 655"/>
                    <a:gd name="T106" fmla="*/ 609 w 774"/>
                    <a:gd name="T107" fmla="*/ 569 h 655"/>
                    <a:gd name="T108" fmla="*/ 624 w 774"/>
                    <a:gd name="T109" fmla="*/ 616 h 655"/>
                    <a:gd name="T110" fmla="*/ 651 w 774"/>
                    <a:gd name="T111" fmla="*/ 655 h 6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774" h="655">
                      <a:moveTo>
                        <a:pt x="0" y="315"/>
                      </a:moveTo>
                      <a:lnTo>
                        <a:pt x="0" y="315"/>
                      </a:lnTo>
                      <a:lnTo>
                        <a:pt x="12" y="317"/>
                      </a:lnTo>
                      <a:lnTo>
                        <a:pt x="25" y="320"/>
                      </a:lnTo>
                      <a:lnTo>
                        <a:pt x="44" y="322"/>
                      </a:lnTo>
                      <a:lnTo>
                        <a:pt x="66" y="324"/>
                      </a:lnTo>
                      <a:lnTo>
                        <a:pt x="90" y="326"/>
                      </a:lnTo>
                      <a:lnTo>
                        <a:pt x="116" y="324"/>
                      </a:lnTo>
                      <a:lnTo>
                        <a:pt x="131" y="323"/>
                      </a:lnTo>
                      <a:lnTo>
                        <a:pt x="145" y="321"/>
                      </a:lnTo>
                      <a:lnTo>
                        <a:pt x="158" y="319"/>
                      </a:lnTo>
                      <a:lnTo>
                        <a:pt x="172" y="316"/>
                      </a:lnTo>
                      <a:lnTo>
                        <a:pt x="187" y="310"/>
                      </a:lnTo>
                      <a:lnTo>
                        <a:pt x="201" y="305"/>
                      </a:lnTo>
                      <a:lnTo>
                        <a:pt x="215" y="298"/>
                      </a:lnTo>
                      <a:lnTo>
                        <a:pt x="228" y="290"/>
                      </a:lnTo>
                      <a:lnTo>
                        <a:pt x="241" y="282"/>
                      </a:lnTo>
                      <a:lnTo>
                        <a:pt x="255" y="272"/>
                      </a:lnTo>
                      <a:lnTo>
                        <a:pt x="267" y="260"/>
                      </a:lnTo>
                      <a:lnTo>
                        <a:pt x="278" y="247"/>
                      </a:lnTo>
                      <a:lnTo>
                        <a:pt x="289" y="232"/>
                      </a:lnTo>
                      <a:lnTo>
                        <a:pt x="298" y="216"/>
                      </a:lnTo>
                      <a:lnTo>
                        <a:pt x="307" y="198"/>
                      </a:lnTo>
                      <a:lnTo>
                        <a:pt x="315" y="179"/>
                      </a:lnTo>
                      <a:lnTo>
                        <a:pt x="321" y="157"/>
                      </a:lnTo>
                      <a:lnTo>
                        <a:pt x="326" y="134"/>
                      </a:lnTo>
                      <a:lnTo>
                        <a:pt x="326" y="134"/>
                      </a:lnTo>
                      <a:lnTo>
                        <a:pt x="332" y="96"/>
                      </a:lnTo>
                      <a:lnTo>
                        <a:pt x="333" y="80"/>
                      </a:lnTo>
                      <a:lnTo>
                        <a:pt x="335" y="66"/>
                      </a:lnTo>
                      <a:lnTo>
                        <a:pt x="335" y="54"/>
                      </a:lnTo>
                      <a:lnTo>
                        <a:pt x="333" y="43"/>
                      </a:lnTo>
                      <a:lnTo>
                        <a:pt x="332" y="33"/>
                      </a:lnTo>
                      <a:lnTo>
                        <a:pt x="330" y="25"/>
                      </a:lnTo>
                      <a:lnTo>
                        <a:pt x="328" y="18"/>
                      </a:lnTo>
                      <a:lnTo>
                        <a:pt x="325" y="12"/>
                      </a:lnTo>
                      <a:lnTo>
                        <a:pt x="321" y="8"/>
                      </a:lnTo>
                      <a:lnTo>
                        <a:pt x="317" y="4"/>
                      </a:lnTo>
                      <a:lnTo>
                        <a:pt x="313" y="2"/>
                      </a:lnTo>
                      <a:lnTo>
                        <a:pt x="307" y="1"/>
                      </a:lnTo>
                      <a:lnTo>
                        <a:pt x="303" y="0"/>
                      </a:lnTo>
                      <a:lnTo>
                        <a:pt x="297" y="1"/>
                      </a:lnTo>
                      <a:lnTo>
                        <a:pt x="285" y="4"/>
                      </a:lnTo>
                      <a:lnTo>
                        <a:pt x="274" y="9"/>
                      </a:lnTo>
                      <a:lnTo>
                        <a:pt x="262" y="16"/>
                      </a:lnTo>
                      <a:lnTo>
                        <a:pt x="251" y="25"/>
                      </a:lnTo>
                      <a:lnTo>
                        <a:pt x="240" y="34"/>
                      </a:lnTo>
                      <a:lnTo>
                        <a:pt x="230" y="43"/>
                      </a:lnTo>
                      <a:lnTo>
                        <a:pt x="223" y="51"/>
                      </a:lnTo>
                      <a:lnTo>
                        <a:pt x="216" y="59"/>
                      </a:lnTo>
                      <a:lnTo>
                        <a:pt x="216" y="59"/>
                      </a:lnTo>
                      <a:lnTo>
                        <a:pt x="212" y="68"/>
                      </a:lnTo>
                      <a:lnTo>
                        <a:pt x="205" y="79"/>
                      </a:lnTo>
                      <a:lnTo>
                        <a:pt x="199" y="93"/>
                      </a:lnTo>
                      <a:lnTo>
                        <a:pt x="191" y="110"/>
                      </a:lnTo>
                      <a:lnTo>
                        <a:pt x="184" y="129"/>
                      </a:lnTo>
                      <a:lnTo>
                        <a:pt x="178" y="150"/>
                      </a:lnTo>
                      <a:lnTo>
                        <a:pt x="172" y="173"/>
                      </a:lnTo>
                      <a:lnTo>
                        <a:pt x="168" y="197"/>
                      </a:lnTo>
                      <a:lnTo>
                        <a:pt x="166" y="224"/>
                      </a:lnTo>
                      <a:lnTo>
                        <a:pt x="166" y="250"/>
                      </a:lnTo>
                      <a:lnTo>
                        <a:pt x="168" y="278"/>
                      </a:lnTo>
                      <a:lnTo>
                        <a:pt x="170" y="293"/>
                      </a:lnTo>
                      <a:lnTo>
                        <a:pt x="172" y="307"/>
                      </a:lnTo>
                      <a:lnTo>
                        <a:pt x="177" y="321"/>
                      </a:lnTo>
                      <a:lnTo>
                        <a:pt x="181" y="335"/>
                      </a:lnTo>
                      <a:lnTo>
                        <a:pt x="186" y="350"/>
                      </a:lnTo>
                      <a:lnTo>
                        <a:pt x="192" y="364"/>
                      </a:lnTo>
                      <a:lnTo>
                        <a:pt x="200" y="378"/>
                      </a:lnTo>
                      <a:lnTo>
                        <a:pt x="207" y="392"/>
                      </a:lnTo>
                      <a:lnTo>
                        <a:pt x="217" y="407"/>
                      </a:lnTo>
                      <a:lnTo>
                        <a:pt x="227" y="420"/>
                      </a:lnTo>
                      <a:lnTo>
                        <a:pt x="227" y="420"/>
                      </a:lnTo>
                      <a:lnTo>
                        <a:pt x="239" y="433"/>
                      </a:lnTo>
                      <a:lnTo>
                        <a:pt x="250" y="444"/>
                      </a:lnTo>
                      <a:lnTo>
                        <a:pt x="262" y="452"/>
                      </a:lnTo>
                      <a:lnTo>
                        <a:pt x="275" y="458"/>
                      </a:lnTo>
                      <a:lnTo>
                        <a:pt x="287" y="463"/>
                      </a:lnTo>
                      <a:lnTo>
                        <a:pt x="301" y="465"/>
                      </a:lnTo>
                      <a:lnTo>
                        <a:pt x="314" y="466"/>
                      </a:lnTo>
                      <a:lnTo>
                        <a:pt x="327" y="465"/>
                      </a:lnTo>
                      <a:lnTo>
                        <a:pt x="340" y="464"/>
                      </a:lnTo>
                      <a:lnTo>
                        <a:pt x="353" y="459"/>
                      </a:lnTo>
                      <a:lnTo>
                        <a:pt x="366" y="455"/>
                      </a:lnTo>
                      <a:lnTo>
                        <a:pt x="379" y="449"/>
                      </a:lnTo>
                      <a:lnTo>
                        <a:pt x="393" y="442"/>
                      </a:lnTo>
                      <a:lnTo>
                        <a:pt x="406" y="434"/>
                      </a:lnTo>
                      <a:lnTo>
                        <a:pt x="418" y="425"/>
                      </a:lnTo>
                      <a:lnTo>
                        <a:pt x="431" y="417"/>
                      </a:lnTo>
                      <a:lnTo>
                        <a:pt x="455" y="396"/>
                      </a:lnTo>
                      <a:lnTo>
                        <a:pt x="477" y="374"/>
                      </a:lnTo>
                      <a:lnTo>
                        <a:pt x="498" y="352"/>
                      </a:lnTo>
                      <a:lnTo>
                        <a:pt x="516" y="330"/>
                      </a:lnTo>
                      <a:lnTo>
                        <a:pt x="532" y="309"/>
                      </a:lnTo>
                      <a:lnTo>
                        <a:pt x="544" y="292"/>
                      </a:lnTo>
                      <a:lnTo>
                        <a:pt x="554" y="275"/>
                      </a:lnTo>
                      <a:lnTo>
                        <a:pt x="559" y="264"/>
                      </a:lnTo>
                      <a:lnTo>
                        <a:pt x="559" y="264"/>
                      </a:lnTo>
                      <a:lnTo>
                        <a:pt x="566" y="244"/>
                      </a:lnTo>
                      <a:lnTo>
                        <a:pt x="570" y="225"/>
                      </a:lnTo>
                      <a:lnTo>
                        <a:pt x="571" y="206"/>
                      </a:lnTo>
                      <a:lnTo>
                        <a:pt x="571" y="189"/>
                      </a:lnTo>
                      <a:lnTo>
                        <a:pt x="569" y="172"/>
                      </a:lnTo>
                      <a:lnTo>
                        <a:pt x="566" y="158"/>
                      </a:lnTo>
                      <a:lnTo>
                        <a:pt x="563" y="151"/>
                      </a:lnTo>
                      <a:lnTo>
                        <a:pt x="559" y="145"/>
                      </a:lnTo>
                      <a:lnTo>
                        <a:pt x="556" y="139"/>
                      </a:lnTo>
                      <a:lnTo>
                        <a:pt x="552" y="135"/>
                      </a:lnTo>
                      <a:lnTo>
                        <a:pt x="547" y="132"/>
                      </a:lnTo>
                      <a:lnTo>
                        <a:pt x="543" y="128"/>
                      </a:lnTo>
                      <a:lnTo>
                        <a:pt x="537" y="126"/>
                      </a:lnTo>
                      <a:lnTo>
                        <a:pt x="532" y="124"/>
                      </a:lnTo>
                      <a:lnTo>
                        <a:pt x="525" y="123"/>
                      </a:lnTo>
                      <a:lnTo>
                        <a:pt x="519" y="124"/>
                      </a:lnTo>
                      <a:lnTo>
                        <a:pt x="512" y="125"/>
                      </a:lnTo>
                      <a:lnTo>
                        <a:pt x="506" y="127"/>
                      </a:lnTo>
                      <a:lnTo>
                        <a:pt x="498" y="130"/>
                      </a:lnTo>
                      <a:lnTo>
                        <a:pt x="490" y="135"/>
                      </a:lnTo>
                      <a:lnTo>
                        <a:pt x="481" y="139"/>
                      </a:lnTo>
                      <a:lnTo>
                        <a:pt x="473" y="147"/>
                      </a:lnTo>
                      <a:lnTo>
                        <a:pt x="464" y="155"/>
                      </a:lnTo>
                      <a:lnTo>
                        <a:pt x="455" y="163"/>
                      </a:lnTo>
                      <a:lnTo>
                        <a:pt x="445" y="173"/>
                      </a:lnTo>
                      <a:lnTo>
                        <a:pt x="435" y="185"/>
                      </a:lnTo>
                      <a:lnTo>
                        <a:pt x="435" y="185"/>
                      </a:lnTo>
                      <a:lnTo>
                        <a:pt x="428" y="196"/>
                      </a:lnTo>
                      <a:lnTo>
                        <a:pt x="419" y="210"/>
                      </a:lnTo>
                      <a:lnTo>
                        <a:pt x="410" y="227"/>
                      </a:lnTo>
                      <a:lnTo>
                        <a:pt x="403" y="247"/>
                      </a:lnTo>
                      <a:lnTo>
                        <a:pt x="394" y="267"/>
                      </a:lnTo>
                      <a:lnTo>
                        <a:pt x="387" y="290"/>
                      </a:lnTo>
                      <a:lnTo>
                        <a:pt x="382" y="315"/>
                      </a:lnTo>
                      <a:lnTo>
                        <a:pt x="377" y="341"/>
                      </a:lnTo>
                      <a:lnTo>
                        <a:pt x="375" y="367"/>
                      </a:lnTo>
                      <a:lnTo>
                        <a:pt x="375" y="393"/>
                      </a:lnTo>
                      <a:lnTo>
                        <a:pt x="376" y="408"/>
                      </a:lnTo>
                      <a:lnTo>
                        <a:pt x="377" y="421"/>
                      </a:lnTo>
                      <a:lnTo>
                        <a:pt x="379" y="435"/>
                      </a:lnTo>
                      <a:lnTo>
                        <a:pt x="383" y="448"/>
                      </a:lnTo>
                      <a:lnTo>
                        <a:pt x="387" y="461"/>
                      </a:lnTo>
                      <a:lnTo>
                        <a:pt x="393" y="475"/>
                      </a:lnTo>
                      <a:lnTo>
                        <a:pt x="398" y="488"/>
                      </a:lnTo>
                      <a:lnTo>
                        <a:pt x="405" y="501"/>
                      </a:lnTo>
                      <a:lnTo>
                        <a:pt x="412" y="514"/>
                      </a:lnTo>
                      <a:lnTo>
                        <a:pt x="422" y="526"/>
                      </a:lnTo>
                      <a:lnTo>
                        <a:pt x="432" y="538"/>
                      </a:lnTo>
                      <a:lnTo>
                        <a:pt x="443" y="550"/>
                      </a:lnTo>
                      <a:lnTo>
                        <a:pt x="443" y="550"/>
                      </a:lnTo>
                      <a:lnTo>
                        <a:pt x="455" y="561"/>
                      </a:lnTo>
                      <a:lnTo>
                        <a:pt x="467" y="570"/>
                      </a:lnTo>
                      <a:lnTo>
                        <a:pt x="480" y="578"/>
                      </a:lnTo>
                      <a:lnTo>
                        <a:pt x="492" y="584"/>
                      </a:lnTo>
                      <a:lnTo>
                        <a:pt x="506" y="590"/>
                      </a:lnTo>
                      <a:lnTo>
                        <a:pt x="519" y="593"/>
                      </a:lnTo>
                      <a:lnTo>
                        <a:pt x="532" y="595"/>
                      </a:lnTo>
                      <a:lnTo>
                        <a:pt x="545" y="596"/>
                      </a:lnTo>
                      <a:lnTo>
                        <a:pt x="558" y="596"/>
                      </a:lnTo>
                      <a:lnTo>
                        <a:pt x="571" y="595"/>
                      </a:lnTo>
                      <a:lnTo>
                        <a:pt x="584" y="592"/>
                      </a:lnTo>
                      <a:lnTo>
                        <a:pt x="598" y="589"/>
                      </a:lnTo>
                      <a:lnTo>
                        <a:pt x="611" y="584"/>
                      </a:lnTo>
                      <a:lnTo>
                        <a:pt x="623" y="578"/>
                      </a:lnTo>
                      <a:lnTo>
                        <a:pt x="636" y="571"/>
                      </a:lnTo>
                      <a:lnTo>
                        <a:pt x="648" y="563"/>
                      </a:lnTo>
                      <a:lnTo>
                        <a:pt x="660" y="555"/>
                      </a:lnTo>
                      <a:lnTo>
                        <a:pt x="671" y="546"/>
                      </a:lnTo>
                      <a:lnTo>
                        <a:pt x="682" y="535"/>
                      </a:lnTo>
                      <a:lnTo>
                        <a:pt x="693" y="524"/>
                      </a:lnTo>
                      <a:lnTo>
                        <a:pt x="703" y="512"/>
                      </a:lnTo>
                      <a:lnTo>
                        <a:pt x="713" y="500"/>
                      </a:lnTo>
                      <a:lnTo>
                        <a:pt x="721" y="487"/>
                      </a:lnTo>
                      <a:lnTo>
                        <a:pt x="730" y="472"/>
                      </a:lnTo>
                      <a:lnTo>
                        <a:pt x="738" y="457"/>
                      </a:lnTo>
                      <a:lnTo>
                        <a:pt x="746" y="443"/>
                      </a:lnTo>
                      <a:lnTo>
                        <a:pt x="752" y="426"/>
                      </a:lnTo>
                      <a:lnTo>
                        <a:pt x="758" y="411"/>
                      </a:lnTo>
                      <a:lnTo>
                        <a:pt x="762" y="393"/>
                      </a:lnTo>
                      <a:lnTo>
                        <a:pt x="766" y="377"/>
                      </a:lnTo>
                      <a:lnTo>
                        <a:pt x="770" y="360"/>
                      </a:lnTo>
                      <a:lnTo>
                        <a:pt x="772" y="342"/>
                      </a:lnTo>
                      <a:lnTo>
                        <a:pt x="772" y="342"/>
                      </a:lnTo>
                      <a:lnTo>
                        <a:pt x="774" y="313"/>
                      </a:lnTo>
                      <a:lnTo>
                        <a:pt x="773" y="289"/>
                      </a:lnTo>
                      <a:lnTo>
                        <a:pt x="772" y="279"/>
                      </a:lnTo>
                      <a:lnTo>
                        <a:pt x="771" y="271"/>
                      </a:lnTo>
                      <a:lnTo>
                        <a:pt x="769" y="263"/>
                      </a:lnTo>
                      <a:lnTo>
                        <a:pt x="765" y="256"/>
                      </a:lnTo>
                      <a:lnTo>
                        <a:pt x="763" y="251"/>
                      </a:lnTo>
                      <a:lnTo>
                        <a:pt x="760" y="247"/>
                      </a:lnTo>
                      <a:lnTo>
                        <a:pt x="755" y="243"/>
                      </a:lnTo>
                      <a:lnTo>
                        <a:pt x="752" y="241"/>
                      </a:lnTo>
                      <a:lnTo>
                        <a:pt x="748" y="239"/>
                      </a:lnTo>
                      <a:lnTo>
                        <a:pt x="743" y="238"/>
                      </a:lnTo>
                      <a:lnTo>
                        <a:pt x="739" y="237"/>
                      </a:lnTo>
                      <a:lnTo>
                        <a:pt x="734" y="238"/>
                      </a:lnTo>
                      <a:lnTo>
                        <a:pt x="724" y="240"/>
                      </a:lnTo>
                      <a:lnTo>
                        <a:pt x="714" y="244"/>
                      </a:lnTo>
                      <a:lnTo>
                        <a:pt x="704" y="250"/>
                      </a:lnTo>
                      <a:lnTo>
                        <a:pt x="694" y="258"/>
                      </a:lnTo>
                      <a:lnTo>
                        <a:pt x="684" y="265"/>
                      </a:lnTo>
                      <a:lnTo>
                        <a:pt x="675" y="274"/>
                      </a:lnTo>
                      <a:lnTo>
                        <a:pt x="669" y="283"/>
                      </a:lnTo>
                      <a:lnTo>
                        <a:pt x="662" y="290"/>
                      </a:lnTo>
                      <a:lnTo>
                        <a:pt x="662" y="290"/>
                      </a:lnTo>
                      <a:lnTo>
                        <a:pt x="653" y="306"/>
                      </a:lnTo>
                      <a:lnTo>
                        <a:pt x="644" y="323"/>
                      </a:lnTo>
                      <a:lnTo>
                        <a:pt x="636" y="343"/>
                      </a:lnTo>
                      <a:lnTo>
                        <a:pt x="627" y="365"/>
                      </a:lnTo>
                      <a:lnTo>
                        <a:pt x="620" y="388"/>
                      </a:lnTo>
                      <a:lnTo>
                        <a:pt x="614" y="413"/>
                      </a:lnTo>
                      <a:lnTo>
                        <a:pt x="609" y="438"/>
                      </a:lnTo>
                      <a:lnTo>
                        <a:pt x="605" y="465"/>
                      </a:lnTo>
                      <a:lnTo>
                        <a:pt x="603" y="491"/>
                      </a:lnTo>
                      <a:lnTo>
                        <a:pt x="603" y="517"/>
                      </a:lnTo>
                      <a:lnTo>
                        <a:pt x="604" y="544"/>
                      </a:lnTo>
                      <a:lnTo>
                        <a:pt x="609" y="569"/>
                      </a:lnTo>
                      <a:lnTo>
                        <a:pt x="611" y="581"/>
                      </a:lnTo>
                      <a:lnTo>
                        <a:pt x="615" y="593"/>
                      </a:lnTo>
                      <a:lnTo>
                        <a:pt x="620" y="604"/>
                      </a:lnTo>
                      <a:lnTo>
                        <a:pt x="624" y="616"/>
                      </a:lnTo>
                      <a:lnTo>
                        <a:pt x="629" y="626"/>
                      </a:lnTo>
                      <a:lnTo>
                        <a:pt x="636" y="637"/>
                      </a:lnTo>
                      <a:lnTo>
                        <a:pt x="644" y="646"/>
                      </a:lnTo>
                      <a:lnTo>
                        <a:pt x="651" y="655"/>
                      </a:lnTo>
                    </a:path>
                  </a:pathLst>
                </a:custGeom>
                <a:noFill/>
                <a:ln w="4763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1" name="Freeform 27"/>
                <p:cNvSpPr>
                  <a:spLocks/>
                </p:cNvSpPr>
                <p:nvPr/>
              </p:nvSpPr>
              <p:spPr bwMode="auto">
                <a:xfrm>
                  <a:off x="3502026" y="2508250"/>
                  <a:ext cx="30163" cy="31750"/>
                </a:xfrm>
                <a:custGeom>
                  <a:avLst/>
                  <a:gdLst>
                    <a:gd name="T0" fmla="*/ 1 w 147"/>
                    <a:gd name="T1" fmla="*/ 97 h 167"/>
                    <a:gd name="T2" fmla="*/ 0 w 147"/>
                    <a:gd name="T3" fmla="*/ 79 h 167"/>
                    <a:gd name="T4" fmla="*/ 1 w 147"/>
                    <a:gd name="T5" fmla="*/ 64 h 167"/>
                    <a:gd name="T6" fmla="*/ 5 w 147"/>
                    <a:gd name="T7" fmla="*/ 49 h 167"/>
                    <a:gd name="T8" fmla="*/ 12 w 147"/>
                    <a:gd name="T9" fmla="*/ 34 h 167"/>
                    <a:gd name="T10" fmla="*/ 21 w 147"/>
                    <a:gd name="T11" fmla="*/ 22 h 167"/>
                    <a:gd name="T12" fmla="*/ 32 w 147"/>
                    <a:gd name="T13" fmla="*/ 12 h 167"/>
                    <a:gd name="T14" fmla="*/ 44 w 147"/>
                    <a:gd name="T15" fmla="*/ 6 h 167"/>
                    <a:gd name="T16" fmla="*/ 58 w 147"/>
                    <a:gd name="T17" fmla="*/ 1 h 167"/>
                    <a:gd name="T18" fmla="*/ 66 w 147"/>
                    <a:gd name="T19" fmla="*/ 0 h 167"/>
                    <a:gd name="T20" fmla="*/ 80 w 147"/>
                    <a:gd name="T21" fmla="*/ 0 h 167"/>
                    <a:gd name="T22" fmla="*/ 94 w 147"/>
                    <a:gd name="T23" fmla="*/ 5 h 167"/>
                    <a:gd name="T24" fmla="*/ 107 w 147"/>
                    <a:gd name="T25" fmla="*/ 11 h 167"/>
                    <a:gd name="T26" fmla="*/ 119 w 147"/>
                    <a:gd name="T27" fmla="*/ 21 h 167"/>
                    <a:gd name="T28" fmla="*/ 129 w 147"/>
                    <a:gd name="T29" fmla="*/ 32 h 167"/>
                    <a:gd name="T30" fmla="*/ 138 w 147"/>
                    <a:gd name="T31" fmla="*/ 46 h 167"/>
                    <a:gd name="T32" fmla="*/ 143 w 147"/>
                    <a:gd name="T33" fmla="*/ 62 h 167"/>
                    <a:gd name="T34" fmla="*/ 146 w 147"/>
                    <a:gd name="T35" fmla="*/ 71 h 167"/>
                    <a:gd name="T36" fmla="*/ 147 w 147"/>
                    <a:gd name="T37" fmla="*/ 87 h 167"/>
                    <a:gd name="T38" fmla="*/ 146 w 147"/>
                    <a:gd name="T39" fmla="*/ 103 h 167"/>
                    <a:gd name="T40" fmla="*/ 141 w 147"/>
                    <a:gd name="T41" fmla="*/ 119 h 167"/>
                    <a:gd name="T42" fmla="*/ 135 w 147"/>
                    <a:gd name="T43" fmla="*/ 133 h 167"/>
                    <a:gd name="T44" fmla="*/ 126 w 147"/>
                    <a:gd name="T45" fmla="*/ 145 h 167"/>
                    <a:gd name="T46" fmla="*/ 115 w 147"/>
                    <a:gd name="T47" fmla="*/ 155 h 167"/>
                    <a:gd name="T48" fmla="*/ 103 w 147"/>
                    <a:gd name="T49" fmla="*/ 161 h 167"/>
                    <a:gd name="T50" fmla="*/ 89 w 147"/>
                    <a:gd name="T51" fmla="*/ 166 h 167"/>
                    <a:gd name="T52" fmla="*/ 81 w 147"/>
                    <a:gd name="T53" fmla="*/ 167 h 167"/>
                    <a:gd name="T54" fmla="*/ 66 w 147"/>
                    <a:gd name="T55" fmla="*/ 166 h 167"/>
                    <a:gd name="T56" fmla="*/ 52 w 147"/>
                    <a:gd name="T57" fmla="*/ 163 h 167"/>
                    <a:gd name="T58" fmla="*/ 39 w 147"/>
                    <a:gd name="T59" fmla="*/ 156 h 167"/>
                    <a:gd name="T60" fmla="*/ 27 w 147"/>
                    <a:gd name="T61" fmla="*/ 146 h 167"/>
                    <a:gd name="T62" fmla="*/ 16 w 147"/>
                    <a:gd name="T63" fmla="*/ 134 h 167"/>
                    <a:gd name="T64" fmla="*/ 9 w 147"/>
                    <a:gd name="T65" fmla="*/ 121 h 167"/>
                    <a:gd name="T66" fmla="*/ 3 w 147"/>
                    <a:gd name="T67" fmla="*/ 106 h 167"/>
                    <a:gd name="T68" fmla="*/ 1 w 147"/>
                    <a:gd name="T69" fmla="*/ 97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7" h="167">
                      <a:moveTo>
                        <a:pt x="1" y="97"/>
                      </a:moveTo>
                      <a:lnTo>
                        <a:pt x="1" y="97"/>
                      </a:lnTo>
                      <a:lnTo>
                        <a:pt x="0" y="88"/>
                      </a:lnTo>
                      <a:lnTo>
                        <a:pt x="0" y="79"/>
                      </a:lnTo>
                      <a:lnTo>
                        <a:pt x="0" y="72"/>
                      </a:lnTo>
                      <a:lnTo>
                        <a:pt x="1" y="64"/>
                      </a:lnTo>
                      <a:lnTo>
                        <a:pt x="2" y="56"/>
                      </a:lnTo>
                      <a:lnTo>
                        <a:pt x="5" y="49"/>
                      </a:lnTo>
                      <a:lnTo>
                        <a:pt x="7" y="41"/>
                      </a:lnTo>
                      <a:lnTo>
                        <a:pt x="12" y="34"/>
                      </a:lnTo>
                      <a:lnTo>
                        <a:pt x="15" y="28"/>
                      </a:lnTo>
                      <a:lnTo>
                        <a:pt x="21" y="22"/>
                      </a:lnTo>
                      <a:lnTo>
                        <a:pt x="25" y="17"/>
                      </a:lnTo>
                      <a:lnTo>
                        <a:pt x="32" y="12"/>
                      </a:lnTo>
                      <a:lnTo>
                        <a:pt x="37" y="9"/>
                      </a:lnTo>
                      <a:lnTo>
                        <a:pt x="44" y="6"/>
                      </a:lnTo>
                      <a:lnTo>
                        <a:pt x="51" y="3"/>
                      </a:lnTo>
                      <a:lnTo>
                        <a:pt x="58" y="1"/>
                      </a:lnTo>
                      <a:lnTo>
                        <a:pt x="58" y="1"/>
                      </a:lnTo>
                      <a:lnTo>
                        <a:pt x="66" y="0"/>
                      </a:lnTo>
                      <a:lnTo>
                        <a:pt x="73" y="0"/>
                      </a:lnTo>
                      <a:lnTo>
                        <a:pt x="80" y="0"/>
                      </a:lnTo>
                      <a:lnTo>
                        <a:pt x="88" y="3"/>
                      </a:lnTo>
                      <a:lnTo>
                        <a:pt x="94" y="5"/>
                      </a:lnTo>
                      <a:lnTo>
                        <a:pt x="101" y="8"/>
                      </a:lnTo>
                      <a:lnTo>
                        <a:pt x="107" y="11"/>
                      </a:lnTo>
                      <a:lnTo>
                        <a:pt x="114" y="16"/>
                      </a:lnTo>
                      <a:lnTo>
                        <a:pt x="119" y="21"/>
                      </a:lnTo>
                      <a:lnTo>
                        <a:pt x="125" y="27"/>
                      </a:lnTo>
                      <a:lnTo>
                        <a:pt x="129" y="32"/>
                      </a:lnTo>
                      <a:lnTo>
                        <a:pt x="134" y="40"/>
                      </a:lnTo>
                      <a:lnTo>
                        <a:pt x="138" y="46"/>
                      </a:lnTo>
                      <a:lnTo>
                        <a:pt x="141" y="54"/>
                      </a:lnTo>
                      <a:lnTo>
                        <a:pt x="143" y="62"/>
                      </a:lnTo>
                      <a:lnTo>
                        <a:pt x="146" y="71"/>
                      </a:lnTo>
                      <a:lnTo>
                        <a:pt x="146" y="71"/>
                      </a:lnTo>
                      <a:lnTo>
                        <a:pt x="147" y="79"/>
                      </a:lnTo>
                      <a:lnTo>
                        <a:pt x="147" y="87"/>
                      </a:lnTo>
                      <a:lnTo>
                        <a:pt x="147" y="96"/>
                      </a:lnTo>
                      <a:lnTo>
                        <a:pt x="146" y="103"/>
                      </a:lnTo>
                      <a:lnTo>
                        <a:pt x="143" y="111"/>
                      </a:lnTo>
                      <a:lnTo>
                        <a:pt x="141" y="119"/>
                      </a:lnTo>
                      <a:lnTo>
                        <a:pt x="139" y="126"/>
                      </a:lnTo>
                      <a:lnTo>
                        <a:pt x="135" y="133"/>
                      </a:lnTo>
                      <a:lnTo>
                        <a:pt x="130" y="138"/>
                      </a:lnTo>
                      <a:lnTo>
                        <a:pt x="126" y="145"/>
                      </a:lnTo>
                      <a:lnTo>
                        <a:pt x="120" y="149"/>
                      </a:lnTo>
                      <a:lnTo>
                        <a:pt x="115" y="155"/>
                      </a:lnTo>
                      <a:lnTo>
                        <a:pt x="109" y="158"/>
                      </a:lnTo>
                      <a:lnTo>
                        <a:pt x="103" y="161"/>
                      </a:lnTo>
                      <a:lnTo>
                        <a:pt x="95" y="165"/>
                      </a:lnTo>
                      <a:lnTo>
                        <a:pt x="89" y="166"/>
                      </a:lnTo>
                      <a:lnTo>
                        <a:pt x="89" y="166"/>
                      </a:lnTo>
                      <a:lnTo>
                        <a:pt x="81" y="167"/>
                      </a:lnTo>
                      <a:lnTo>
                        <a:pt x="73" y="167"/>
                      </a:lnTo>
                      <a:lnTo>
                        <a:pt x="66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5" y="159"/>
                      </a:lnTo>
                      <a:lnTo>
                        <a:pt x="39" y="156"/>
                      </a:lnTo>
                      <a:lnTo>
                        <a:pt x="33" y="152"/>
                      </a:lnTo>
                      <a:lnTo>
                        <a:pt x="27" y="146"/>
                      </a:lnTo>
                      <a:lnTo>
                        <a:pt x="22" y="141"/>
                      </a:lnTo>
                      <a:lnTo>
                        <a:pt x="16" y="134"/>
                      </a:lnTo>
                      <a:lnTo>
                        <a:pt x="12" y="128"/>
                      </a:lnTo>
                      <a:lnTo>
                        <a:pt x="9" y="121"/>
                      </a:lnTo>
                      <a:lnTo>
                        <a:pt x="5" y="113"/>
                      </a:lnTo>
                      <a:lnTo>
                        <a:pt x="3" y="106"/>
                      </a:lnTo>
                      <a:lnTo>
                        <a:pt x="1" y="97"/>
                      </a:lnTo>
                      <a:lnTo>
                        <a:pt x="1" y="9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2" name="Freeform 28"/>
                <p:cNvSpPr>
                  <a:spLocks/>
                </p:cNvSpPr>
                <p:nvPr/>
              </p:nvSpPr>
              <p:spPr bwMode="auto">
                <a:xfrm>
                  <a:off x="3487738" y="2478088"/>
                  <a:ext cx="30163" cy="33338"/>
                </a:xfrm>
                <a:custGeom>
                  <a:avLst/>
                  <a:gdLst>
                    <a:gd name="T0" fmla="*/ 8 w 150"/>
                    <a:gd name="T1" fmla="*/ 53 h 164"/>
                    <a:gd name="T2" fmla="*/ 16 w 150"/>
                    <a:gd name="T3" fmla="*/ 38 h 164"/>
                    <a:gd name="T4" fmla="*/ 25 w 150"/>
                    <a:gd name="T5" fmla="*/ 25 h 164"/>
                    <a:gd name="T6" fmla="*/ 37 w 150"/>
                    <a:gd name="T7" fmla="*/ 15 h 164"/>
                    <a:gd name="T8" fmla="*/ 51 w 150"/>
                    <a:gd name="T9" fmla="*/ 7 h 164"/>
                    <a:gd name="T10" fmla="*/ 65 w 150"/>
                    <a:gd name="T11" fmla="*/ 2 h 164"/>
                    <a:gd name="T12" fmla="*/ 79 w 150"/>
                    <a:gd name="T13" fmla="*/ 0 h 164"/>
                    <a:gd name="T14" fmla="*/ 94 w 150"/>
                    <a:gd name="T15" fmla="*/ 1 h 164"/>
                    <a:gd name="T16" fmla="*/ 109 w 150"/>
                    <a:gd name="T17" fmla="*/ 5 h 164"/>
                    <a:gd name="T18" fmla="*/ 115 w 150"/>
                    <a:gd name="T19" fmla="*/ 8 h 164"/>
                    <a:gd name="T20" fmla="*/ 127 w 150"/>
                    <a:gd name="T21" fmla="*/ 17 h 164"/>
                    <a:gd name="T22" fmla="*/ 136 w 150"/>
                    <a:gd name="T23" fmla="*/ 28 h 164"/>
                    <a:gd name="T24" fmla="*/ 144 w 150"/>
                    <a:gd name="T25" fmla="*/ 41 h 164"/>
                    <a:gd name="T26" fmla="*/ 148 w 150"/>
                    <a:gd name="T27" fmla="*/ 55 h 164"/>
                    <a:gd name="T28" fmla="*/ 150 w 150"/>
                    <a:gd name="T29" fmla="*/ 71 h 164"/>
                    <a:gd name="T30" fmla="*/ 149 w 150"/>
                    <a:gd name="T31" fmla="*/ 86 h 164"/>
                    <a:gd name="T32" fmla="*/ 146 w 150"/>
                    <a:gd name="T33" fmla="*/ 103 h 164"/>
                    <a:gd name="T34" fmla="*/ 143 w 150"/>
                    <a:gd name="T35" fmla="*/ 110 h 164"/>
                    <a:gd name="T36" fmla="*/ 135 w 150"/>
                    <a:gd name="T37" fmla="*/ 126 h 164"/>
                    <a:gd name="T38" fmla="*/ 125 w 150"/>
                    <a:gd name="T39" fmla="*/ 139 h 164"/>
                    <a:gd name="T40" fmla="*/ 113 w 150"/>
                    <a:gd name="T41" fmla="*/ 149 h 164"/>
                    <a:gd name="T42" fmla="*/ 100 w 150"/>
                    <a:gd name="T43" fmla="*/ 156 h 164"/>
                    <a:gd name="T44" fmla="*/ 86 w 150"/>
                    <a:gd name="T45" fmla="*/ 162 h 164"/>
                    <a:gd name="T46" fmla="*/ 71 w 150"/>
                    <a:gd name="T47" fmla="*/ 164 h 164"/>
                    <a:gd name="T48" fmla="*/ 56 w 150"/>
                    <a:gd name="T49" fmla="*/ 163 h 164"/>
                    <a:gd name="T50" fmla="*/ 42 w 150"/>
                    <a:gd name="T51" fmla="*/ 159 h 164"/>
                    <a:gd name="T52" fmla="*/ 35 w 150"/>
                    <a:gd name="T53" fmla="*/ 155 h 164"/>
                    <a:gd name="T54" fmla="*/ 23 w 150"/>
                    <a:gd name="T55" fmla="*/ 146 h 164"/>
                    <a:gd name="T56" fmla="*/ 14 w 150"/>
                    <a:gd name="T57" fmla="*/ 135 h 164"/>
                    <a:gd name="T58" fmla="*/ 7 w 150"/>
                    <a:gd name="T59" fmla="*/ 123 h 164"/>
                    <a:gd name="T60" fmla="*/ 2 w 150"/>
                    <a:gd name="T61" fmla="*/ 108 h 164"/>
                    <a:gd name="T62" fmla="*/ 0 w 150"/>
                    <a:gd name="T63" fmla="*/ 93 h 164"/>
                    <a:gd name="T64" fmla="*/ 1 w 150"/>
                    <a:gd name="T65" fmla="*/ 77 h 164"/>
                    <a:gd name="T66" fmla="*/ 5 w 150"/>
                    <a:gd name="T67" fmla="*/ 61 h 164"/>
                    <a:gd name="T68" fmla="*/ 8 w 150"/>
                    <a:gd name="T69" fmla="*/ 53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0" h="164">
                      <a:moveTo>
                        <a:pt x="8" y="53"/>
                      </a:moveTo>
                      <a:lnTo>
                        <a:pt x="8" y="53"/>
                      </a:lnTo>
                      <a:lnTo>
                        <a:pt x="11" y="46"/>
                      </a:lnTo>
                      <a:lnTo>
                        <a:pt x="16" y="38"/>
                      </a:lnTo>
                      <a:lnTo>
                        <a:pt x="21" y="31"/>
                      </a:lnTo>
                      <a:lnTo>
                        <a:pt x="25" y="25"/>
                      </a:lnTo>
                      <a:lnTo>
                        <a:pt x="32" y="19"/>
                      </a:lnTo>
                      <a:lnTo>
                        <a:pt x="37" y="15"/>
                      </a:lnTo>
                      <a:lnTo>
                        <a:pt x="44" y="11"/>
                      </a:lnTo>
                      <a:lnTo>
                        <a:pt x="51" y="7"/>
                      </a:lnTo>
                      <a:lnTo>
                        <a:pt x="58" y="4"/>
                      </a:lnTo>
                      <a:lnTo>
                        <a:pt x="65" y="2"/>
                      </a:lnTo>
                      <a:lnTo>
                        <a:pt x="73" y="1"/>
                      </a:lnTo>
                      <a:lnTo>
                        <a:pt x="79" y="0"/>
                      </a:lnTo>
                      <a:lnTo>
                        <a:pt x="87" y="0"/>
                      </a:lnTo>
                      <a:lnTo>
                        <a:pt x="94" y="1"/>
                      </a:lnTo>
                      <a:lnTo>
                        <a:pt x="101" y="2"/>
                      </a:lnTo>
                      <a:lnTo>
                        <a:pt x="109" y="5"/>
                      </a:lnTo>
                      <a:lnTo>
                        <a:pt x="109" y="5"/>
                      </a:lnTo>
                      <a:lnTo>
                        <a:pt x="115" y="8"/>
                      </a:lnTo>
                      <a:lnTo>
                        <a:pt x="121" y="12"/>
                      </a:lnTo>
                      <a:lnTo>
                        <a:pt x="127" y="17"/>
                      </a:lnTo>
                      <a:lnTo>
                        <a:pt x="132" y="21"/>
                      </a:lnTo>
                      <a:lnTo>
                        <a:pt x="136" y="28"/>
                      </a:lnTo>
                      <a:lnTo>
                        <a:pt x="140" y="34"/>
                      </a:lnTo>
                      <a:lnTo>
                        <a:pt x="144" y="41"/>
                      </a:lnTo>
                      <a:lnTo>
                        <a:pt x="146" y="48"/>
                      </a:lnTo>
                      <a:lnTo>
                        <a:pt x="148" y="55"/>
                      </a:lnTo>
                      <a:lnTo>
                        <a:pt x="149" y="63"/>
                      </a:lnTo>
                      <a:lnTo>
                        <a:pt x="150" y="71"/>
                      </a:lnTo>
                      <a:lnTo>
                        <a:pt x="150" y="78"/>
                      </a:lnTo>
                      <a:lnTo>
                        <a:pt x="149" y="86"/>
                      </a:lnTo>
                      <a:lnTo>
                        <a:pt x="148" y="95"/>
                      </a:lnTo>
                      <a:lnTo>
                        <a:pt x="146" y="103"/>
                      </a:lnTo>
                      <a:lnTo>
                        <a:pt x="143" y="110"/>
                      </a:lnTo>
                      <a:lnTo>
                        <a:pt x="143" y="110"/>
                      </a:lnTo>
                      <a:lnTo>
                        <a:pt x="139" y="118"/>
                      </a:lnTo>
                      <a:lnTo>
                        <a:pt x="135" y="126"/>
                      </a:lnTo>
                      <a:lnTo>
                        <a:pt x="130" y="132"/>
                      </a:lnTo>
                      <a:lnTo>
                        <a:pt x="125" y="139"/>
                      </a:lnTo>
                      <a:lnTo>
                        <a:pt x="119" y="144"/>
                      </a:lnTo>
                      <a:lnTo>
                        <a:pt x="113" y="149"/>
                      </a:lnTo>
                      <a:lnTo>
                        <a:pt x="107" y="153"/>
                      </a:lnTo>
                      <a:lnTo>
                        <a:pt x="100" y="156"/>
                      </a:lnTo>
                      <a:lnTo>
                        <a:pt x="93" y="160"/>
                      </a:lnTo>
                      <a:lnTo>
                        <a:pt x="86" y="162"/>
                      </a:lnTo>
                      <a:lnTo>
                        <a:pt x="78" y="163"/>
                      </a:lnTo>
                      <a:lnTo>
                        <a:pt x="71" y="164"/>
                      </a:lnTo>
                      <a:lnTo>
                        <a:pt x="64" y="164"/>
                      </a:lnTo>
                      <a:lnTo>
                        <a:pt x="56" y="163"/>
                      </a:lnTo>
                      <a:lnTo>
                        <a:pt x="50" y="162"/>
                      </a:lnTo>
                      <a:lnTo>
                        <a:pt x="42" y="159"/>
                      </a:lnTo>
                      <a:lnTo>
                        <a:pt x="42" y="159"/>
                      </a:lnTo>
                      <a:lnTo>
                        <a:pt x="35" y="155"/>
                      </a:lnTo>
                      <a:lnTo>
                        <a:pt x="30" y="152"/>
                      </a:lnTo>
                      <a:lnTo>
                        <a:pt x="23" y="146"/>
                      </a:lnTo>
                      <a:lnTo>
                        <a:pt x="19" y="142"/>
                      </a:lnTo>
                      <a:lnTo>
                        <a:pt x="14" y="135"/>
                      </a:lnTo>
                      <a:lnTo>
                        <a:pt x="10" y="130"/>
                      </a:lnTo>
                      <a:lnTo>
                        <a:pt x="7" y="123"/>
                      </a:lnTo>
                      <a:lnTo>
                        <a:pt x="5" y="116"/>
                      </a:lnTo>
                      <a:lnTo>
                        <a:pt x="2" y="108"/>
                      </a:lnTo>
                      <a:lnTo>
                        <a:pt x="1" y="100"/>
                      </a:lnTo>
                      <a:lnTo>
                        <a:pt x="0" y="93"/>
                      </a:lnTo>
                      <a:lnTo>
                        <a:pt x="0" y="85"/>
                      </a:lnTo>
                      <a:lnTo>
                        <a:pt x="1" y="77"/>
                      </a:lnTo>
                      <a:lnTo>
                        <a:pt x="2" y="69"/>
                      </a:lnTo>
                      <a:lnTo>
                        <a:pt x="5" y="61"/>
                      </a:lnTo>
                      <a:lnTo>
                        <a:pt x="8" y="53"/>
                      </a:lnTo>
                      <a:lnTo>
                        <a:pt x="8" y="5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3" name="Freeform 29"/>
                <p:cNvSpPr>
                  <a:spLocks/>
                </p:cNvSpPr>
                <p:nvPr/>
              </p:nvSpPr>
              <p:spPr bwMode="auto">
                <a:xfrm>
                  <a:off x="3479801" y="2589213"/>
                  <a:ext cx="28575" cy="31750"/>
                </a:xfrm>
                <a:custGeom>
                  <a:avLst/>
                  <a:gdLst>
                    <a:gd name="T0" fmla="*/ 7 w 150"/>
                    <a:gd name="T1" fmla="*/ 54 h 166"/>
                    <a:gd name="T2" fmla="*/ 15 w 150"/>
                    <a:gd name="T3" fmla="*/ 39 h 166"/>
                    <a:gd name="T4" fmla="*/ 25 w 150"/>
                    <a:gd name="T5" fmla="*/ 27 h 166"/>
                    <a:gd name="T6" fmla="*/ 37 w 150"/>
                    <a:gd name="T7" fmla="*/ 16 h 166"/>
                    <a:gd name="T8" fmla="*/ 50 w 150"/>
                    <a:gd name="T9" fmla="*/ 8 h 166"/>
                    <a:gd name="T10" fmla="*/ 64 w 150"/>
                    <a:gd name="T11" fmla="*/ 2 h 166"/>
                    <a:gd name="T12" fmla="*/ 78 w 150"/>
                    <a:gd name="T13" fmla="*/ 0 h 166"/>
                    <a:gd name="T14" fmla="*/ 94 w 150"/>
                    <a:gd name="T15" fmla="*/ 1 h 166"/>
                    <a:gd name="T16" fmla="*/ 108 w 150"/>
                    <a:gd name="T17" fmla="*/ 6 h 166"/>
                    <a:gd name="T18" fmla="*/ 115 w 150"/>
                    <a:gd name="T19" fmla="*/ 9 h 166"/>
                    <a:gd name="T20" fmla="*/ 127 w 150"/>
                    <a:gd name="T21" fmla="*/ 18 h 166"/>
                    <a:gd name="T22" fmla="*/ 135 w 150"/>
                    <a:gd name="T23" fmla="*/ 29 h 166"/>
                    <a:gd name="T24" fmla="*/ 143 w 150"/>
                    <a:gd name="T25" fmla="*/ 42 h 166"/>
                    <a:gd name="T26" fmla="*/ 148 w 150"/>
                    <a:gd name="T27" fmla="*/ 56 h 166"/>
                    <a:gd name="T28" fmla="*/ 150 w 150"/>
                    <a:gd name="T29" fmla="*/ 71 h 166"/>
                    <a:gd name="T30" fmla="*/ 149 w 150"/>
                    <a:gd name="T31" fmla="*/ 88 h 166"/>
                    <a:gd name="T32" fmla="*/ 145 w 150"/>
                    <a:gd name="T33" fmla="*/ 104 h 166"/>
                    <a:gd name="T34" fmla="*/ 142 w 150"/>
                    <a:gd name="T35" fmla="*/ 112 h 166"/>
                    <a:gd name="T36" fmla="*/ 134 w 150"/>
                    <a:gd name="T37" fmla="*/ 126 h 166"/>
                    <a:gd name="T38" fmla="*/ 124 w 150"/>
                    <a:gd name="T39" fmla="*/ 139 h 166"/>
                    <a:gd name="T40" fmla="*/ 112 w 150"/>
                    <a:gd name="T41" fmla="*/ 150 h 166"/>
                    <a:gd name="T42" fmla="*/ 99 w 150"/>
                    <a:gd name="T43" fmla="*/ 158 h 166"/>
                    <a:gd name="T44" fmla="*/ 85 w 150"/>
                    <a:gd name="T45" fmla="*/ 164 h 166"/>
                    <a:gd name="T46" fmla="*/ 71 w 150"/>
                    <a:gd name="T47" fmla="*/ 166 h 166"/>
                    <a:gd name="T48" fmla="*/ 55 w 150"/>
                    <a:gd name="T49" fmla="*/ 165 h 166"/>
                    <a:gd name="T50" fmla="*/ 41 w 150"/>
                    <a:gd name="T51" fmla="*/ 160 h 166"/>
                    <a:gd name="T52" fmla="*/ 35 w 150"/>
                    <a:gd name="T53" fmla="*/ 157 h 166"/>
                    <a:gd name="T54" fmla="*/ 23 w 150"/>
                    <a:gd name="T55" fmla="*/ 148 h 166"/>
                    <a:gd name="T56" fmla="*/ 14 w 150"/>
                    <a:gd name="T57" fmla="*/ 137 h 166"/>
                    <a:gd name="T58" fmla="*/ 6 w 150"/>
                    <a:gd name="T59" fmla="*/ 124 h 166"/>
                    <a:gd name="T60" fmla="*/ 2 w 150"/>
                    <a:gd name="T61" fmla="*/ 110 h 166"/>
                    <a:gd name="T62" fmla="*/ 0 w 150"/>
                    <a:gd name="T63" fmla="*/ 94 h 166"/>
                    <a:gd name="T64" fmla="*/ 1 w 150"/>
                    <a:gd name="T65" fmla="*/ 78 h 166"/>
                    <a:gd name="T66" fmla="*/ 4 w 150"/>
                    <a:gd name="T67" fmla="*/ 62 h 166"/>
                    <a:gd name="T68" fmla="*/ 7 w 150"/>
                    <a:gd name="T69" fmla="*/ 54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0" h="166">
                      <a:moveTo>
                        <a:pt x="7" y="54"/>
                      </a:moveTo>
                      <a:lnTo>
                        <a:pt x="7" y="54"/>
                      </a:lnTo>
                      <a:lnTo>
                        <a:pt x="11" y="46"/>
                      </a:lnTo>
                      <a:lnTo>
                        <a:pt x="15" y="39"/>
                      </a:lnTo>
                      <a:lnTo>
                        <a:pt x="20" y="32"/>
                      </a:lnTo>
                      <a:lnTo>
                        <a:pt x="25" y="27"/>
                      </a:lnTo>
                      <a:lnTo>
                        <a:pt x="31" y="21"/>
                      </a:lnTo>
                      <a:lnTo>
                        <a:pt x="37" y="16"/>
                      </a:lnTo>
                      <a:lnTo>
                        <a:pt x="43" y="11"/>
                      </a:lnTo>
                      <a:lnTo>
                        <a:pt x="50" y="8"/>
                      </a:lnTo>
                      <a:lnTo>
                        <a:pt x="58" y="5"/>
                      </a:lnTo>
                      <a:lnTo>
                        <a:pt x="64" y="2"/>
                      </a:lnTo>
                      <a:lnTo>
                        <a:pt x="72" y="1"/>
                      </a:lnTo>
                      <a:lnTo>
                        <a:pt x="78" y="0"/>
                      </a:lnTo>
                      <a:lnTo>
                        <a:pt x="86" y="0"/>
                      </a:lnTo>
                      <a:lnTo>
                        <a:pt x="94" y="1"/>
                      </a:lnTo>
                      <a:lnTo>
                        <a:pt x="100" y="4"/>
                      </a:lnTo>
                      <a:lnTo>
                        <a:pt x="108" y="6"/>
                      </a:lnTo>
                      <a:lnTo>
                        <a:pt x="108" y="6"/>
                      </a:lnTo>
                      <a:lnTo>
                        <a:pt x="115" y="9"/>
                      </a:lnTo>
                      <a:lnTo>
                        <a:pt x="120" y="13"/>
                      </a:lnTo>
                      <a:lnTo>
                        <a:pt x="127" y="18"/>
                      </a:lnTo>
                      <a:lnTo>
                        <a:pt x="131" y="23"/>
                      </a:lnTo>
                      <a:lnTo>
                        <a:pt x="135" y="29"/>
                      </a:lnTo>
                      <a:lnTo>
                        <a:pt x="140" y="35"/>
                      </a:lnTo>
                      <a:lnTo>
                        <a:pt x="143" y="42"/>
                      </a:lnTo>
                      <a:lnTo>
                        <a:pt x="145" y="48"/>
                      </a:lnTo>
                      <a:lnTo>
                        <a:pt x="148" y="56"/>
                      </a:lnTo>
                      <a:lnTo>
                        <a:pt x="149" y="64"/>
                      </a:lnTo>
                      <a:lnTo>
                        <a:pt x="150" y="71"/>
                      </a:lnTo>
                      <a:lnTo>
                        <a:pt x="150" y="79"/>
                      </a:lnTo>
                      <a:lnTo>
                        <a:pt x="149" y="88"/>
                      </a:lnTo>
                      <a:lnTo>
                        <a:pt x="148" y="96"/>
                      </a:lnTo>
                      <a:lnTo>
                        <a:pt x="145" y="104"/>
                      </a:lnTo>
                      <a:lnTo>
                        <a:pt x="142" y="112"/>
                      </a:lnTo>
                      <a:lnTo>
                        <a:pt x="142" y="112"/>
                      </a:lnTo>
                      <a:lnTo>
                        <a:pt x="139" y="120"/>
                      </a:lnTo>
                      <a:lnTo>
                        <a:pt x="134" y="126"/>
                      </a:lnTo>
                      <a:lnTo>
                        <a:pt x="129" y="134"/>
                      </a:lnTo>
                      <a:lnTo>
                        <a:pt x="124" y="139"/>
                      </a:lnTo>
                      <a:lnTo>
                        <a:pt x="118" y="145"/>
                      </a:lnTo>
                      <a:lnTo>
                        <a:pt x="112" y="150"/>
                      </a:lnTo>
                      <a:lnTo>
                        <a:pt x="106" y="155"/>
                      </a:lnTo>
                      <a:lnTo>
                        <a:pt x="99" y="158"/>
                      </a:lnTo>
                      <a:lnTo>
                        <a:pt x="92" y="161"/>
                      </a:lnTo>
                      <a:lnTo>
                        <a:pt x="85" y="164"/>
                      </a:lnTo>
                      <a:lnTo>
                        <a:pt x="77" y="165"/>
                      </a:lnTo>
                      <a:lnTo>
                        <a:pt x="71" y="166"/>
                      </a:lnTo>
                      <a:lnTo>
                        <a:pt x="63" y="165"/>
                      </a:lnTo>
                      <a:lnTo>
                        <a:pt x="55" y="165"/>
                      </a:lnTo>
                      <a:lnTo>
                        <a:pt x="49" y="162"/>
                      </a:lnTo>
                      <a:lnTo>
                        <a:pt x="41" y="160"/>
                      </a:lnTo>
                      <a:lnTo>
                        <a:pt x="41" y="160"/>
                      </a:lnTo>
                      <a:lnTo>
                        <a:pt x="35" y="157"/>
                      </a:lnTo>
                      <a:lnTo>
                        <a:pt x="29" y="153"/>
                      </a:lnTo>
                      <a:lnTo>
                        <a:pt x="23" y="148"/>
                      </a:lnTo>
                      <a:lnTo>
                        <a:pt x="18" y="143"/>
                      </a:lnTo>
                      <a:lnTo>
                        <a:pt x="14" y="137"/>
                      </a:lnTo>
                      <a:lnTo>
                        <a:pt x="9" y="131"/>
                      </a:lnTo>
                      <a:lnTo>
                        <a:pt x="6" y="124"/>
                      </a:lnTo>
                      <a:lnTo>
                        <a:pt x="4" y="118"/>
                      </a:lnTo>
                      <a:lnTo>
                        <a:pt x="2" y="110"/>
                      </a:lnTo>
                      <a:lnTo>
                        <a:pt x="1" y="102"/>
                      </a:lnTo>
                      <a:lnTo>
                        <a:pt x="0" y="94"/>
                      </a:lnTo>
                      <a:lnTo>
                        <a:pt x="0" y="87"/>
                      </a:lnTo>
                      <a:lnTo>
                        <a:pt x="1" y="78"/>
                      </a:lnTo>
                      <a:lnTo>
                        <a:pt x="2" y="70"/>
                      </a:lnTo>
                      <a:lnTo>
                        <a:pt x="4" y="62"/>
                      </a:lnTo>
                      <a:lnTo>
                        <a:pt x="7" y="54"/>
                      </a:lnTo>
                      <a:lnTo>
                        <a:pt x="7" y="5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4" name="Freeform 30"/>
                <p:cNvSpPr>
                  <a:spLocks/>
                </p:cNvSpPr>
                <p:nvPr/>
              </p:nvSpPr>
              <p:spPr bwMode="auto">
                <a:xfrm>
                  <a:off x="3505201" y="2593975"/>
                  <a:ext cx="33338" cy="33338"/>
                </a:xfrm>
                <a:custGeom>
                  <a:avLst/>
                  <a:gdLst>
                    <a:gd name="T0" fmla="*/ 9 w 168"/>
                    <a:gd name="T1" fmla="*/ 123 h 168"/>
                    <a:gd name="T2" fmla="*/ 2 w 168"/>
                    <a:gd name="T3" fmla="*/ 107 h 168"/>
                    <a:gd name="T4" fmla="*/ 0 w 168"/>
                    <a:gd name="T5" fmla="*/ 90 h 168"/>
                    <a:gd name="T6" fmla="*/ 0 w 168"/>
                    <a:gd name="T7" fmla="*/ 75 h 168"/>
                    <a:gd name="T8" fmla="*/ 4 w 168"/>
                    <a:gd name="T9" fmla="*/ 58 h 168"/>
                    <a:gd name="T10" fmla="*/ 10 w 168"/>
                    <a:gd name="T11" fmla="*/ 44 h 168"/>
                    <a:gd name="T12" fmla="*/ 20 w 168"/>
                    <a:gd name="T13" fmla="*/ 31 h 168"/>
                    <a:gd name="T14" fmla="*/ 31 w 168"/>
                    <a:gd name="T15" fmla="*/ 19 h 168"/>
                    <a:gd name="T16" fmla="*/ 45 w 168"/>
                    <a:gd name="T17" fmla="*/ 10 h 168"/>
                    <a:gd name="T18" fmla="*/ 53 w 168"/>
                    <a:gd name="T19" fmla="*/ 6 h 168"/>
                    <a:gd name="T20" fmla="*/ 69 w 168"/>
                    <a:gd name="T21" fmla="*/ 1 h 168"/>
                    <a:gd name="T22" fmla="*/ 86 w 168"/>
                    <a:gd name="T23" fmla="*/ 0 h 168"/>
                    <a:gd name="T24" fmla="*/ 102 w 168"/>
                    <a:gd name="T25" fmla="*/ 3 h 168"/>
                    <a:gd name="T26" fmla="*/ 118 w 168"/>
                    <a:gd name="T27" fmla="*/ 8 h 168"/>
                    <a:gd name="T28" fmla="*/ 131 w 168"/>
                    <a:gd name="T29" fmla="*/ 16 h 168"/>
                    <a:gd name="T30" fmla="*/ 144 w 168"/>
                    <a:gd name="T31" fmla="*/ 26 h 168"/>
                    <a:gd name="T32" fmla="*/ 154 w 168"/>
                    <a:gd name="T33" fmla="*/ 39 h 168"/>
                    <a:gd name="T34" fmla="*/ 158 w 168"/>
                    <a:gd name="T35" fmla="*/ 46 h 168"/>
                    <a:gd name="T36" fmla="*/ 165 w 168"/>
                    <a:gd name="T37" fmla="*/ 62 h 168"/>
                    <a:gd name="T38" fmla="*/ 167 w 168"/>
                    <a:gd name="T39" fmla="*/ 78 h 168"/>
                    <a:gd name="T40" fmla="*/ 167 w 168"/>
                    <a:gd name="T41" fmla="*/ 95 h 168"/>
                    <a:gd name="T42" fmla="*/ 164 w 168"/>
                    <a:gd name="T43" fmla="*/ 110 h 168"/>
                    <a:gd name="T44" fmla="*/ 157 w 168"/>
                    <a:gd name="T45" fmla="*/ 125 h 168"/>
                    <a:gd name="T46" fmla="*/ 148 w 168"/>
                    <a:gd name="T47" fmla="*/ 138 h 168"/>
                    <a:gd name="T48" fmla="*/ 136 w 168"/>
                    <a:gd name="T49" fmla="*/ 151 h 168"/>
                    <a:gd name="T50" fmla="*/ 122 w 168"/>
                    <a:gd name="T51" fmla="*/ 159 h 168"/>
                    <a:gd name="T52" fmla="*/ 114 w 168"/>
                    <a:gd name="T53" fmla="*/ 163 h 168"/>
                    <a:gd name="T54" fmla="*/ 98 w 168"/>
                    <a:gd name="T55" fmla="*/ 167 h 168"/>
                    <a:gd name="T56" fmla="*/ 81 w 168"/>
                    <a:gd name="T57" fmla="*/ 168 h 168"/>
                    <a:gd name="T58" fmla="*/ 66 w 168"/>
                    <a:gd name="T59" fmla="*/ 167 h 168"/>
                    <a:gd name="T60" fmla="*/ 51 w 168"/>
                    <a:gd name="T61" fmla="*/ 161 h 168"/>
                    <a:gd name="T62" fmla="*/ 36 w 168"/>
                    <a:gd name="T63" fmla="*/ 154 h 168"/>
                    <a:gd name="T64" fmla="*/ 23 w 168"/>
                    <a:gd name="T65" fmla="*/ 143 h 168"/>
                    <a:gd name="T66" fmla="*/ 13 w 168"/>
                    <a:gd name="T67" fmla="*/ 130 h 168"/>
                    <a:gd name="T68" fmla="*/ 9 w 168"/>
                    <a:gd name="T69" fmla="*/ 123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8" h="168">
                      <a:moveTo>
                        <a:pt x="9" y="123"/>
                      </a:moveTo>
                      <a:lnTo>
                        <a:pt x="9" y="123"/>
                      </a:lnTo>
                      <a:lnTo>
                        <a:pt x="6" y="114"/>
                      </a:lnTo>
                      <a:lnTo>
                        <a:pt x="2" y="107"/>
                      </a:lnTo>
                      <a:lnTo>
                        <a:pt x="1" y="99"/>
                      </a:lnTo>
                      <a:lnTo>
                        <a:pt x="0" y="90"/>
                      </a:lnTo>
                      <a:lnTo>
                        <a:pt x="0" y="83"/>
                      </a:lnTo>
                      <a:lnTo>
                        <a:pt x="0" y="75"/>
                      </a:lnTo>
                      <a:lnTo>
                        <a:pt x="1" y="66"/>
                      </a:lnTo>
                      <a:lnTo>
                        <a:pt x="4" y="58"/>
                      </a:lnTo>
                      <a:lnTo>
                        <a:pt x="7" y="51"/>
                      </a:lnTo>
                      <a:lnTo>
                        <a:pt x="10" y="44"/>
                      </a:lnTo>
                      <a:lnTo>
                        <a:pt x="15" y="37"/>
                      </a:lnTo>
                      <a:lnTo>
                        <a:pt x="20" y="31"/>
                      </a:lnTo>
                      <a:lnTo>
                        <a:pt x="25" y="24"/>
                      </a:lnTo>
                      <a:lnTo>
                        <a:pt x="31" y="19"/>
                      </a:lnTo>
                      <a:lnTo>
                        <a:pt x="39" y="15"/>
                      </a:lnTo>
                      <a:lnTo>
                        <a:pt x="45" y="10"/>
                      </a:lnTo>
                      <a:lnTo>
                        <a:pt x="45" y="10"/>
                      </a:lnTo>
                      <a:lnTo>
                        <a:pt x="53" y="6"/>
                      </a:lnTo>
                      <a:lnTo>
                        <a:pt x="62" y="4"/>
                      </a:lnTo>
                      <a:lnTo>
                        <a:pt x="69" y="1"/>
                      </a:lnTo>
                      <a:lnTo>
                        <a:pt x="78" y="0"/>
                      </a:lnTo>
                      <a:lnTo>
                        <a:pt x="86" y="0"/>
                      </a:lnTo>
                      <a:lnTo>
                        <a:pt x="93" y="1"/>
                      </a:lnTo>
                      <a:lnTo>
                        <a:pt x="102" y="3"/>
                      </a:lnTo>
                      <a:lnTo>
                        <a:pt x="110" y="5"/>
                      </a:lnTo>
                      <a:lnTo>
                        <a:pt x="118" y="8"/>
                      </a:lnTo>
                      <a:lnTo>
                        <a:pt x="124" y="11"/>
                      </a:lnTo>
                      <a:lnTo>
                        <a:pt x="131" y="16"/>
                      </a:lnTo>
                      <a:lnTo>
                        <a:pt x="137" y="20"/>
                      </a:lnTo>
                      <a:lnTo>
                        <a:pt x="144" y="26"/>
                      </a:lnTo>
                      <a:lnTo>
                        <a:pt x="149" y="32"/>
                      </a:lnTo>
                      <a:lnTo>
                        <a:pt x="154" y="39"/>
                      </a:lnTo>
                      <a:lnTo>
                        <a:pt x="158" y="46"/>
                      </a:lnTo>
                      <a:lnTo>
                        <a:pt x="158" y="46"/>
                      </a:lnTo>
                      <a:lnTo>
                        <a:pt x="161" y="54"/>
                      </a:lnTo>
                      <a:lnTo>
                        <a:pt x="165" y="62"/>
                      </a:lnTo>
                      <a:lnTo>
                        <a:pt x="167" y="70"/>
                      </a:lnTo>
                      <a:lnTo>
                        <a:pt x="167" y="78"/>
                      </a:lnTo>
                      <a:lnTo>
                        <a:pt x="168" y="87"/>
                      </a:lnTo>
                      <a:lnTo>
                        <a:pt x="167" y="95"/>
                      </a:lnTo>
                      <a:lnTo>
                        <a:pt x="166" y="102"/>
                      </a:lnTo>
                      <a:lnTo>
                        <a:pt x="164" y="110"/>
                      </a:lnTo>
                      <a:lnTo>
                        <a:pt x="160" y="118"/>
                      </a:lnTo>
                      <a:lnTo>
                        <a:pt x="157" y="125"/>
                      </a:lnTo>
                      <a:lnTo>
                        <a:pt x="153" y="132"/>
                      </a:lnTo>
                      <a:lnTo>
                        <a:pt x="148" y="138"/>
                      </a:lnTo>
                      <a:lnTo>
                        <a:pt x="143" y="145"/>
                      </a:lnTo>
                      <a:lnTo>
                        <a:pt x="136" y="151"/>
                      </a:lnTo>
                      <a:lnTo>
                        <a:pt x="130" y="155"/>
                      </a:lnTo>
                      <a:lnTo>
                        <a:pt x="122" y="159"/>
                      </a:lnTo>
                      <a:lnTo>
                        <a:pt x="122" y="159"/>
                      </a:lnTo>
                      <a:lnTo>
                        <a:pt x="114" y="163"/>
                      </a:lnTo>
                      <a:lnTo>
                        <a:pt x="105" y="166"/>
                      </a:lnTo>
                      <a:lnTo>
                        <a:pt x="98" y="167"/>
                      </a:lnTo>
                      <a:lnTo>
                        <a:pt x="90" y="168"/>
                      </a:lnTo>
                      <a:lnTo>
                        <a:pt x="81" y="168"/>
                      </a:lnTo>
                      <a:lnTo>
                        <a:pt x="74" y="168"/>
                      </a:lnTo>
                      <a:lnTo>
                        <a:pt x="66" y="167"/>
                      </a:lnTo>
                      <a:lnTo>
                        <a:pt x="58" y="165"/>
                      </a:lnTo>
                      <a:lnTo>
                        <a:pt x="51" y="161"/>
                      </a:lnTo>
                      <a:lnTo>
                        <a:pt x="43" y="158"/>
                      </a:lnTo>
                      <a:lnTo>
                        <a:pt x="36" y="154"/>
                      </a:lnTo>
                      <a:lnTo>
                        <a:pt x="30" y="148"/>
                      </a:lnTo>
                      <a:lnTo>
                        <a:pt x="23" y="143"/>
                      </a:lnTo>
                      <a:lnTo>
                        <a:pt x="18" y="137"/>
                      </a:lnTo>
                      <a:lnTo>
                        <a:pt x="13" y="130"/>
                      </a:lnTo>
                      <a:lnTo>
                        <a:pt x="9" y="123"/>
                      </a:lnTo>
                      <a:lnTo>
                        <a:pt x="9" y="1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5" name="Freeform 31"/>
                <p:cNvSpPr>
                  <a:spLocks/>
                </p:cNvSpPr>
                <p:nvPr/>
              </p:nvSpPr>
              <p:spPr bwMode="auto">
                <a:xfrm>
                  <a:off x="3497263" y="2571750"/>
                  <a:ext cx="30163" cy="31750"/>
                </a:xfrm>
                <a:custGeom>
                  <a:avLst/>
                  <a:gdLst>
                    <a:gd name="T0" fmla="*/ 10 w 152"/>
                    <a:gd name="T1" fmla="*/ 115 h 163"/>
                    <a:gd name="T2" fmla="*/ 3 w 152"/>
                    <a:gd name="T3" fmla="*/ 99 h 163"/>
                    <a:gd name="T4" fmla="*/ 0 w 152"/>
                    <a:gd name="T5" fmla="*/ 83 h 163"/>
                    <a:gd name="T6" fmla="*/ 0 w 152"/>
                    <a:gd name="T7" fmla="*/ 68 h 163"/>
                    <a:gd name="T8" fmla="*/ 2 w 152"/>
                    <a:gd name="T9" fmla="*/ 52 h 163"/>
                    <a:gd name="T10" fmla="*/ 7 w 152"/>
                    <a:gd name="T11" fmla="*/ 38 h 163"/>
                    <a:gd name="T12" fmla="*/ 15 w 152"/>
                    <a:gd name="T13" fmla="*/ 26 h 163"/>
                    <a:gd name="T14" fmla="*/ 25 w 152"/>
                    <a:gd name="T15" fmla="*/ 15 h 163"/>
                    <a:gd name="T16" fmla="*/ 38 w 152"/>
                    <a:gd name="T17" fmla="*/ 6 h 163"/>
                    <a:gd name="T18" fmla="*/ 45 w 152"/>
                    <a:gd name="T19" fmla="*/ 4 h 163"/>
                    <a:gd name="T20" fmla="*/ 59 w 152"/>
                    <a:gd name="T21" fmla="*/ 0 h 163"/>
                    <a:gd name="T22" fmla="*/ 74 w 152"/>
                    <a:gd name="T23" fmla="*/ 0 h 163"/>
                    <a:gd name="T24" fmla="*/ 89 w 152"/>
                    <a:gd name="T25" fmla="*/ 2 h 163"/>
                    <a:gd name="T26" fmla="*/ 103 w 152"/>
                    <a:gd name="T27" fmla="*/ 7 h 163"/>
                    <a:gd name="T28" fmla="*/ 116 w 152"/>
                    <a:gd name="T29" fmla="*/ 16 h 163"/>
                    <a:gd name="T30" fmla="*/ 128 w 152"/>
                    <a:gd name="T31" fmla="*/ 27 h 163"/>
                    <a:gd name="T32" fmla="*/ 138 w 152"/>
                    <a:gd name="T33" fmla="*/ 40 h 163"/>
                    <a:gd name="T34" fmla="*/ 142 w 152"/>
                    <a:gd name="T35" fmla="*/ 48 h 163"/>
                    <a:gd name="T36" fmla="*/ 149 w 152"/>
                    <a:gd name="T37" fmla="*/ 63 h 163"/>
                    <a:gd name="T38" fmla="*/ 152 w 152"/>
                    <a:gd name="T39" fmla="*/ 80 h 163"/>
                    <a:gd name="T40" fmla="*/ 152 w 152"/>
                    <a:gd name="T41" fmla="*/ 95 h 163"/>
                    <a:gd name="T42" fmla="*/ 150 w 152"/>
                    <a:gd name="T43" fmla="*/ 110 h 163"/>
                    <a:gd name="T44" fmla="*/ 144 w 152"/>
                    <a:gd name="T45" fmla="*/ 125 h 163"/>
                    <a:gd name="T46" fmla="*/ 137 w 152"/>
                    <a:gd name="T47" fmla="*/ 137 h 163"/>
                    <a:gd name="T48" fmla="*/ 127 w 152"/>
                    <a:gd name="T49" fmla="*/ 148 h 163"/>
                    <a:gd name="T50" fmla="*/ 114 w 152"/>
                    <a:gd name="T51" fmla="*/ 156 h 163"/>
                    <a:gd name="T52" fmla="*/ 107 w 152"/>
                    <a:gd name="T53" fmla="*/ 159 h 163"/>
                    <a:gd name="T54" fmla="*/ 93 w 152"/>
                    <a:gd name="T55" fmla="*/ 163 h 163"/>
                    <a:gd name="T56" fmla="*/ 78 w 152"/>
                    <a:gd name="T57" fmla="*/ 163 h 163"/>
                    <a:gd name="T58" fmla="*/ 63 w 152"/>
                    <a:gd name="T59" fmla="*/ 161 h 163"/>
                    <a:gd name="T60" fmla="*/ 49 w 152"/>
                    <a:gd name="T61" fmla="*/ 155 h 163"/>
                    <a:gd name="T62" fmla="*/ 36 w 152"/>
                    <a:gd name="T63" fmla="*/ 147 h 163"/>
                    <a:gd name="T64" fmla="*/ 24 w 152"/>
                    <a:gd name="T65" fmla="*/ 136 h 163"/>
                    <a:gd name="T66" fmla="*/ 14 w 152"/>
                    <a:gd name="T67" fmla="*/ 122 h 163"/>
                    <a:gd name="T68" fmla="*/ 10 w 152"/>
                    <a:gd name="T69" fmla="*/ 115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2" h="163">
                      <a:moveTo>
                        <a:pt x="10" y="115"/>
                      </a:moveTo>
                      <a:lnTo>
                        <a:pt x="10" y="115"/>
                      </a:lnTo>
                      <a:lnTo>
                        <a:pt x="6" y="107"/>
                      </a:lnTo>
                      <a:lnTo>
                        <a:pt x="3" y="99"/>
                      </a:lnTo>
                      <a:lnTo>
                        <a:pt x="1" y="92"/>
                      </a:lnTo>
                      <a:lnTo>
                        <a:pt x="0" y="83"/>
                      </a:lnTo>
                      <a:lnTo>
                        <a:pt x="0" y="75"/>
                      </a:lnTo>
                      <a:lnTo>
                        <a:pt x="0" y="68"/>
                      </a:lnTo>
                      <a:lnTo>
                        <a:pt x="1" y="60"/>
                      </a:lnTo>
                      <a:lnTo>
                        <a:pt x="2" y="52"/>
                      </a:lnTo>
                      <a:lnTo>
                        <a:pt x="4" y="46"/>
                      </a:lnTo>
                      <a:lnTo>
                        <a:pt x="7" y="38"/>
                      </a:lnTo>
                      <a:lnTo>
                        <a:pt x="11" y="31"/>
                      </a:lnTo>
                      <a:lnTo>
                        <a:pt x="15" y="26"/>
                      </a:lnTo>
                      <a:lnTo>
                        <a:pt x="20" y="20"/>
                      </a:lnTo>
                      <a:lnTo>
                        <a:pt x="25" y="15"/>
                      </a:lnTo>
                      <a:lnTo>
                        <a:pt x="32" y="11"/>
                      </a:lnTo>
                      <a:lnTo>
                        <a:pt x="38" y="6"/>
                      </a:lnTo>
                      <a:lnTo>
                        <a:pt x="38" y="6"/>
                      </a:lnTo>
                      <a:lnTo>
                        <a:pt x="45" y="4"/>
                      </a:lnTo>
                      <a:lnTo>
                        <a:pt x="51" y="2"/>
                      </a:lnTo>
                      <a:lnTo>
                        <a:pt x="59" y="0"/>
                      </a:lnTo>
                      <a:lnTo>
                        <a:pt x="67" y="0"/>
                      </a:lnTo>
                      <a:lnTo>
                        <a:pt x="74" y="0"/>
                      </a:lnTo>
                      <a:lnTo>
                        <a:pt x="81" y="1"/>
                      </a:lnTo>
                      <a:lnTo>
                        <a:pt x="89" y="2"/>
                      </a:lnTo>
                      <a:lnTo>
                        <a:pt x="95" y="4"/>
                      </a:lnTo>
                      <a:lnTo>
                        <a:pt x="103" y="7"/>
                      </a:lnTo>
                      <a:lnTo>
                        <a:pt x="109" y="12"/>
                      </a:lnTo>
                      <a:lnTo>
                        <a:pt x="116" y="16"/>
                      </a:lnTo>
                      <a:lnTo>
                        <a:pt x="121" y="22"/>
                      </a:lnTo>
                      <a:lnTo>
                        <a:pt x="128" y="27"/>
                      </a:lnTo>
                      <a:lnTo>
                        <a:pt x="134" y="34"/>
                      </a:lnTo>
                      <a:lnTo>
                        <a:pt x="138" y="40"/>
                      </a:lnTo>
                      <a:lnTo>
                        <a:pt x="142" y="48"/>
                      </a:lnTo>
                      <a:lnTo>
                        <a:pt x="142" y="48"/>
                      </a:lnTo>
                      <a:lnTo>
                        <a:pt x="146" y="56"/>
                      </a:lnTo>
                      <a:lnTo>
                        <a:pt x="149" y="63"/>
                      </a:lnTo>
                      <a:lnTo>
                        <a:pt x="150" y="71"/>
                      </a:lnTo>
                      <a:lnTo>
                        <a:pt x="152" y="80"/>
                      </a:lnTo>
                      <a:lnTo>
                        <a:pt x="152" y="87"/>
                      </a:lnTo>
                      <a:lnTo>
                        <a:pt x="152" y="95"/>
                      </a:lnTo>
                      <a:lnTo>
                        <a:pt x="151" y="103"/>
                      </a:lnTo>
                      <a:lnTo>
                        <a:pt x="150" y="110"/>
                      </a:lnTo>
                      <a:lnTo>
                        <a:pt x="148" y="117"/>
                      </a:lnTo>
                      <a:lnTo>
                        <a:pt x="144" y="125"/>
                      </a:lnTo>
                      <a:lnTo>
                        <a:pt x="141" y="131"/>
                      </a:lnTo>
                      <a:lnTo>
                        <a:pt x="137" y="137"/>
                      </a:lnTo>
                      <a:lnTo>
                        <a:pt x="132" y="142"/>
                      </a:lnTo>
                      <a:lnTo>
                        <a:pt x="127" y="148"/>
                      </a:lnTo>
                      <a:lnTo>
                        <a:pt x="120" y="152"/>
                      </a:lnTo>
                      <a:lnTo>
                        <a:pt x="114" y="156"/>
                      </a:lnTo>
                      <a:lnTo>
                        <a:pt x="114" y="156"/>
                      </a:lnTo>
                      <a:lnTo>
                        <a:pt x="107" y="159"/>
                      </a:lnTo>
                      <a:lnTo>
                        <a:pt x="100" y="161"/>
                      </a:lnTo>
                      <a:lnTo>
                        <a:pt x="93" y="163"/>
                      </a:lnTo>
                      <a:lnTo>
                        <a:pt x="85" y="163"/>
                      </a:lnTo>
                      <a:lnTo>
                        <a:pt x="78" y="163"/>
                      </a:lnTo>
                      <a:lnTo>
                        <a:pt x="70" y="162"/>
                      </a:lnTo>
                      <a:lnTo>
                        <a:pt x="63" y="161"/>
                      </a:lnTo>
                      <a:lnTo>
                        <a:pt x="56" y="157"/>
                      </a:lnTo>
                      <a:lnTo>
                        <a:pt x="49" y="155"/>
                      </a:lnTo>
                      <a:lnTo>
                        <a:pt x="43" y="151"/>
                      </a:lnTo>
                      <a:lnTo>
                        <a:pt x="36" y="147"/>
                      </a:lnTo>
                      <a:lnTo>
                        <a:pt x="29" y="141"/>
                      </a:lnTo>
                      <a:lnTo>
                        <a:pt x="24" y="136"/>
                      </a:lnTo>
                      <a:lnTo>
                        <a:pt x="18" y="129"/>
                      </a:lnTo>
                      <a:lnTo>
                        <a:pt x="14" y="122"/>
                      </a:lnTo>
                      <a:lnTo>
                        <a:pt x="10" y="115"/>
                      </a:lnTo>
                      <a:lnTo>
                        <a:pt x="10" y="11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6" name="Freeform 32"/>
                <p:cNvSpPr>
                  <a:spLocks/>
                </p:cNvSpPr>
                <p:nvPr/>
              </p:nvSpPr>
              <p:spPr bwMode="auto">
                <a:xfrm>
                  <a:off x="3463926" y="2479675"/>
                  <a:ext cx="26988" cy="33338"/>
                </a:xfrm>
                <a:custGeom>
                  <a:avLst/>
                  <a:gdLst>
                    <a:gd name="T0" fmla="*/ 132 w 133"/>
                    <a:gd name="T1" fmla="*/ 75 h 169"/>
                    <a:gd name="T2" fmla="*/ 133 w 133"/>
                    <a:gd name="T3" fmla="*/ 92 h 169"/>
                    <a:gd name="T4" fmla="*/ 132 w 133"/>
                    <a:gd name="T5" fmla="*/ 109 h 169"/>
                    <a:gd name="T6" fmla="*/ 125 w 133"/>
                    <a:gd name="T7" fmla="*/ 131 h 169"/>
                    <a:gd name="T8" fmla="*/ 117 w 133"/>
                    <a:gd name="T9" fmla="*/ 144 h 169"/>
                    <a:gd name="T10" fmla="*/ 109 w 133"/>
                    <a:gd name="T11" fmla="*/ 154 h 169"/>
                    <a:gd name="T12" fmla="*/ 99 w 133"/>
                    <a:gd name="T13" fmla="*/ 162 h 169"/>
                    <a:gd name="T14" fmla="*/ 86 w 133"/>
                    <a:gd name="T15" fmla="*/ 168 h 169"/>
                    <a:gd name="T16" fmla="*/ 79 w 133"/>
                    <a:gd name="T17" fmla="*/ 169 h 169"/>
                    <a:gd name="T18" fmla="*/ 66 w 133"/>
                    <a:gd name="T19" fmla="*/ 169 h 169"/>
                    <a:gd name="T20" fmla="*/ 54 w 133"/>
                    <a:gd name="T21" fmla="*/ 166 h 169"/>
                    <a:gd name="T22" fmla="*/ 41 w 133"/>
                    <a:gd name="T23" fmla="*/ 160 h 169"/>
                    <a:gd name="T24" fmla="*/ 30 w 133"/>
                    <a:gd name="T25" fmla="*/ 151 h 169"/>
                    <a:gd name="T26" fmla="*/ 20 w 133"/>
                    <a:gd name="T27" fmla="*/ 140 h 169"/>
                    <a:gd name="T28" fmla="*/ 9 w 133"/>
                    <a:gd name="T29" fmla="*/ 120 h 169"/>
                    <a:gd name="T30" fmla="*/ 3 w 133"/>
                    <a:gd name="T31" fmla="*/ 103 h 169"/>
                    <a:gd name="T32" fmla="*/ 1 w 133"/>
                    <a:gd name="T33" fmla="*/ 96 h 169"/>
                    <a:gd name="T34" fmla="*/ 0 w 133"/>
                    <a:gd name="T35" fmla="*/ 78 h 169"/>
                    <a:gd name="T36" fmla="*/ 1 w 133"/>
                    <a:gd name="T37" fmla="*/ 62 h 169"/>
                    <a:gd name="T38" fmla="*/ 8 w 133"/>
                    <a:gd name="T39" fmla="*/ 40 h 169"/>
                    <a:gd name="T40" fmla="*/ 15 w 133"/>
                    <a:gd name="T41" fmla="*/ 26 h 169"/>
                    <a:gd name="T42" fmla="*/ 24 w 133"/>
                    <a:gd name="T43" fmla="*/ 15 h 169"/>
                    <a:gd name="T44" fmla="*/ 35 w 133"/>
                    <a:gd name="T45" fmla="*/ 8 h 169"/>
                    <a:gd name="T46" fmla="*/ 47 w 133"/>
                    <a:gd name="T47" fmla="*/ 2 h 169"/>
                    <a:gd name="T48" fmla="*/ 54 w 133"/>
                    <a:gd name="T49" fmla="*/ 1 h 169"/>
                    <a:gd name="T50" fmla="*/ 67 w 133"/>
                    <a:gd name="T51" fmla="*/ 1 h 169"/>
                    <a:gd name="T52" fmla="*/ 80 w 133"/>
                    <a:gd name="T53" fmla="*/ 3 h 169"/>
                    <a:gd name="T54" fmla="*/ 92 w 133"/>
                    <a:gd name="T55" fmla="*/ 10 h 169"/>
                    <a:gd name="T56" fmla="*/ 103 w 133"/>
                    <a:gd name="T57" fmla="*/ 19 h 169"/>
                    <a:gd name="T58" fmla="*/ 113 w 133"/>
                    <a:gd name="T59" fmla="*/ 30 h 169"/>
                    <a:gd name="T60" fmla="*/ 125 w 133"/>
                    <a:gd name="T61" fmla="*/ 51 h 169"/>
                    <a:gd name="T62" fmla="*/ 129 w 133"/>
                    <a:gd name="T63" fmla="*/ 66 h 169"/>
                    <a:gd name="T64" fmla="*/ 132 w 133"/>
                    <a:gd name="T65" fmla="*/ 75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3" h="169">
                      <a:moveTo>
                        <a:pt x="132" y="75"/>
                      </a:moveTo>
                      <a:lnTo>
                        <a:pt x="132" y="75"/>
                      </a:lnTo>
                      <a:lnTo>
                        <a:pt x="133" y="83"/>
                      </a:lnTo>
                      <a:lnTo>
                        <a:pt x="133" y="92"/>
                      </a:lnTo>
                      <a:lnTo>
                        <a:pt x="133" y="100"/>
                      </a:lnTo>
                      <a:lnTo>
                        <a:pt x="132" y="109"/>
                      </a:lnTo>
                      <a:lnTo>
                        <a:pt x="127" y="124"/>
                      </a:lnTo>
                      <a:lnTo>
                        <a:pt x="125" y="131"/>
                      </a:lnTo>
                      <a:lnTo>
                        <a:pt x="122" y="137"/>
                      </a:lnTo>
                      <a:lnTo>
                        <a:pt x="117" y="144"/>
                      </a:lnTo>
                      <a:lnTo>
                        <a:pt x="114" y="149"/>
                      </a:lnTo>
                      <a:lnTo>
                        <a:pt x="109" y="154"/>
                      </a:lnTo>
                      <a:lnTo>
                        <a:pt x="104" y="158"/>
                      </a:lnTo>
                      <a:lnTo>
                        <a:pt x="99" y="162"/>
                      </a:lnTo>
                      <a:lnTo>
                        <a:pt x="92" y="165"/>
                      </a:lnTo>
                      <a:lnTo>
                        <a:pt x="86" y="168"/>
                      </a:lnTo>
                      <a:lnTo>
                        <a:pt x="79" y="169"/>
                      </a:lnTo>
                      <a:lnTo>
                        <a:pt x="79" y="169"/>
                      </a:lnTo>
                      <a:lnTo>
                        <a:pt x="72" y="169"/>
                      </a:lnTo>
                      <a:lnTo>
                        <a:pt x="66" y="169"/>
                      </a:lnTo>
                      <a:lnTo>
                        <a:pt x="59" y="168"/>
                      </a:lnTo>
                      <a:lnTo>
                        <a:pt x="54" y="166"/>
                      </a:lnTo>
                      <a:lnTo>
                        <a:pt x="47" y="163"/>
                      </a:lnTo>
                      <a:lnTo>
                        <a:pt x="41" y="160"/>
                      </a:lnTo>
                      <a:lnTo>
                        <a:pt x="35" y="156"/>
                      </a:lnTo>
                      <a:lnTo>
                        <a:pt x="30" y="151"/>
                      </a:lnTo>
                      <a:lnTo>
                        <a:pt x="25" y="146"/>
                      </a:lnTo>
                      <a:lnTo>
                        <a:pt x="20" y="140"/>
                      </a:lnTo>
                      <a:lnTo>
                        <a:pt x="12" y="127"/>
                      </a:lnTo>
                      <a:lnTo>
                        <a:pt x="9" y="120"/>
                      </a:lnTo>
                      <a:lnTo>
                        <a:pt x="6" y="112"/>
                      </a:lnTo>
                      <a:lnTo>
                        <a:pt x="3" y="103"/>
                      </a:lnTo>
                      <a:lnTo>
                        <a:pt x="1" y="96"/>
                      </a:lnTo>
                      <a:lnTo>
                        <a:pt x="1" y="96"/>
                      </a:lnTo>
                      <a:lnTo>
                        <a:pt x="1" y="87"/>
                      </a:lnTo>
                      <a:lnTo>
                        <a:pt x="0" y="78"/>
                      </a:lnTo>
                      <a:lnTo>
                        <a:pt x="1" y="69"/>
                      </a:lnTo>
                      <a:lnTo>
                        <a:pt x="1" y="62"/>
                      </a:lnTo>
                      <a:lnTo>
                        <a:pt x="6" y="46"/>
                      </a:lnTo>
                      <a:lnTo>
                        <a:pt x="8" y="40"/>
                      </a:lnTo>
                      <a:lnTo>
                        <a:pt x="11" y="33"/>
                      </a:lnTo>
                      <a:lnTo>
                        <a:pt x="15" y="26"/>
                      </a:lnTo>
                      <a:lnTo>
                        <a:pt x="20" y="21"/>
                      </a:lnTo>
                      <a:lnTo>
                        <a:pt x="24" y="15"/>
                      </a:lnTo>
                      <a:lnTo>
                        <a:pt x="30" y="11"/>
                      </a:lnTo>
                      <a:lnTo>
                        <a:pt x="35" y="8"/>
                      </a:lnTo>
                      <a:lnTo>
                        <a:pt x="41" y="5"/>
                      </a:lnTo>
                      <a:lnTo>
                        <a:pt x="47" y="2"/>
                      </a:lnTo>
                      <a:lnTo>
                        <a:pt x="54" y="1"/>
                      </a:lnTo>
                      <a:lnTo>
                        <a:pt x="54" y="1"/>
                      </a:lnTo>
                      <a:lnTo>
                        <a:pt x="60" y="0"/>
                      </a:lnTo>
                      <a:lnTo>
                        <a:pt x="67" y="1"/>
                      </a:lnTo>
                      <a:lnTo>
                        <a:pt x="73" y="2"/>
                      </a:lnTo>
                      <a:lnTo>
                        <a:pt x="80" y="3"/>
                      </a:lnTo>
                      <a:lnTo>
                        <a:pt x="86" y="7"/>
                      </a:lnTo>
                      <a:lnTo>
                        <a:pt x="92" y="10"/>
                      </a:lnTo>
                      <a:lnTo>
                        <a:pt x="98" y="13"/>
                      </a:lnTo>
                      <a:lnTo>
                        <a:pt x="103" y="19"/>
                      </a:lnTo>
                      <a:lnTo>
                        <a:pt x="109" y="24"/>
                      </a:lnTo>
                      <a:lnTo>
                        <a:pt x="113" y="30"/>
                      </a:lnTo>
                      <a:lnTo>
                        <a:pt x="122" y="43"/>
                      </a:lnTo>
                      <a:lnTo>
                        <a:pt x="125" y="51"/>
                      </a:lnTo>
                      <a:lnTo>
                        <a:pt x="127" y="58"/>
                      </a:lnTo>
                      <a:lnTo>
                        <a:pt x="129" y="66"/>
                      </a:lnTo>
                      <a:lnTo>
                        <a:pt x="132" y="75"/>
                      </a:lnTo>
                      <a:lnTo>
                        <a:pt x="132" y="7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7" name="Freeform 33"/>
                <p:cNvSpPr>
                  <a:spLocks/>
                </p:cNvSpPr>
                <p:nvPr/>
              </p:nvSpPr>
              <p:spPr bwMode="auto">
                <a:xfrm>
                  <a:off x="3425826" y="2536825"/>
                  <a:ext cx="25400" cy="33338"/>
                </a:xfrm>
                <a:custGeom>
                  <a:avLst/>
                  <a:gdLst>
                    <a:gd name="T0" fmla="*/ 131 w 131"/>
                    <a:gd name="T1" fmla="*/ 86 h 170"/>
                    <a:gd name="T2" fmla="*/ 130 w 131"/>
                    <a:gd name="T3" fmla="*/ 102 h 170"/>
                    <a:gd name="T4" fmla="*/ 126 w 131"/>
                    <a:gd name="T5" fmla="*/ 119 h 170"/>
                    <a:gd name="T6" fmla="*/ 116 w 131"/>
                    <a:gd name="T7" fmla="*/ 139 h 170"/>
                    <a:gd name="T8" fmla="*/ 107 w 131"/>
                    <a:gd name="T9" fmla="*/ 150 h 170"/>
                    <a:gd name="T10" fmla="*/ 97 w 131"/>
                    <a:gd name="T11" fmla="*/ 160 h 170"/>
                    <a:gd name="T12" fmla="*/ 85 w 131"/>
                    <a:gd name="T13" fmla="*/ 167 h 170"/>
                    <a:gd name="T14" fmla="*/ 72 w 131"/>
                    <a:gd name="T15" fmla="*/ 170 h 170"/>
                    <a:gd name="T16" fmla="*/ 66 w 131"/>
                    <a:gd name="T17" fmla="*/ 170 h 170"/>
                    <a:gd name="T18" fmla="*/ 52 w 131"/>
                    <a:gd name="T19" fmla="*/ 168 h 170"/>
                    <a:gd name="T20" fmla="*/ 40 w 131"/>
                    <a:gd name="T21" fmla="*/ 163 h 170"/>
                    <a:gd name="T22" fmla="*/ 29 w 131"/>
                    <a:gd name="T23" fmla="*/ 156 h 170"/>
                    <a:gd name="T24" fmla="*/ 19 w 131"/>
                    <a:gd name="T25" fmla="*/ 145 h 170"/>
                    <a:gd name="T26" fmla="*/ 12 w 131"/>
                    <a:gd name="T27" fmla="*/ 133 h 170"/>
                    <a:gd name="T28" fmla="*/ 3 w 131"/>
                    <a:gd name="T29" fmla="*/ 111 h 170"/>
                    <a:gd name="T30" fmla="*/ 1 w 131"/>
                    <a:gd name="T31" fmla="*/ 94 h 170"/>
                    <a:gd name="T32" fmla="*/ 0 w 131"/>
                    <a:gd name="T33" fmla="*/ 86 h 170"/>
                    <a:gd name="T34" fmla="*/ 1 w 131"/>
                    <a:gd name="T35" fmla="*/ 68 h 170"/>
                    <a:gd name="T36" fmla="*/ 5 w 131"/>
                    <a:gd name="T37" fmla="*/ 52 h 170"/>
                    <a:gd name="T38" fmla="*/ 15 w 131"/>
                    <a:gd name="T39" fmla="*/ 31 h 170"/>
                    <a:gd name="T40" fmla="*/ 24 w 131"/>
                    <a:gd name="T41" fmla="*/ 20 h 170"/>
                    <a:gd name="T42" fmla="*/ 35 w 131"/>
                    <a:gd name="T43" fmla="*/ 11 h 170"/>
                    <a:gd name="T44" fmla="*/ 46 w 131"/>
                    <a:gd name="T45" fmla="*/ 5 h 170"/>
                    <a:gd name="T46" fmla="*/ 59 w 131"/>
                    <a:gd name="T47" fmla="*/ 1 h 170"/>
                    <a:gd name="T48" fmla="*/ 66 w 131"/>
                    <a:gd name="T49" fmla="*/ 0 h 170"/>
                    <a:gd name="T50" fmla="*/ 79 w 131"/>
                    <a:gd name="T51" fmla="*/ 2 h 170"/>
                    <a:gd name="T52" fmla="*/ 91 w 131"/>
                    <a:gd name="T53" fmla="*/ 7 h 170"/>
                    <a:gd name="T54" fmla="*/ 103 w 131"/>
                    <a:gd name="T55" fmla="*/ 14 h 170"/>
                    <a:gd name="T56" fmla="*/ 112 w 131"/>
                    <a:gd name="T57" fmla="*/ 25 h 170"/>
                    <a:gd name="T58" fmla="*/ 120 w 131"/>
                    <a:gd name="T59" fmla="*/ 37 h 170"/>
                    <a:gd name="T60" fmla="*/ 128 w 131"/>
                    <a:gd name="T61" fmla="*/ 60 h 170"/>
                    <a:gd name="T62" fmla="*/ 131 w 131"/>
                    <a:gd name="T63" fmla="*/ 77 h 170"/>
                    <a:gd name="T64" fmla="*/ 131 w 131"/>
                    <a:gd name="T65" fmla="*/ 86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1" h="170">
                      <a:moveTo>
                        <a:pt x="131" y="86"/>
                      </a:moveTo>
                      <a:lnTo>
                        <a:pt x="131" y="86"/>
                      </a:lnTo>
                      <a:lnTo>
                        <a:pt x="131" y="94"/>
                      </a:lnTo>
                      <a:lnTo>
                        <a:pt x="130" y="102"/>
                      </a:lnTo>
                      <a:lnTo>
                        <a:pt x="128" y="111"/>
                      </a:lnTo>
                      <a:lnTo>
                        <a:pt x="126" y="119"/>
                      </a:lnTo>
                      <a:lnTo>
                        <a:pt x="120" y="133"/>
                      </a:lnTo>
                      <a:lnTo>
                        <a:pt x="116" y="139"/>
                      </a:lnTo>
                      <a:lnTo>
                        <a:pt x="112" y="145"/>
                      </a:lnTo>
                      <a:lnTo>
                        <a:pt x="107" y="150"/>
                      </a:lnTo>
                      <a:lnTo>
                        <a:pt x="103" y="156"/>
                      </a:lnTo>
                      <a:lnTo>
                        <a:pt x="97" y="160"/>
                      </a:lnTo>
                      <a:lnTo>
                        <a:pt x="91" y="163"/>
                      </a:lnTo>
                      <a:lnTo>
                        <a:pt x="85" y="167"/>
                      </a:lnTo>
                      <a:lnTo>
                        <a:pt x="79" y="168"/>
                      </a:lnTo>
                      <a:lnTo>
                        <a:pt x="72" y="170"/>
                      </a:lnTo>
                      <a:lnTo>
                        <a:pt x="66" y="170"/>
                      </a:lnTo>
                      <a:lnTo>
                        <a:pt x="66" y="170"/>
                      </a:lnTo>
                      <a:lnTo>
                        <a:pt x="59" y="170"/>
                      </a:lnTo>
                      <a:lnTo>
                        <a:pt x="52" y="168"/>
                      </a:lnTo>
                      <a:lnTo>
                        <a:pt x="46" y="167"/>
                      </a:lnTo>
                      <a:lnTo>
                        <a:pt x="40" y="163"/>
                      </a:lnTo>
                      <a:lnTo>
                        <a:pt x="35" y="160"/>
                      </a:lnTo>
                      <a:lnTo>
                        <a:pt x="29" y="156"/>
                      </a:lnTo>
                      <a:lnTo>
                        <a:pt x="24" y="150"/>
                      </a:lnTo>
                      <a:lnTo>
                        <a:pt x="19" y="145"/>
                      </a:lnTo>
                      <a:lnTo>
                        <a:pt x="15" y="139"/>
                      </a:lnTo>
                      <a:lnTo>
                        <a:pt x="12" y="133"/>
                      </a:lnTo>
                      <a:lnTo>
                        <a:pt x="5" y="119"/>
                      </a:lnTo>
                      <a:lnTo>
                        <a:pt x="3" y="111"/>
                      </a:lnTo>
                      <a:lnTo>
                        <a:pt x="1" y="102"/>
                      </a:lnTo>
                      <a:lnTo>
                        <a:pt x="1" y="94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1" y="77"/>
                      </a:lnTo>
                      <a:lnTo>
                        <a:pt x="1" y="68"/>
                      </a:lnTo>
                      <a:lnTo>
                        <a:pt x="3" y="60"/>
                      </a:lnTo>
                      <a:lnTo>
                        <a:pt x="5" y="52"/>
                      </a:lnTo>
                      <a:lnTo>
                        <a:pt x="12" y="37"/>
                      </a:lnTo>
                      <a:lnTo>
                        <a:pt x="15" y="31"/>
                      </a:lnTo>
                      <a:lnTo>
                        <a:pt x="19" y="25"/>
                      </a:lnTo>
                      <a:lnTo>
                        <a:pt x="24" y="20"/>
                      </a:lnTo>
                      <a:lnTo>
                        <a:pt x="29" y="14"/>
                      </a:lnTo>
                      <a:lnTo>
                        <a:pt x="35" y="11"/>
                      </a:lnTo>
                      <a:lnTo>
                        <a:pt x="40" y="7"/>
                      </a:lnTo>
                      <a:lnTo>
                        <a:pt x="46" y="5"/>
                      </a:lnTo>
                      <a:lnTo>
                        <a:pt x="52" y="2"/>
                      </a:lnTo>
                      <a:lnTo>
                        <a:pt x="59" y="1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72" y="1"/>
                      </a:lnTo>
                      <a:lnTo>
                        <a:pt x="79" y="2"/>
                      </a:lnTo>
                      <a:lnTo>
                        <a:pt x="85" y="5"/>
                      </a:lnTo>
                      <a:lnTo>
                        <a:pt x="91" y="7"/>
                      </a:lnTo>
                      <a:lnTo>
                        <a:pt x="97" y="11"/>
                      </a:lnTo>
                      <a:lnTo>
                        <a:pt x="103" y="14"/>
                      </a:lnTo>
                      <a:lnTo>
                        <a:pt x="107" y="20"/>
                      </a:lnTo>
                      <a:lnTo>
                        <a:pt x="112" y="25"/>
                      </a:lnTo>
                      <a:lnTo>
                        <a:pt x="116" y="31"/>
                      </a:lnTo>
                      <a:lnTo>
                        <a:pt x="120" y="37"/>
                      </a:lnTo>
                      <a:lnTo>
                        <a:pt x="126" y="52"/>
                      </a:lnTo>
                      <a:lnTo>
                        <a:pt x="128" y="60"/>
                      </a:lnTo>
                      <a:lnTo>
                        <a:pt x="130" y="68"/>
                      </a:lnTo>
                      <a:lnTo>
                        <a:pt x="131" y="77"/>
                      </a:lnTo>
                      <a:lnTo>
                        <a:pt x="131" y="86"/>
                      </a:lnTo>
                      <a:lnTo>
                        <a:pt x="131" y="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8" name="Freeform 34"/>
                <p:cNvSpPr>
                  <a:spLocks/>
                </p:cNvSpPr>
                <p:nvPr/>
              </p:nvSpPr>
              <p:spPr bwMode="auto">
                <a:xfrm>
                  <a:off x="3476626" y="2503488"/>
                  <a:ext cx="26988" cy="31750"/>
                </a:xfrm>
                <a:custGeom>
                  <a:avLst/>
                  <a:gdLst>
                    <a:gd name="T0" fmla="*/ 129 w 137"/>
                    <a:gd name="T1" fmla="*/ 106 h 164"/>
                    <a:gd name="T2" fmla="*/ 121 w 137"/>
                    <a:gd name="T3" fmla="*/ 121 h 164"/>
                    <a:gd name="T4" fmla="*/ 111 w 137"/>
                    <a:gd name="T5" fmla="*/ 135 h 164"/>
                    <a:gd name="T6" fmla="*/ 95 w 137"/>
                    <a:gd name="T7" fmla="*/ 151 h 164"/>
                    <a:gd name="T8" fmla="*/ 82 w 137"/>
                    <a:gd name="T9" fmla="*/ 157 h 164"/>
                    <a:gd name="T10" fmla="*/ 69 w 137"/>
                    <a:gd name="T11" fmla="*/ 163 h 164"/>
                    <a:gd name="T12" fmla="*/ 55 w 137"/>
                    <a:gd name="T13" fmla="*/ 164 h 164"/>
                    <a:gd name="T14" fmla="*/ 42 w 137"/>
                    <a:gd name="T15" fmla="*/ 162 h 164"/>
                    <a:gd name="T16" fmla="*/ 36 w 137"/>
                    <a:gd name="T17" fmla="*/ 160 h 164"/>
                    <a:gd name="T18" fmla="*/ 25 w 137"/>
                    <a:gd name="T19" fmla="*/ 153 h 164"/>
                    <a:gd name="T20" fmla="*/ 15 w 137"/>
                    <a:gd name="T21" fmla="*/ 144 h 164"/>
                    <a:gd name="T22" fmla="*/ 7 w 137"/>
                    <a:gd name="T23" fmla="*/ 133 h 164"/>
                    <a:gd name="T24" fmla="*/ 3 w 137"/>
                    <a:gd name="T25" fmla="*/ 119 h 164"/>
                    <a:gd name="T26" fmla="*/ 0 w 137"/>
                    <a:gd name="T27" fmla="*/ 105 h 164"/>
                    <a:gd name="T28" fmla="*/ 1 w 137"/>
                    <a:gd name="T29" fmla="*/ 81 h 164"/>
                    <a:gd name="T30" fmla="*/ 4 w 137"/>
                    <a:gd name="T31" fmla="*/ 65 h 164"/>
                    <a:gd name="T32" fmla="*/ 7 w 137"/>
                    <a:gd name="T33" fmla="*/ 57 h 164"/>
                    <a:gd name="T34" fmla="*/ 15 w 137"/>
                    <a:gd name="T35" fmla="*/ 41 h 164"/>
                    <a:gd name="T36" fmla="*/ 25 w 137"/>
                    <a:gd name="T37" fmla="*/ 28 h 164"/>
                    <a:gd name="T38" fmla="*/ 41 w 137"/>
                    <a:gd name="T39" fmla="*/ 13 h 164"/>
                    <a:gd name="T40" fmla="*/ 54 w 137"/>
                    <a:gd name="T41" fmla="*/ 5 h 164"/>
                    <a:gd name="T42" fmla="*/ 68 w 137"/>
                    <a:gd name="T43" fmla="*/ 1 h 164"/>
                    <a:gd name="T44" fmla="*/ 81 w 137"/>
                    <a:gd name="T45" fmla="*/ 0 h 164"/>
                    <a:gd name="T46" fmla="*/ 94 w 137"/>
                    <a:gd name="T47" fmla="*/ 1 h 164"/>
                    <a:gd name="T48" fmla="*/ 100 w 137"/>
                    <a:gd name="T49" fmla="*/ 3 h 164"/>
                    <a:gd name="T50" fmla="*/ 111 w 137"/>
                    <a:gd name="T51" fmla="*/ 9 h 164"/>
                    <a:gd name="T52" fmla="*/ 121 w 137"/>
                    <a:gd name="T53" fmla="*/ 19 h 164"/>
                    <a:gd name="T54" fmla="*/ 129 w 137"/>
                    <a:gd name="T55" fmla="*/ 30 h 164"/>
                    <a:gd name="T56" fmla="*/ 133 w 137"/>
                    <a:gd name="T57" fmla="*/ 43 h 164"/>
                    <a:gd name="T58" fmla="*/ 137 w 137"/>
                    <a:gd name="T59" fmla="*/ 58 h 164"/>
                    <a:gd name="T60" fmla="*/ 135 w 137"/>
                    <a:gd name="T61" fmla="*/ 82 h 164"/>
                    <a:gd name="T62" fmla="*/ 132 w 137"/>
                    <a:gd name="T63" fmla="*/ 98 h 164"/>
                    <a:gd name="T64" fmla="*/ 129 w 137"/>
                    <a:gd name="T65" fmla="*/ 106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7" h="164">
                      <a:moveTo>
                        <a:pt x="129" y="106"/>
                      </a:moveTo>
                      <a:lnTo>
                        <a:pt x="129" y="106"/>
                      </a:lnTo>
                      <a:lnTo>
                        <a:pt x="126" y="115"/>
                      </a:lnTo>
                      <a:lnTo>
                        <a:pt x="121" y="121"/>
                      </a:lnTo>
                      <a:lnTo>
                        <a:pt x="117" y="129"/>
                      </a:lnTo>
                      <a:lnTo>
                        <a:pt x="111" y="135"/>
                      </a:lnTo>
                      <a:lnTo>
                        <a:pt x="100" y="146"/>
                      </a:lnTo>
                      <a:lnTo>
                        <a:pt x="95" y="151"/>
                      </a:lnTo>
                      <a:lnTo>
                        <a:pt x="88" y="154"/>
                      </a:lnTo>
                      <a:lnTo>
                        <a:pt x="82" y="157"/>
                      </a:lnTo>
                      <a:lnTo>
                        <a:pt x="75" y="161"/>
                      </a:lnTo>
                      <a:lnTo>
                        <a:pt x="69" y="163"/>
                      </a:lnTo>
                      <a:lnTo>
                        <a:pt x="62" y="164"/>
                      </a:lnTo>
                      <a:lnTo>
                        <a:pt x="55" y="164"/>
                      </a:lnTo>
                      <a:lnTo>
                        <a:pt x="49" y="164"/>
                      </a:lnTo>
                      <a:lnTo>
                        <a:pt x="42" y="162"/>
                      </a:lnTo>
                      <a:lnTo>
                        <a:pt x="36" y="160"/>
                      </a:lnTo>
                      <a:lnTo>
                        <a:pt x="36" y="160"/>
                      </a:lnTo>
                      <a:lnTo>
                        <a:pt x="30" y="157"/>
                      </a:lnTo>
                      <a:lnTo>
                        <a:pt x="25" y="153"/>
                      </a:lnTo>
                      <a:lnTo>
                        <a:pt x="19" y="149"/>
                      </a:lnTo>
                      <a:lnTo>
                        <a:pt x="15" y="144"/>
                      </a:lnTo>
                      <a:lnTo>
                        <a:pt x="11" y="139"/>
                      </a:lnTo>
                      <a:lnTo>
                        <a:pt x="7" y="133"/>
                      </a:lnTo>
                      <a:lnTo>
                        <a:pt x="5" y="127"/>
                      </a:lnTo>
                      <a:lnTo>
                        <a:pt x="3" y="119"/>
                      </a:lnTo>
                      <a:lnTo>
                        <a:pt x="1" y="112"/>
                      </a:lnTo>
                      <a:lnTo>
                        <a:pt x="0" y="105"/>
                      </a:lnTo>
                      <a:lnTo>
                        <a:pt x="0" y="89"/>
                      </a:lnTo>
                      <a:lnTo>
                        <a:pt x="1" y="81"/>
                      </a:lnTo>
                      <a:lnTo>
                        <a:pt x="2" y="73"/>
                      </a:lnTo>
                      <a:lnTo>
                        <a:pt x="4" y="65"/>
                      </a:lnTo>
                      <a:lnTo>
                        <a:pt x="7" y="57"/>
                      </a:lnTo>
                      <a:lnTo>
                        <a:pt x="7" y="57"/>
                      </a:lnTo>
                      <a:lnTo>
                        <a:pt x="11" y="49"/>
                      </a:lnTo>
                      <a:lnTo>
                        <a:pt x="15" y="41"/>
                      </a:lnTo>
                      <a:lnTo>
                        <a:pt x="19" y="35"/>
                      </a:lnTo>
                      <a:lnTo>
                        <a:pt x="25" y="28"/>
                      </a:lnTo>
                      <a:lnTo>
                        <a:pt x="36" y="17"/>
                      </a:lnTo>
                      <a:lnTo>
                        <a:pt x="41" y="13"/>
                      </a:lnTo>
                      <a:lnTo>
                        <a:pt x="48" y="8"/>
                      </a:lnTo>
                      <a:lnTo>
                        <a:pt x="54" y="5"/>
                      </a:lnTo>
                      <a:lnTo>
                        <a:pt x="61" y="3"/>
                      </a:lnTo>
                      <a:lnTo>
                        <a:pt x="68" y="1"/>
                      </a:lnTo>
                      <a:lnTo>
                        <a:pt x="74" y="0"/>
                      </a:lnTo>
                      <a:lnTo>
                        <a:pt x="81" y="0"/>
                      </a:lnTo>
                      <a:lnTo>
                        <a:pt x="87" y="0"/>
                      </a:lnTo>
                      <a:lnTo>
                        <a:pt x="94" y="1"/>
                      </a:lnTo>
                      <a:lnTo>
                        <a:pt x="100" y="3"/>
                      </a:lnTo>
                      <a:lnTo>
                        <a:pt x="100" y="3"/>
                      </a:lnTo>
                      <a:lnTo>
                        <a:pt x="106" y="6"/>
                      </a:lnTo>
                      <a:lnTo>
                        <a:pt x="111" y="9"/>
                      </a:lnTo>
                      <a:lnTo>
                        <a:pt x="117" y="14"/>
                      </a:lnTo>
                      <a:lnTo>
                        <a:pt x="121" y="19"/>
                      </a:lnTo>
                      <a:lnTo>
                        <a:pt x="126" y="25"/>
                      </a:lnTo>
                      <a:lnTo>
                        <a:pt x="129" y="30"/>
                      </a:lnTo>
                      <a:lnTo>
                        <a:pt x="131" y="37"/>
                      </a:lnTo>
                      <a:lnTo>
                        <a:pt x="133" y="43"/>
                      </a:lnTo>
                      <a:lnTo>
                        <a:pt x="135" y="51"/>
                      </a:lnTo>
                      <a:lnTo>
                        <a:pt x="137" y="58"/>
                      </a:lnTo>
                      <a:lnTo>
                        <a:pt x="137" y="74"/>
                      </a:lnTo>
                      <a:lnTo>
                        <a:pt x="135" y="82"/>
                      </a:lnTo>
                      <a:lnTo>
                        <a:pt x="134" y="91"/>
                      </a:lnTo>
                      <a:lnTo>
                        <a:pt x="132" y="98"/>
                      </a:lnTo>
                      <a:lnTo>
                        <a:pt x="129" y="106"/>
                      </a:lnTo>
                      <a:lnTo>
                        <a:pt x="129" y="10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99" name="Freeform 35"/>
                <p:cNvSpPr>
                  <a:spLocks/>
                </p:cNvSpPr>
                <p:nvPr/>
              </p:nvSpPr>
              <p:spPr bwMode="auto">
                <a:xfrm>
                  <a:off x="3451226" y="2493963"/>
                  <a:ext cx="26988" cy="33338"/>
                </a:xfrm>
                <a:custGeom>
                  <a:avLst/>
                  <a:gdLst>
                    <a:gd name="T0" fmla="*/ 132 w 133"/>
                    <a:gd name="T1" fmla="*/ 95 h 169"/>
                    <a:gd name="T2" fmla="*/ 127 w 133"/>
                    <a:gd name="T3" fmla="*/ 111 h 169"/>
                    <a:gd name="T4" fmla="*/ 122 w 133"/>
                    <a:gd name="T5" fmla="*/ 127 h 169"/>
                    <a:gd name="T6" fmla="*/ 109 w 133"/>
                    <a:gd name="T7" fmla="*/ 145 h 169"/>
                    <a:gd name="T8" fmla="*/ 98 w 133"/>
                    <a:gd name="T9" fmla="*/ 156 h 169"/>
                    <a:gd name="T10" fmla="*/ 87 w 133"/>
                    <a:gd name="T11" fmla="*/ 163 h 169"/>
                    <a:gd name="T12" fmla="*/ 74 w 133"/>
                    <a:gd name="T13" fmla="*/ 168 h 169"/>
                    <a:gd name="T14" fmla="*/ 61 w 133"/>
                    <a:gd name="T15" fmla="*/ 169 h 169"/>
                    <a:gd name="T16" fmla="*/ 54 w 133"/>
                    <a:gd name="T17" fmla="*/ 168 h 169"/>
                    <a:gd name="T18" fmla="*/ 41 w 133"/>
                    <a:gd name="T19" fmla="*/ 165 h 169"/>
                    <a:gd name="T20" fmla="*/ 30 w 133"/>
                    <a:gd name="T21" fmla="*/ 158 h 169"/>
                    <a:gd name="T22" fmla="*/ 20 w 133"/>
                    <a:gd name="T23" fmla="*/ 148 h 169"/>
                    <a:gd name="T24" fmla="*/ 12 w 133"/>
                    <a:gd name="T25" fmla="*/ 136 h 169"/>
                    <a:gd name="T26" fmla="*/ 6 w 133"/>
                    <a:gd name="T27" fmla="*/ 123 h 169"/>
                    <a:gd name="T28" fmla="*/ 1 w 133"/>
                    <a:gd name="T29" fmla="*/ 100 h 169"/>
                    <a:gd name="T30" fmla="*/ 1 w 133"/>
                    <a:gd name="T31" fmla="*/ 84 h 169"/>
                    <a:gd name="T32" fmla="*/ 2 w 133"/>
                    <a:gd name="T33" fmla="*/ 75 h 169"/>
                    <a:gd name="T34" fmla="*/ 6 w 133"/>
                    <a:gd name="T35" fmla="*/ 57 h 169"/>
                    <a:gd name="T36" fmla="*/ 12 w 133"/>
                    <a:gd name="T37" fmla="*/ 43 h 169"/>
                    <a:gd name="T38" fmla="*/ 25 w 133"/>
                    <a:gd name="T39" fmla="*/ 24 h 169"/>
                    <a:gd name="T40" fmla="*/ 35 w 133"/>
                    <a:gd name="T41" fmla="*/ 14 h 169"/>
                    <a:gd name="T42" fmla="*/ 47 w 133"/>
                    <a:gd name="T43" fmla="*/ 6 h 169"/>
                    <a:gd name="T44" fmla="*/ 59 w 133"/>
                    <a:gd name="T45" fmla="*/ 2 h 169"/>
                    <a:gd name="T46" fmla="*/ 73 w 133"/>
                    <a:gd name="T47" fmla="*/ 0 h 169"/>
                    <a:gd name="T48" fmla="*/ 80 w 133"/>
                    <a:gd name="T49" fmla="*/ 0 h 169"/>
                    <a:gd name="T50" fmla="*/ 92 w 133"/>
                    <a:gd name="T51" fmla="*/ 5 h 169"/>
                    <a:gd name="T52" fmla="*/ 104 w 133"/>
                    <a:gd name="T53" fmla="*/ 11 h 169"/>
                    <a:gd name="T54" fmla="*/ 114 w 133"/>
                    <a:gd name="T55" fmla="*/ 20 h 169"/>
                    <a:gd name="T56" fmla="*/ 122 w 133"/>
                    <a:gd name="T57" fmla="*/ 32 h 169"/>
                    <a:gd name="T58" fmla="*/ 127 w 133"/>
                    <a:gd name="T59" fmla="*/ 47 h 169"/>
                    <a:gd name="T60" fmla="*/ 133 w 133"/>
                    <a:gd name="T61" fmla="*/ 70 h 169"/>
                    <a:gd name="T62" fmla="*/ 133 w 133"/>
                    <a:gd name="T63" fmla="*/ 86 h 169"/>
                    <a:gd name="T64" fmla="*/ 132 w 133"/>
                    <a:gd name="T65" fmla="*/ 95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3" h="169">
                      <a:moveTo>
                        <a:pt x="132" y="95"/>
                      </a:moveTo>
                      <a:lnTo>
                        <a:pt x="132" y="95"/>
                      </a:lnTo>
                      <a:lnTo>
                        <a:pt x="130" y="104"/>
                      </a:lnTo>
                      <a:lnTo>
                        <a:pt x="127" y="111"/>
                      </a:lnTo>
                      <a:lnTo>
                        <a:pt x="125" y="119"/>
                      </a:lnTo>
                      <a:lnTo>
                        <a:pt x="122" y="127"/>
                      </a:lnTo>
                      <a:lnTo>
                        <a:pt x="113" y="140"/>
                      </a:lnTo>
                      <a:lnTo>
                        <a:pt x="109" y="145"/>
                      </a:lnTo>
                      <a:lnTo>
                        <a:pt x="103" y="151"/>
                      </a:lnTo>
                      <a:lnTo>
                        <a:pt x="98" y="156"/>
                      </a:lnTo>
                      <a:lnTo>
                        <a:pt x="92" y="159"/>
                      </a:lnTo>
                      <a:lnTo>
                        <a:pt x="87" y="163"/>
                      </a:lnTo>
                      <a:lnTo>
                        <a:pt x="80" y="166"/>
                      </a:lnTo>
                      <a:lnTo>
                        <a:pt x="74" y="168"/>
                      </a:lnTo>
                      <a:lnTo>
                        <a:pt x="67" y="169"/>
                      </a:lnTo>
                      <a:lnTo>
                        <a:pt x="61" y="169"/>
                      </a:lnTo>
                      <a:lnTo>
                        <a:pt x="54" y="168"/>
                      </a:lnTo>
                      <a:lnTo>
                        <a:pt x="54" y="168"/>
                      </a:lnTo>
                      <a:lnTo>
                        <a:pt x="47" y="167"/>
                      </a:lnTo>
                      <a:lnTo>
                        <a:pt x="41" y="165"/>
                      </a:lnTo>
                      <a:lnTo>
                        <a:pt x="35" y="162"/>
                      </a:lnTo>
                      <a:lnTo>
                        <a:pt x="30" y="158"/>
                      </a:lnTo>
                      <a:lnTo>
                        <a:pt x="24" y="154"/>
                      </a:lnTo>
                      <a:lnTo>
                        <a:pt x="20" y="148"/>
                      </a:lnTo>
                      <a:lnTo>
                        <a:pt x="16" y="143"/>
                      </a:lnTo>
                      <a:lnTo>
                        <a:pt x="12" y="136"/>
                      </a:lnTo>
                      <a:lnTo>
                        <a:pt x="9" y="130"/>
                      </a:lnTo>
                      <a:lnTo>
                        <a:pt x="6" y="123"/>
                      </a:lnTo>
                      <a:lnTo>
                        <a:pt x="2" y="108"/>
                      </a:lnTo>
                      <a:lnTo>
                        <a:pt x="1" y="100"/>
                      </a:lnTo>
                      <a:lnTo>
                        <a:pt x="0" y="91"/>
                      </a:lnTo>
                      <a:lnTo>
                        <a:pt x="1" y="84"/>
                      </a:lnTo>
                      <a:lnTo>
                        <a:pt x="2" y="75"/>
                      </a:lnTo>
                      <a:lnTo>
                        <a:pt x="2" y="75"/>
                      </a:lnTo>
                      <a:lnTo>
                        <a:pt x="4" y="66"/>
                      </a:lnTo>
                      <a:lnTo>
                        <a:pt x="6" y="57"/>
                      </a:lnTo>
                      <a:lnTo>
                        <a:pt x="9" y="50"/>
                      </a:lnTo>
                      <a:lnTo>
                        <a:pt x="12" y="43"/>
                      </a:lnTo>
                      <a:lnTo>
                        <a:pt x="20" y="29"/>
                      </a:lnTo>
                      <a:lnTo>
                        <a:pt x="25" y="24"/>
                      </a:lnTo>
                      <a:lnTo>
                        <a:pt x="30" y="18"/>
                      </a:lnTo>
                      <a:lnTo>
                        <a:pt x="35" y="14"/>
                      </a:lnTo>
                      <a:lnTo>
                        <a:pt x="41" y="9"/>
                      </a:lnTo>
                      <a:lnTo>
                        <a:pt x="47" y="6"/>
                      </a:lnTo>
                      <a:lnTo>
                        <a:pt x="54" y="4"/>
                      </a:lnTo>
                      <a:lnTo>
                        <a:pt x="59" y="2"/>
                      </a:lnTo>
                      <a:lnTo>
                        <a:pt x="66" y="0"/>
                      </a:lnTo>
                      <a:lnTo>
                        <a:pt x="73" y="0"/>
                      </a:lnTo>
                      <a:lnTo>
                        <a:pt x="80" y="0"/>
                      </a:lnTo>
                      <a:lnTo>
                        <a:pt x="80" y="0"/>
                      </a:lnTo>
                      <a:lnTo>
                        <a:pt x="87" y="3"/>
                      </a:lnTo>
                      <a:lnTo>
                        <a:pt x="92" y="5"/>
                      </a:lnTo>
                      <a:lnTo>
                        <a:pt x="99" y="7"/>
                      </a:lnTo>
                      <a:lnTo>
                        <a:pt x="104" y="11"/>
                      </a:lnTo>
                      <a:lnTo>
                        <a:pt x="109" y="16"/>
                      </a:lnTo>
                      <a:lnTo>
                        <a:pt x="114" y="20"/>
                      </a:lnTo>
                      <a:lnTo>
                        <a:pt x="118" y="27"/>
                      </a:lnTo>
                      <a:lnTo>
                        <a:pt x="122" y="32"/>
                      </a:lnTo>
                      <a:lnTo>
                        <a:pt x="125" y="39"/>
                      </a:lnTo>
                      <a:lnTo>
                        <a:pt x="127" y="47"/>
                      </a:lnTo>
                      <a:lnTo>
                        <a:pt x="132" y="61"/>
                      </a:lnTo>
                      <a:lnTo>
                        <a:pt x="133" y="70"/>
                      </a:lnTo>
                      <a:lnTo>
                        <a:pt x="133" y="77"/>
                      </a:lnTo>
                      <a:lnTo>
                        <a:pt x="133" y="86"/>
                      </a:lnTo>
                      <a:lnTo>
                        <a:pt x="132" y="95"/>
                      </a:lnTo>
                      <a:lnTo>
                        <a:pt x="132" y="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0" name="Freeform 36"/>
                <p:cNvSpPr>
                  <a:spLocks/>
                </p:cNvSpPr>
                <p:nvPr/>
              </p:nvSpPr>
              <p:spPr bwMode="auto">
                <a:xfrm>
                  <a:off x="3467101" y="2549525"/>
                  <a:ext cx="26988" cy="33338"/>
                </a:xfrm>
                <a:custGeom>
                  <a:avLst/>
                  <a:gdLst>
                    <a:gd name="T0" fmla="*/ 130 w 132"/>
                    <a:gd name="T1" fmla="*/ 71 h 169"/>
                    <a:gd name="T2" fmla="*/ 132 w 132"/>
                    <a:gd name="T3" fmla="*/ 89 h 169"/>
                    <a:gd name="T4" fmla="*/ 132 w 132"/>
                    <a:gd name="T5" fmla="*/ 105 h 169"/>
                    <a:gd name="T6" fmla="*/ 126 w 132"/>
                    <a:gd name="T7" fmla="*/ 127 h 169"/>
                    <a:gd name="T8" fmla="*/ 120 w 132"/>
                    <a:gd name="T9" fmla="*/ 140 h 169"/>
                    <a:gd name="T10" fmla="*/ 111 w 132"/>
                    <a:gd name="T11" fmla="*/ 151 h 169"/>
                    <a:gd name="T12" fmla="*/ 100 w 132"/>
                    <a:gd name="T13" fmla="*/ 160 h 169"/>
                    <a:gd name="T14" fmla="*/ 88 w 132"/>
                    <a:gd name="T15" fmla="*/ 166 h 169"/>
                    <a:gd name="T16" fmla="*/ 83 w 132"/>
                    <a:gd name="T17" fmla="*/ 168 h 169"/>
                    <a:gd name="T18" fmla="*/ 69 w 132"/>
                    <a:gd name="T19" fmla="*/ 169 h 169"/>
                    <a:gd name="T20" fmla="*/ 57 w 132"/>
                    <a:gd name="T21" fmla="*/ 166 h 169"/>
                    <a:gd name="T22" fmla="*/ 43 w 132"/>
                    <a:gd name="T23" fmla="*/ 160 h 169"/>
                    <a:gd name="T24" fmla="*/ 32 w 132"/>
                    <a:gd name="T25" fmla="*/ 152 h 169"/>
                    <a:gd name="T26" fmla="*/ 21 w 132"/>
                    <a:gd name="T27" fmla="*/ 141 h 169"/>
                    <a:gd name="T28" fmla="*/ 9 w 132"/>
                    <a:gd name="T29" fmla="*/ 121 h 169"/>
                    <a:gd name="T30" fmla="*/ 4 w 132"/>
                    <a:gd name="T31" fmla="*/ 105 h 169"/>
                    <a:gd name="T32" fmla="*/ 2 w 132"/>
                    <a:gd name="T33" fmla="*/ 96 h 169"/>
                    <a:gd name="T34" fmla="*/ 0 w 132"/>
                    <a:gd name="T35" fmla="*/ 80 h 169"/>
                    <a:gd name="T36" fmla="*/ 1 w 132"/>
                    <a:gd name="T37" fmla="*/ 64 h 169"/>
                    <a:gd name="T38" fmla="*/ 6 w 132"/>
                    <a:gd name="T39" fmla="*/ 41 h 169"/>
                    <a:gd name="T40" fmla="*/ 13 w 132"/>
                    <a:gd name="T41" fmla="*/ 29 h 169"/>
                    <a:gd name="T42" fmla="*/ 21 w 132"/>
                    <a:gd name="T43" fmla="*/ 16 h 169"/>
                    <a:gd name="T44" fmla="*/ 31 w 132"/>
                    <a:gd name="T45" fmla="*/ 9 h 169"/>
                    <a:gd name="T46" fmla="*/ 43 w 132"/>
                    <a:gd name="T47" fmla="*/ 2 h 169"/>
                    <a:gd name="T48" fmla="*/ 50 w 132"/>
                    <a:gd name="T49" fmla="*/ 1 h 169"/>
                    <a:gd name="T50" fmla="*/ 63 w 132"/>
                    <a:gd name="T51" fmla="*/ 0 h 169"/>
                    <a:gd name="T52" fmla="*/ 76 w 132"/>
                    <a:gd name="T53" fmla="*/ 2 h 169"/>
                    <a:gd name="T54" fmla="*/ 88 w 132"/>
                    <a:gd name="T55" fmla="*/ 8 h 169"/>
                    <a:gd name="T56" fmla="*/ 100 w 132"/>
                    <a:gd name="T57" fmla="*/ 16 h 169"/>
                    <a:gd name="T58" fmla="*/ 110 w 132"/>
                    <a:gd name="T59" fmla="*/ 27 h 169"/>
                    <a:gd name="T60" fmla="*/ 122 w 132"/>
                    <a:gd name="T61" fmla="*/ 47 h 169"/>
                    <a:gd name="T62" fmla="*/ 129 w 132"/>
                    <a:gd name="T63" fmla="*/ 64 h 169"/>
                    <a:gd name="T64" fmla="*/ 130 w 132"/>
                    <a:gd name="T65" fmla="*/ 71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2" h="169">
                      <a:moveTo>
                        <a:pt x="130" y="71"/>
                      </a:moveTo>
                      <a:lnTo>
                        <a:pt x="130" y="71"/>
                      </a:lnTo>
                      <a:lnTo>
                        <a:pt x="132" y="80"/>
                      </a:lnTo>
                      <a:lnTo>
                        <a:pt x="132" y="89"/>
                      </a:lnTo>
                      <a:lnTo>
                        <a:pt x="132" y="96"/>
                      </a:lnTo>
                      <a:lnTo>
                        <a:pt x="132" y="105"/>
                      </a:lnTo>
                      <a:lnTo>
                        <a:pt x="129" y="121"/>
                      </a:lnTo>
                      <a:lnTo>
                        <a:pt x="126" y="127"/>
                      </a:lnTo>
                      <a:lnTo>
                        <a:pt x="123" y="134"/>
                      </a:lnTo>
                      <a:lnTo>
                        <a:pt x="120" y="140"/>
                      </a:lnTo>
                      <a:lnTo>
                        <a:pt x="116" y="146"/>
                      </a:lnTo>
                      <a:lnTo>
                        <a:pt x="111" y="151"/>
                      </a:lnTo>
                      <a:lnTo>
                        <a:pt x="106" y="156"/>
                      </a:lnTo>
                      <a:lnTo>
                        <a:pt x="100" y="160"/>
                      </a:lnTo>
                      <a:lnTo>
                        <a:pt x="95" y="163"/>
                      </a:lnTo>
                      <a:lnTo>
                        <a:pt x="88" y="166"/>
                      </a:lnTo>
                      <a:lnTo>
                        <a:pt x="83" y="168"/>
                      </a:lnTo>
                      <a:lnTo>
                        <a:pt x="83" y="168"/>
                      </a:lnTo>
                      <a:lnTo>
                        <a:pt x="75" y="169"/>
                      </a:lnTo>
                      <a:lnTo>
                        <a:pt x="69" y="169"/>
                      </a:lnTo>
                      <a:lnTo>
                        <a:pt x="62" y="168"/>
                      </a:lnTo>
                      <a:lnTo>
                        <a:pt x="57" y="166"/>
                      </a:lnTo>
                      <a:lnTo>
                        <a:pt x="50" y="163"/>
                      </a:lnTo>
                      <a:lnTo>
                        <a:pt x="43" y="160"/>
                      </a:lnTo>
                      <a:lnTo>
                        <a:pt x="38" y="157"/>
                      </a:lnTo>
                      <a:lnTo>
                        <a:pt x="32" y="152"/>
                      </a:lnTo>
                      <a:lnTo>
                        <a:pt x="27" y="147"/>
                      </a:lnTo>
                      <a:lnTo>
                        <a:pt x="21" y="141"/>
                      </a:lnTo>
                      <a:lnTo>
                        <a:pt x="13" y="128"/>
                      </a:lnTo>
                      <a:lnTo>
                        <a:pt x="9" y="121"/>
                      </a:lnTo>
                      <a:lnTo>
                        <a:pt x="6" y="113"/>
                      </a:lnTo>
                      <a:lnTo>
                        <a:pt x="4" y="105"/>
                      </a:lnTo>
                      <a:lnTo>
                        <a:pt x="2" y="96"/>
                      </a:lnTo>
                      <a:lnTo>
                        <a:pt x="2" y="96"/>
                      </a:lnTo>
                      <a:lnTo>
                        <a:pt x="1" y="88"/>
                      </a:lnTo>
                      <a:lnTo>
                        <a:pt x="0" y="80"/>
                      </a:lnTo>
                      <a:lnTo>
                        <a:pt x="0" y="71"/>
                      </a:lnTo>
                      <a:lnTo>
                        <a:pt x="1" y="64"/>
                      </a:lnTo>
                      <a:lnTo>
                        <a:pt x="4" y="48"/>
                      </a:lnTo>
                      <a:lnTo>
                        <a:pt x="6" y="41"/>
                      </a:lnTo>
                      <a:lnTo>
                        <a:pt x="9" y="34"/>
                      </a:lnTo>
                      <a:lnTo>
                        <a:pt x="13" y="29"/>
                      </a:lnTo>
                      <a:lnTo>
                        <a:pt x="16" y="22"/>
                      </a:lnTo>
                      <a:lnTo>
                        <a:pt x="21" y="16"/>
                      </a:lnTo>
                      <a:lnTo>
                        <a:pt x="26" y="12"/>
                      </a:lnTo>
                      <a:lnTo>
                        <a:pt x="31" y="9"/>
                      </a:lnTo>
                      <a:lnTo>
                        <a:pt x="37" y="5"/>
                      </a:lnTo>
                      <a:lnTo>
                        <a:pt x="43" y="2"/>
                      </a:lnTo>
                      <a:lnTo>
                        <a:pt x="50" y="1"/>
                      </a:lnTo>
                      <a:lnTo>
                        <a:pt x="50" y="1"/>
                      </a:lnTo>
                      <a:lnTo>
                        <a:pt x="57" y="0"/>
                      </a:lnTo>
                      <a:lnTo>
                        <a:pt x="63" y="0"/>
                      </a:lnTo>
                      <a:lnTo>
                        <a:pt x="70" y="1"/>
                      </a:lnTo>
                      <a:lnTo>
                        <a:pt x="76" y="2"/>
                      </a:lnTo>
                      <a:lnTo>
                        <a:pt x="83" y="4"/>
                      </a:lnTo>
                      <a:lnTo>
                        <a:pt x="88" y="8"/>
                      </a:lnTo>
                      <a:lnTo>
                        <a:pt x="94" y="12"/>
                      </a:lnTo>
                      <a:lnTo>
                        <a:pt x="100" y="16"/>
                      </a:lnTo>
                      <a:lnTo>
                        <a:pt x="105" y="22"/>
                      </a:lnTo>
                      <a:lnTo>
                        <a:pt x="110" y="27"/>
                      </a:lnTo>
                      <a:lnTo>
                        <a:pt x="119" y="41"/>
                      </a:lnTo>
                      <a:lnTo>
                        <a:pt x="122" y="47"/>
                      </a:lnTo>
                      <a:lnTo>
                        <a:pt x="126" y="55"/>
                      </a:lnTo>
                      <a:lnTo>
                        <a:pt x="129" y="64"/>
                      </a:lnTo>
                      <a:lnTo>
                        <a:pt x="130" y="71"/>
                      </a:lnTo>
                      <a:lnTo>
                        <a:pt x="130" y="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1" name="Freeform 37"/>
                <p:cNvSpPr>
                  <a:spLocks/>
                </p:cNvSpPr>
                <p:nvPr/>
              </p:nvSpPr>
              <p:spPr bwMode="auto">
                <a:xfrm>
                  <a:off x="3462338" y="2593975"/>
                  <a:ext cx="25400" cy="33338"/>
                </a:xfrm>
                <a:custGeom>
                  <a:avLst/>
                  <a:gdLst>
                    <a:gd name="T0" fmla="*/ 131 w 131"/>
                    <a:gd name="T1" fmla="*/ 85 h 170"/>
                    <a:gd name="T2" fmla="*/ 130 w 131"/>
                    <a:gd name="T3" fmla="*/ 102 h 170"/>
                    <a:gd name="T4" fmla="*/ 126 w 131"/>
                    <a:gd name="T5" fmla="*/ 118 h 170"/>
                    <a:gd name="T6" fmla="*/ 116 w 131"/>
                    <a:gd name="T7" fmla="*/ 139 h 170"/>
                    <a:gd name="T8" fmla="*/ 107 w 131"/>
                    <a:gd name="T9" fmla="*/ 151 h 170"/>
                    <a:gd name="T10" fmla="*/ 98 w 131"/>
                    <a:gd name="T11" fmla="*/ 160 h 170"/>
                    <a:gd name="T12" fmla="*/ 85 w 131"/>
                    <a:gd name="T13" fmla="*/ 166 h 170"/>
                    <a:gd name="T14" fmla="*/ 72 w 131"/>
                    <a:gd name="T15" fmla="*/ 170 h 170"/>
                    <a:gd name="T16" fmla="*/ 66 w 131"/>
                    <a:gd name="T17" fmla="*/ 170 h 170"/>
                    <a:gd name="T18" fmla="*/ 53 w 131"/>
                    <a:gd name="T19" fmla="*/ 168 h 170"/>
                    <a:gd name="T20" fmla="*/ 41 w 131"/>
                    <a:gd name="T21" fmla="*/ 163 h 170"/>
                    <a:gd name="T22" fmla="*/ 30 w 131"/>
                    <a:gd name="T23" fmla="*/ 155 h 170"/>
                    <a:gd name="T24" fmla="*/ 20 w 131"/>
                    <a:gd name="T25" fmla="*/ 145 h 170"/>
                    <a:gd name="T26" fmla="*/ 12 w 131"/>
                    <a:gd name="T27" fmla="*/ 132 h 170"/>
                    <a:gd name="T28" fmla="*/ 3 w 131"/>
                    <a:gd name="T29" fmla="*/ 110 h 170"/>
                    <a:gd name="T30" fmla="*/ 1 w 131"/>
                    <a:gd name="T31" fmla="*/ 94 h 170"/>
                    <a:gd name="T32" fmla="*/ 0 w 131"/>
                    <a:gd name="T33" fmla="*/ 85 h 170"/>
                    <a:gd name="T34" fmla="*/ 1 w 131"/>
                    <a:gd name="T35" fmla="*/ 68 h 170"/>
                    <a:gd name="T36" fmla="*/ 5 w 131"/>
                    <a:gd name="T37" fmla="*/ 52 h 170"/>
                    <a:gd name="T38" fmla="*/ 15 w 131"/>
                    <a:gd name="T39" fmla="*/ 31 h 170"/>
                    <a:gd name="T40" fmla="*/ 24 w 131"/>
                    <a:gd name="T41" fmla="*/ 19 h 170"/>
                    <a:gd name="T42" fmla="*/ 35 w 131"/>
                    <a:gd name="T43" fmla="*/ 11 h 170"/>
                    <a:gd name="T44" fmla="*/ 46 w 131"/>
                    <a:gd name="T45" fmla="*/ 4 h 170"/>
                    <a:gd name="T46" fmla="*/ 59 w 131"/>
                    <a:gd name="T47" fmla="*/ 1 h 170"/>
                    <a:gd name="T48" fmla="*/ 66 w 131"/>
                    <a:gd name="T49" fmla="*/ 0 h 170"/>
                    <a:gd name="T50" fmla="*/ 79 w 131"/>
                    <a:gd name="T51" fmla="*/ 2 h 170"/>
                    <a:gd name="T52" fmla="*/ 91 w 131"/>
                    <a:gd name="T53" fmla="*/ 6 h 170"/>
                    <a:gd name="T54" fmla="*/ 103 w 131"/>
                    <a:gd name="T55" fmla="*/ 15 h 170"/>
                    <a:gd name="T56" fmla="*/ 112 w 131"/>
                    <a:gd name="T57" fmla="*/ 25 h 170"/>
                    <a:gd name="T58" fmla="*/ 121 w 131"/>
                    <a:gd name="T59" fmla="*/ 38 h 170"/>
                    <a:gd name="T60" fmla="*/ 128 w 131"/>
                    <a:gd name="T61" fmla="*/ 60 h 170"/>
                    <a:gd name="T62" fmla="*/ 131 w 131"/>
                    <a:gd name="T63" fmla="*/ 76 h 170"/>
                    <a:gd name="T64" fmla="*/ 131 w 131"/>
                    <a:gd name="T65" fmla="*/ 85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1" h="170">
                      <a:moveTo>
                        <a:pt x="131" y="85"/>
                      </a:moveTo>
                      <a:lnTo>
                        <a:pt x="131" y="85"/>
                      </a:lnTo>
                      <a:lnTo>
                        <a:pt x="131" y="94"/>
                      </a:lnTo>
                      <a:lnTo>
                        <a:pt x="130" y="102"/>
                      </a:lnTo>
                      <a:lnTo>
                        <a:pt x="128" y="110"/>
                      </a:lnTo>
                      <a:lnTo>
                        <a:pt x="126" y="118"/>
                      </a:lnTo>
                      <a:lnTo>
                        <a:pt x="121" y="132"/>
                      </a:lnTo>
                      <a:lnTo>
                        <a:pt x="116" y="139"/>
                      </a:lnTo>
                      <a:lnTo>
                        <a:pt x="112" y="145"/>
                      </a:lnTo>
                      <a:lnTo>
                        <a:pt x="107" y="151"/>
                      </a:lnTo>
                      <a:lnTo>
                        <a:pt x="103" y="155"/>
                      </a:lnTo>
                      <a:lnTo>
                        <a:pt x="98" y="160"/>
                      </a:lnTo>
                      <a:lnTo>
                        <a:pt x="91" y="163"/>
                      </a:lnTo>
                      <a:lnTo>
                        <a:pt x="85" y="166"/>
                      </a:lnTo>
                      <a:lnTo>
                        <a:pt x="79" y="168"/>
                      </a:lnTo>
                      <a:lnTo>
                        <a:pt x="72" y="170"/>
                      </a:lnTo>
                      <a:lnTo>
                        <a:pt x="66" y="170"/>
                      </a:lnTo>
                      <a:lnTo>
                        <a:pt x="66" y="170"/>
                      </a:lnTo>
                      <a:lnTo>
                        <a:pt x="59" y="170"/>
                      </a:lnTo>
                      <a:lnTo>
                        <a:pt x="53" y="168"/>
                      </a:lnTo>
                      <a:lnTo>
                        <a:pt x="46" y="166"/>
                      </a:lnTo>
                      <a:lnTo>
                        <a:pt x="41" y="163"/>
                      </a:lnTo>
                      <a:lnTo>
                        <a:pt x="35" y="160"/>
                      </a:lnTo>
                      <a:lnTo>
                        <a:pt x="30" y="155"/>
                      </a:lnTo>
                      <a:lnTo>
                        <a:pt x="24" y="151"/>
                      </a:lnTo>
                      <a:lnTo>
                        <a:pt x="20" y="145"/>
                      </a:lnTo>
                      <a:lnTo>
                        <a:pt x="15" y="139"/>
                      </a:lnTo>
                      <a:lnTo>
                        <a:pt x="12" y="132"/>
                      </a:lnTo>
                      <a:lnTo>
                        <a:pt x="5" y="118"/>
                      </a:lnTo>
                      <a:lnTo>
                        <a:pt x="3" y="110"/>
                      </a:lnTo>
                      <a:lnTo>
                        <a:pt x="1" y="102"/>
                      </a:lnTo>
                      <a:lnTo>
                        <a:pt x="1" y="94"/>
                      </a:lnTo>
                      <a:lnTo>
                        <a:pt x="0" y="85"/>
                      </a:lnTo>
                      <a:lnTo>
                        <a:pt x="0" y="85"/>
                      </a:lnTo>
                      <a:lnTo>
                        <a:pt x="1" y="76"/>
                      </a:lnTo>
                      <a:lnTo>
                        <a:pt x="1" y="68"/>
                      </a:lnTo>
                      <a:lnTo>
                        <a:pt x="3" y="60"/>
                      </a:lnTo>
                      <a:lnTo>
                        <a:pt x="5" y="52"/>
                      </a:lnTo>
                      <a:lnTo>
                        <a:pt x="12" y="38"/>
                      </a:lnTo>
                      <a:lnTo>
                        <a:pt x="15" y="31"/>
                      </a:lnTo>
                      <a:lnTo>
                        <a:pt x="20" y="25"/>
                      </a:lnTo>
                      <a:lnTo>
                        <a:pt x="24" y="19"/>
                      </a:lnTo>
                      <a:lnTo>
                        <a:pt x="30" y="15"/>
                      </a:lnTo>
                      <a:lnTo>
                        <a:pt x="35" y="11"/>
                      </a:lnTo>
                      <a:lnTo>
                        <a:pt x="41" y="6"/>
                      </a:lnTo>
                      <a:lnTo>
                        <a:pt x="46" y="4"/>
                      </a:lnTo>
                      <a:lnTo>
                        <a:pt x="53" y="2"/>
                      </a:lnTo>
                      <a:lnTo>
                        <a:pt x="59" y="1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72" y="1"/>
                      </a:lnTo>
                      <a:lnTo>
                        <a:pt x="79" y="2"/>
                      </a:lnTo>
                      <a:lnTo>
                        <a:pt x="85" y="4"/>
                      </a:lnTo>
                      <a:lnTo>
                        <a:pt x="91" y="6"/>
                      </a:lnTo>
                      <a:lnTo>
                        <a:pt x="98" y="11"/>
                      </a:lnTo>
                      <a:lnTo>
                        <a:pt x="103" y="15"/>
                      </a:lnTo>
                      <a:lnTo>
                        <a:pt x="107" y="19"/>
                      </a:lnTo>
                      <a:lnTo>
                        <a:pt x="112" y="25"/>
                      </a:lnTo>
                      <a:lnTo>
                        <a:pt x="116" y="31"/>
                      </a:lnTo>
                      <a:lnTo>
                        <a:pt x="121" y="38"/>
                      </a:lnTo>
                      <a:lnTo>
                        <a:pt x="126" y="52"/>
                      </a:lnTo>
                      <a:lnTo>
                        <a:pt x="128" y="60"/>
                      </a:lnTo>
                      <a:lnTo>
                        <a:pt x="130" y="68"/>
                      </a:lnTo>
                      <a:lnTo>
                        <a:pt x="131" y="76"/>
                      </a:lnTo>
                      <a:lnTo>
                        <a:pt x="131" y="85"/>
                      </a:lnTo>
                      <a:lnTo>
                        <a:pt x="131" y="8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2" name="Freeform 38"/>
                <p:cNvSpPr>
                  <a:spLocks/>
                </p:cNvSpPr>
                <p:nvPr/>
              </p:nvSpPr>
              <p:spPr bwMode="auto">
                <a:xfrm>
                  <a:off x="3435351" y="2603500"/>
                  <a:ext cx="25400" cy="33338"/>
                </a:xfrm>
                <a:custGeom>
                  <a:avLst/>
                  <a:gdLst>
                    <a:gd name="T0" fmla="*/ 130 w 134"/>
                    <a:gd name="T1" fmla="*/ 99 h 167"/>
                    <a:gd name="T2" fmla="*/ 125 w 134"/>
                    <a:gd name="T3" fmla="*/ 116 h 167"/>
                    <a:gd name="T4" fmla="*/ 117 w 134"/>
                    <a:gd name="T5" fmla="*/ 130 h 167"/>
                    <a:gd name="T6" fmla="*/ 103 w 134"/>
                    <a:gd name="T7" fmla="*/ 149 h 167"/>
                    <a:gd name="T8" fmla="*/ 91 w 134"/>
                    <a:gd name="T9" fmla="*/ 157 h 167"/>
                    <a:gd name="T10" fmla="*/ 79 w 134"/>
                    <a:gd name="T11" fmla="*/ 164 h 167"/>
                    <a:gd name="T12" fmla="*/ 66 w 134"/>
                    <a:gd name="T13" fmla="*/ 167 h 167"/>
                    <a:gd name="T14" fmla="*/ 53 w 134"/>
                    <a:gd name="T15" fmla="*/ 167 h 167"/>
                    <a:gd name="T16" fmla="*/ 46 w 134"/>
                    <a:gd name="T17" fmla="*/ 166 h 167"/>
                    <a:gd name="T18" fmla="*/ 34 w 134"/>
                    <a:gd name="T19" fmla="*/ 162 h 167"/>
                    <a:gd name="T20" fmla="*/ 23 w 134"/>
                    <a:gd name="T21" fmla="*/ 153 h 167"/>
                    <a:gd name="T22" fmla="*/ 14 w 134"/>
                    <a:gd name="T23" fmla="*/ 143 h 167"/>
                    <a:gd name="T24" fmla="*/ 8 w 134"/>
                    <a:gd name="T25" fmla="*/ 131 h 167"/>
                    <a:gd name="T26" fmla="*/ 2 w 134"/>
                    <a:gd name="T27" fmla="*/ 117 h 167"/>
                    <a:gd name="T28" fmla="*/ 0 w 134"/>
                    <a:gd name="T29" fmla="*/ 93 h 167"/>
                    <a:gd name="T30" fmla="*/ 1 w 134"/>
                    <a:gd name="T31" fmla="*/ 76 h 167"/>
                    <a:gd name="T32" fmla="*/ 3 w 134"/>
                    <a:gd name="T33" fmla="*/ 68 h 167"/>
                    <a:gd name="T34" fmla="*/ 9 w 134"/>
                    <a:gd name="T35" fmla="*/ 52 h 167"/>
                    <a:gd name="T36" fmla="*/ 16 w 134"/>
                    <a:gd name="T37" fmla="*/ 37 h 167"/>
                    <a:gd name="T38" fmla="*/ 31 w 134"/>
                    <a:gd name="T39" fmla="*/ 19 h 167"/>
                    <a:gd name="T40" fmla="*/ 42 w 134"/>
                    <a:gd name="T41" fmla="*/ 11 h 167"/>
                    <a:gd name="T42" fmla="*/ 55 w 134"/>
                    <a:gd name="T43" fmla="*/ 4 h 167"/>
                    <a:gd name="T44" fmla="*/ 67 w 134"/>
                    <a:gd name="T45" fmla="*/ 1 h 167"/>
                    <a:gd name="T46" fmla="*/ 81 w 134"/>
                    <a:gd name="T47" fmla="*/ 1 h 167"/>
                    <a:gd name="T48" fmla="*/ 88 w 134"/>
                    <a:gd name="T49" fmla="*/ 2 h 167"/>
                    <a:gd name="T50" fmla="*/ 100 w 134"/>
                    <a:gd name="T51" fmla="*/ 6 h 167"/>
                    <a:gd name="T52" fmla="*/ 111 w 134"/>
                    <a:gd name="T53" fmla="*/ 14 h 167"/>
                    <a:gd name="T54" fmla="*/ 119 w 134"/>
                    <a:gd name="T55" fmla="*/ 25 h 167"/>
                    <a:gd name="T56" fmla="*/ 126 w 134"/>
                    <a:gd name="T57" fmla="*/ 37 h 167"/>
                    <a:gd name="T58" fmla="*/ 130 w 134"/>
                    <a:gd name="T59" fmla="*/ 51 h 167"/>
                    <a:gd name="T60" fmla="*/ 134 w 134"/>
                    <a:gd name="T61" fmla="*/ 74 h 167"/>
                    <a:gd name="T62" fmla="*/ 133 w 134"/>
                    <a:gd name="T63" fmla="*/ 92 h 167"/>
                    <a:gd name="T64" fmla="*/ 130 w 134"/>
                    <a:gd name="T65" fmla="*/ 99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4" h="167">
                      <a:moveTo>
                        <a:pt x="130" y="99"/>
                      </a:moveTo>
                      <a:lnTo>
                        <a:pt x="130" y="99"/>
                      </a:lnTo>
                      <a:lnTo>
                        <a:pt x="128" y="108"/>
                      </a:lnTo>
                      <a:lnTo>
                        <a:pt x="125" y="116"/>
                      </a:lnTo>
                      <a:lnTo>
                        <a:pt x="122" y="123"/>
                      </a:lnTo>
                      <a:lnTo>
                        <a:pt x="117" y="130"/>
                      </a:lnTo>
                      <a:lnTo>
                        <a:pt x="108" y="143"/>
                      </a:lnTo>
                      <a:lnTo>
                        <a:pt x="103" y="149"/>
                      </a:lnTo>
                      <a:lnTo>
                        <a:pt x="98" y="153"/>
                      </a:lnTo>
                      <a:lnTo>
                        <a:pt x="91" y="157"/>
                      </a:lnTo>
                      <a:lnTo>
                        <a:pt x="85" y="161"/>
                      </a:lnTo>
                      <a:lnTo>
                        <a:pt x="79" y="164"/>
                      </a:lnTo>
                      <a:lnTo>
                        <a:pt x="72" y="166"/>
                      </a:lnTo>
                      <a:lnTo>
                        <a:pt x="66" y="167"/>
                      </a:lnTo>
                      <a:lnTo>
                        <a:pt x="59" y="167"/>
                      </a:lnTo>
                      <a:lnTo>
                        <a:pt x="53" y="167"/>
                      </a:lnTo>
                      <a:lnTo>
                        <a:pt x="46" y="166"/>
                      </a:lnTo>
                      <a:lnTo>
                        <a:pt x="46" y="166"/>
                      </a:lnTo>
                      <a:lnTo>
                        <a:pt x="39" y="164"/>
                      </a:lnTo>
                      <a:lnTo>
                        <a:pt x="34" y="162"/>
                      </a:lnTo>
                      <a:lnTo>
                        <a:pt x="28" y="157"/>
                      </a:lnTo>
                      <a:lnTo>
                        <a:pt x="23" y="153"/>
                      </a:lnTo>
                      <a:lnTo>
                        <a:pt x="19" y="149"/>
                      </a:lnTo>
                      <a:lnTo>
                        <a:pt x="14" y="143"/>
                      </a:lnTo>
                      <a:lnTo>
                        <a:pt x="10" y="138"/>
                      </a:lnTo>
                      <a:lnTo>
                        <a:pt x="8" y="131"/>
                      </a:lnTo>
                      <a:lnTo>
                        <a:pt x="4" y="123"/>
                      </a:lnTo>
                      <a:lnTo>
                        <a:pt x="2" y="117"/>
                      </a:lnTo>
                      <a:lnTo>
                        <a:pt x="0" y="102"/>
                      </a:lnTo>
                      <a:lnTo>
                        <a:pt x="0" y="93"/>
                      </a:lnTo>
                      <a:lnTo>
                        <a:pt x="0" y="85"/>
                      </a:lnTo>
                      <a:lnTo>
                        <a:pt x="1" y="76"/>
                      </a:lnTo>
                      <a:lnTo>
                        <a:pt x="3" y="68"/>
                      </a:lnTo>
                      <a:lnTo>
                        <a:pt x="3" y="68"/>
                      </a:lnTo>
                      <a:lnTo>
                        <a:pt x="5" y="60"/>
                      </a:lnTo>
                      <a:lnTo>
                        <a:pt x="9" y="52"/>
                      </a:lnTo>
                      <a:lnTo>
                        <a:pt x="12" y="45"/>
                      </a:lnTo>
                      <a:lnTo>
                        <a:pt x="16" y="37"/>
                      </a:lnTo>
                      <a:lnTo>
                        <a:pt x="25" y="25"/>
                      </a:lnTo>
                      <a:lnTo>
                        <a:pt x="31" y="19"/>
                      </a:lnTo>
                      <a:lnTo>
                        <a:pt x="36" y="14"/>
                      </a:lnTo>
                      <a:lnTo>
                        <a:pt x="42" y="11"/>
                      </a:lnTo>
                      <a:lnTo>
                        <a:pt x="48" y="6"/>
                      </a:lnTo>
                      <a:lnTo>
                        <a:pt x="55" y="4"/>
                      </a:lnTo>
                      <a:lnTo>
                        <a:pt x="60" y="2"/>
                      </a:lnTo>
                      <a:lnTo>
                        <a:pt x="67" y="1"/>
                      </a:lnTo>
                      <a:lnTo>
                        <a:pt x="73" y="0"/>
                      </a:lnTo>
                      <a:lnTo>
                        <a:pt x="81" y="1"/>
                      </a:lnTo>
                      <a:lnTo>
                        <a:pt x="88" y="2"/>
                      </a:lnTo>
                      <a:lnTo>
                        <a:pt x="88" y="2"/>
                      </a:lnTo>
                      <a:lnTo>
                        <a:pt x="93" y="4"/>
                      </a:lnTo>
                      <a:lnTo>
                        <a:pt x="100" y="6"/>
                      </a:lnTo>
                      <a:lnTo>
                        <a:pt x="105" y="9"/>
                      </a:lnTo>
                      <a:lnTo>
                        <a:pt x="111" y="14"/>
                      </a:lnTo>
                      <a:lnTo>
                        <a:pt x="115" y="19"/>
                      </a:lnTo>
                      <a:lnTo>
                        <a:pt x="119" y="25"/>
                      </a:lnTo>
                      <a:lnTo>
                        <a:pt x="123" y="30"/>
                      </a:lnTo>
                      <a:lnTo>
                        <a:pt x="126" y="37"/>
                      </a:lnTo>
                      <a:lnTo>
                        <a:pt x="129" y="43"/>
                      </a:lnTo>
                      <a:lnTo>
                        <a:pt x="130" y="51"/>
                      </a:lnTo>
                      <a:lnTo>
                        <a:pt x="134" y="66"/>
                      </a:lnTo>
                      <a:lnTo>
                        <a:pt x="134" y="74"/>
                      </a:lnTo>
                      <a:lnTo>
                        <a:pt x="134" y="83"/>
                      </a:lnTo>
                      <a:lnTo>
                        <a:pt x="133" y="92"/>
                      </a:lnTo>
                      <a:lnTo>
                        <a:pt x="130" y="99"/>
                      </a:lnTo>
                      <a:lnTo>
                        <a:pt x="130" y="9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3" name="Freeform 39"/>
                <p:cNvSpPr>
                  <a:spLocks/>
                </p:cNvSpPr>
                <p:nvPr/>
              </p:nvSpPr>
              <p:spPr bwMode="auto">
                <a:xfrm>
                  <a:off x="3440113" y="2566988"/>
                  <a:ext cx="34925" cy="42863"/>
                </a:xfrm>
                <a:custGeom>
                  <a:avLst/>
                  <a:gdLst>
                    <a:gd name="T0" fmla="*/ 167 w 172"/>
                    <a:gd name="T1" fmla="*/ 84 h 214"/>
                    <a:gd name="T2" fmla="*/ 171 w 172"/>
                    <a:gd name="T3" fmla="*/ 106 h 214"/>
                    <a:gd name="T4" fmla="*/ 172 w 172"/>
                    <a:gd name="T5" fmla="*/ 127 h 214"/>
                    <a:gd name="T6" fmla="*/ 170 w 172"/>
                    <a:gd name="T7" fmla="*/ 146 h 214"/>
                    <a:gd name="T8" fmla="*/ 165 w 172"/>
                    <a:gd name="T9" fmla="*/ 165 h 214"/>
                    <a:gd name="T10" fmla="*/ 156 w 172"/>
                    <a:gd name="T11" fmla="*/ 180 h 214"/>
                    <a:gd name="T12" fmla="*/ 145 w 172"/>
                    <a:gd name="T13" fmla="*/ 195 h 214"/>
                    <a:gd name="T14" fmla="*/ 132 w 172"/>
                    <a:gd name="T15" fmla="*/ 204 h 214"/>
                    <a:gd name="T16" fmla="*/ 115 w 172"/>
                    <a:gd name="T17" fmla="*/ 211 h 214"/>
                    <a:gd name="T18" fmla="*/ 108 w 172"/>
                    <a:gd name="T19" fmla="*/ 213 h 214"/>
                    <a:gd name="T20" fmla="*/ 90 w 172"/>
                    <a:gd name="T21" fmla="*/ 213 h 214"/>
                    <a:gd name="T22" fmla="*/ 74 w 172"/>
                    <a:gd name="T23" fmla="*/ 210 h 214"/>
                    <a:gd name="T24" fmla="*/ 57 w 172"/>
                    <a:gd name="T25" fmla="*/ 202 h 214"/>
                    <a:gd name="T26" fmla="*/ 43 w 172"/>
                    <a:gd name="T27" fmla="*/ 191 h 214"/>
                    <a:gd name="T28" fmla="*/ 29 w 172"/>
                    <a:gd name="T29" fmla="*/ 177 h 214"/>
                    <a:gd name="T30" fmla="*/ 18 w 172"/>
                    <a:gd name="T31" fmla="*/ 160 h 214"/>
                    <a:gd name="T32" fmla="*/ 9 w 172"/>
                    <a:gd name="T33" fmla="*/ 140 h 214"/>
                    <a:gd name="T34" fmla="*/ 6 w 172"/>
                    <a:gd name="T35" fmla="*/ 130 h 214"/>
                    <a:gd name="T36" fmla="*/ 1 w 172"/>
                    <a:gd name="T37" fmla="*/ 108 h 214"/>
                    <a:gd name="T38" fmla="*/ 0 w 172"/>
                    <a:gd name="T39" fmla="*/ 87 h 214"/>
                    <a:gd name="T40" fmla="*/ 3 w 172"/>
                    <a:gd name="T41" fmla="*/ 67 h 214"/>
                    <a:gd name="T42" fmla="*/ 8 w 172"/>
                    <a:gd name="T43" fmla="*/ 49 h 214"/>
                    <a:gd name="T44" fmla="*/ 17 w 172"/>
                    <a:gd name="T45" fmla="*/ 33 h 214"/>
                    <a:gd name="T46" fmla="*/ 28 w 172"/>
                    <a:gd name="T47" fmla="*/ 19 h 214"/>
                    <a:gd name="T48" fmla="*/ 41 w 172"/>
                    <a:gd name="T49" fmla="*/ 9 h 214"/>
                    <a:gd name="T50" fmla="*/ 56 w 172"/>
                    <a:gd name="T51" fmla="*/ 3 h 214"/>
                    <a:gd name="T52" fmla="*/ 65 w 172"/>
                    <a:gd name="T53" fmla="*/ 1 h 214"/>
                    <a:gd name="T54" fmla="*/ 83 w 172"/>
                    <a:gd name="T55" fmla="*/ 1 h 214"/>
                    <a:gd name="T56" fmla="*/ 99 w 172"/>
                    <a:gd name="T57" fmla="*/ 4 h 214"/>
                    <a:gd name="T58" fmla="*/ 114 w 172"/>
                    <a:gd name="T59" fmla="*/ 12 h 214"/>
                    <a:gd name="T60" fmla="*/ 130 w 172"/>
                    <a:gd name="T61" fmla="*/ 23 h 214"/>
                    <a:gd name="T62" fmla="*/ 143 w 172"/>
                    <a:gd name="T63" fmla="*/ 37 h 214"/>
                    <a:gd name="T64" fmla="*/ 155 w 172"/>
                    <a:gd name="T65" fmla="*/ 54 h 214"/>
                    <a:gd name="T66" fmla="*/ 164 w 172"/>
                    <a:gd name="T67" fmla="*/ 73 h 214"/>
                    <a:gd name="T68" fmla="*/ 167 w 172"/>
                    <a:gd name="T69" fmla="*/ 84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2" h="214">
                      <a:moveTo>
                        <a:pt x="167" y="84"/>
                      </a:moveTo>
                      <a:lnTo>
                        <a:pt x="167" y="84"/>
                      </a:lnTo>
                      <a:lnTo>
                        <a:pt x="170" y="95"/>
                      </a:lnTo>
                      <a:lnTo>
                        <a:pt x="171" y="106"/>
                      </a:lnTo>
                      <a:lnTo>
                        <a:pt x="172" y="116"/>
                      </a:lnTo>
                      <a:lnTo>
                        <a:pt x="172" y="127"/>
                      </a:lnTo>
                      <a:lnTo>
                        <a:pt x="171" y="137"/>
                      </a:lnTo>
                      <a:lnTo>
                        <a:pt x="170" y="146"/>
                      </a:lnTo>
                      <a:lnTo>
                        <a:pt x="167" y="156"/>
                      </a:lnTo>
                      <a:lnTo>
                        <a:pt x="165" y="165"/>
                      </a:lnTo>
                      <a:lnTo>
                        <a:pt x="160" y="173"/>
                      </a:lnTo>
                      <a:lnTo>
                        <a:pt x="156" y="180"/>
                      </a:lnTo>
                      <a:lnTo>
                        <a:pt x="151" y="188"/>
                      </a:lnTo>
                      <a:lnTo>
                        <a:pt x="145" y="195"/>
                      </a:lnTo>
                      <a:lnTo>
                        <a:pt x="138" y="200"/>
                      </a:lnTo>
                      <a:lnTo>
                        <a:pt x="132" y="204"/>
                      </a:lnTo>
                      <a:lnTo>
                        <a:pt x="124" y="209"/>
                      </a:lnTo>
                      <a:lnTo>
                        <a:pt x="115" y="211"/>
                      </a:lnTo>
                      <a:lnTo>
                        <a:pt x="115" y="211"/>
                      </a:lnTo>
                      <a:lnTo>
                        <a:pt x="108" y="213"/>
                      </a:lnTo>
                      <a:lnTo>
                        <a:pt x="99" y="214"/>
                      </a:lnTo>
                      <a:lnTo>
                        <a:pt x="90" y="213"/>
                      </a:lnTo>
                      <a:lnTo>
                        <a:pt x="83" y="212"/>
                      </a:lnTo>
                      <a:lnTo>
                        <a:pt x="74" y="210"/>
                      </a:lnTo>
                      <a:lnTo>
                        <a:pt x="65" y="207"/>
                      </a:lnTo>
                      <a:lnTo>
                        <a:pt x="57" y="202"/>
                      </a:lnTo>
                      <a:lnTo>
                        <a:pt x="50" y="197"/>
                      </a:lnTo>
                      <a:lnTo>
                        <a:pt x="43" y="191"/>
                      </a:lnTo>
                      <a:lnTo>
                        <a:pt x="35" y="185"/>
                      </a:lnTo>
                      <a:lnTo>
                        <a:pt x="29" y="177"/>
                      </a:lnTo>
                      <a:lnTo>
                        <a:pt x="23" y="168"/>
                      </a:lnTo>
                      <a:lnTo>
                        <a:pt x="18" y="160"/>
                      </a:lnTo>
                      <a:lnTo>
                        <a:pt x="12" y="151"/>
                      </a:lnTo>
                      <a:lnTo>
                        <a:pt x="9" y="140"/>
                      </a:lnTo>
                      <a:lnTo>
                        <a:pt x="6" y="130"/>
                      </a:lnTo>
                      <a:lnTo>
                        <a:pt x="6" y="130"/>
                      </a:lnTo>
                      <a:lnTo>
                        <a:pt x="3" y="119"/>
                      </a:lnTo>
                      <a:lnTo>
                        <a:pt x="1" y="108"/>
                      </a:lnTo>
                      <a:lnTo>
                        <a:pt x="0" y="98"/>
                      </a:lnTo>
                      <a:lnTo>
                        <a:pt x="0" y="87"/>
                      </a:lnTo>
                      <a:lnTo>
                        <a:pt x="1" y="77"/>
                      </a:lnTo>
                      <a:lnTo>
                        <a:pt x="3" y="67"/>
                      </a:lnTo>
                      <a:lnTo>
                        <a:pt x="5" y="58"/>
                      </a:lnTo>
                      <a:lnTo>
                        <a:pt x="8" y="49"/>
                      </a:lnTo>
                      <a:lnTo>
                        <a:pt x="12" y="41"/>
                      </a:lnTo>
                      <a:lnTo>
                        <a:pt x="17" y="33"/>
                      </a:lnTo>
                      <a:lnTo>
                        <a:pt x="21" y="26"/>
                      </a:lnTo>
                      <a:lnTo>
                        <a:pt x="28" y="19"/>
                      </a:lnTo>
                      <a:lnTo>
                        <a:pt x="34" y="14"/>
                      </a:lnTo>
                      <a:lnTo>
                        <a:pt x="41" y="9"/>
                      </a:lnTo>
                      <a:lnTo>
                        <a:pt x="49" y="5"/>
                      </a:lnTo>
                      <a:lnTo>
                        <a:pt x="56" y="3"/>
                      </a:lnTo>
                      <a:lnTo>
                        <a:pt x="56" y="3"/>
                      </a:lnTo>
                      <a:lnTo>
                        <a:pt x="65" y="1"/>
                      </a:lnTo>
                      <a:lnTo>
                        <a:pt x="74" y="0"/>
                      </a:lnTo>
                      <a:lnTo>
                        <a:pt x="83" y="1"/>
                      </a:lnTo>
                      <a:lnTo>
                        <a:pt x="90" y="2"/>
                      </a:lnTo>
                      <a:lnTo>
                        <a:pt x="99" y="4"/>
                      </a:lnTo>
                      <a:lnTo>
                        <a:pt x="107" y="7"/>
                      </a:lnTo>
                      <a:lnTo>
                        <a:pt x="114" y="12"/>
                      </a:lnTo>
                      <a:lnTo>
                        <a:pt x="122" y="17"/>
                      </a:lnTo>
                      <a:lnTo>
                        <a:pt x="130" y="23"/>
                      </a:lnTo>
                      <a:lnTo>
                        <a:pt x="136" y="29"/>
                      </a:lnTo>
                      <a:lnTo>
                        <a:pt x="143" y="37"/>
                      </a:lnTo>
                      <a:lnTo>
                        <a:pt x="149" y="46"/>
                      </a:lnTo>
                      <a:lnTo>
                        <a:pt x="155" y="54"/>
                      </a:lnTo>
                      <a:lnTo>
                        <a:pt x="159" y="63"/>
                      </a:lnTo>
                      <a:lnTo>
                        <a:pt x="164" y="73"/>
                      </a:lnTo>
                      <a:lnTo>
                        <a:pt x="167" y="84"/>
                      </a:lnTo>
                      <a:lnTo>
                        <a:pt x="167" y="8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4" name="Freeform 40"/>
                <p:cNvSpPr>
                  <a:spLocks/>
                </p:cNvSpPr>
                <p:nvPr/>
              </p:nvSpPr>
              <p:spPr bwMode="auto">
                <a:xfrm>
                  <a:off x="3544888" y="2660650"/>
                  <a:ext cx="25400" cy="33338"/>
                </a:xfrm>
                <a:custGeom>
                  <a:avLst/>
                  <a:gdLst>
                    <a:gd name="T0" fmla="*/ 131 w 133"/>
                    <a:gd name="T1" fmla="*/ 71 h 168"/>
                    <a:gd name="T2" fmla="*/ 133 w 133"/>
                    <a:gd name="T3" fmla="*/ 89 h 168"/>
                    <a:gd name="T4" fmla="*/ 132 w 133"/>
                    <a:gd name="T5" fmla="*/ 105 h 168"/>
                    <a:gd name="T6" fmla="*/ 126 w 133"/>
                    <a:gd name="T7" fmla="*/ 127 h 168"/>
                    <a:gd name="T8" fmla="*/ 120 w 133"/>
                    <a:gd name="T9" fmla="*/ 140 h 168"/>
                    <a:gd name="T10" fmla="*/ 112 w 133"/>
                    <a:gd name="T11" fmla="*/ 151 h 168"/>
                    <a:gd name="T12" fmla="*/ 101 w 133"/>
                    <a:gd name="T13" fmla="*/ 160 h 168"/>
                    <a:gd name="T14" fmla="*/ 89 w 133"/>
                    <a:gd name="T15" fmla="*/ 166 h 168"/>
                    <a:gd name="T16" fmla="*/ 83 w 133"/>
                    <a:gd name="T17" fmla="*/ 168 h 168"/>
                    <a:gd name="T18" fmla="*/ 69 w 133"/>
                    <a:gd name="T19" fmla="*/ 168 h 168"/>
                    <a:gd name="T20" fmla="*/ 56 w 133"/>
                    <a:gd name="T21" fmla="*/ 166 h 168"/>
                    <a:gd name="T22" fmla="*/ 44 w 133"/>
                    <a:gd name="T23" fmla="*/ 160 h 168"/>
                    <a:gd name="T24" fmla="*/ 32 w 133"/>
                    <a:gd name="T25" fmla="*/ 152 h 168"/>
                    <a:gd name="T26" fmla="*/ 22 w 133"/>
                    <a:gd name="T27" fmla="*/ 141 h 168"/>
                    <a:gd name="T28" fmla="*/ 10 w 133"/>
                    <a:gd name="T29" fmla="*/ 121 h 168"/>
                    <a:gd name="T30" fmla="*/ 5 w 133"/>
                    <a:gd name="T31" fmla="*/ 105 h 168"/>
                    <a:gd name="T32" fmla="*/ 3 w 133"/>
                    <a:gd name="T33" fmla="*/ 97 h 168"/>
                    <a:gd name="T34" fmla="*/ 0 w 133"/>
                    <a:gd name="T35" fmla="*/ 80 h 168"/>
                    <a:gd name="T36" fmla="*/ 0 w 133"/>
                    <a:gd name="T37" fmla="*/ 64 h 168"/>
                    <a:gd name="T38" fmla="*/ 7 w 133"/>
                    <a:gd name="T39" fmla="*/ 41 h 168"/>
                    <a:gd name="T40" fmla="*/ 14 w 133"/>
                    <a:gd name="T41" fmla="*/ 27 h 168"/>
                    <a:gd name="T42" fmla="*/ 21 w 133"/>
                    <a:gd name="T43" fmla="*/ 16 h 168"/>
                    <a:gd name="T44" fmla="*/ 32 w 133"/>
                    <a:gd name="T45" fmla="*/ 9 h 168"/>
                    <a:gd name="T46" fmla="*/ 44 w 133"/>
                    <a:gd name="T47" fmla="*/ 2 h 168"/>
                    <a:gd name="T48" fmla="*/ 51 w 133"/>
                    <a:gd name="T49" fmla="*/ 1 h 168"/>
                    <a:gd name="T50" fmla="*/ 64 w 133"/>
                    <a:gd name="T51" fmla="*/ 0 h 168"/>
                    <a:gd name="T52" fmla="*/ 77 w 133"/>
                    <a:gd name="T53" fmla="*/ 2 h 168"/>
                    <a:gd name="T54" fmla="*/ 89 w 133"/>
                    <a:gd name="T55" fmla="*/ 8 h 168"/>
                    <a:gd name="T56" fmla="*/ 100 w 133"/>
                    <a:gd name="T57" fmla="*/ 16 h 168"/>
                    <a:gd name="T58" fmla="*/ 111 w 133"/>
                    <a:gd name="T59" fmla="*/ 27 h 168"/>
                    <a:gd name="T60" fmla="*/ 123 w 133"/>
                    <a:gd name="T61" fmla="*/ 47 h 168"/>
                    <a:gd name="T62" fmla="*/ 129 w 133"/>
                    <a:gd name="T63" fmla="*/ 63 h 168"/>
                    <a:gd name="T64" fmla="*/ 131 w 133"/>
                    <a:gd name="T65" fmla="*/ 71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3" h="168">
                      <a:moveTo>
                        <a:pt x="131" y="71"/>
                      </a:moveTo>
                      <a:lnTo>
                        <a:pt x="131" y="71"/>
                      </a:lnTo>
                      <a:lnTo>
                        <a:pt x="132" y="80"/>
                      </a:lnTo>
                      <a:lnTo>
                        <a:pt x="133" y="89"/>
                      </a:lnTo>
                      <a:lnTo>
                        <a:pt x="133" y="97"/>
                      </a:lnTo>
                      <a:lnTo>
                        <a:pt x="132" y="105"/>
                      </a:lnTo>
                      <a:lnTo>
                        <a:pt x="129" y="121"/>
                      </a:lnTo>
                      <a:lnTo>
                        <a:pt x="126" y="127"/>
                      </a:lnTo>
                      <a:lnTo>
                        <a:pt x="124" y="134"/>
                      </a:lnTo>
                      <a:lnTo>
                        <a:pt x="120" y="140"/>
                      </a:lnTo>
                      <a:lnTo>
                        <a:pt x="117" y="146"/>
                      </a:lnTo>
                      <a:lnTo>
                        <a:pt x="112" y="151"/>
                      </a:lnTo>
                      <a:lnTo>
                        <a:pt x="107" y="156"/>
                      </a:lnTo>
                      <a:lnTo>
                        <a:pt x="101" y="160"/>
                      </a:lnTo>
                      <a:lnTo>
                        <a:pt x="96" y="163"/>
                      </a:lnTo>
                      <a:lnTo>
                        <a:pt x="89" y="166"/>
                      </a:lnTo>
                      <a:lnTo>
                        <a:pt x="83" y="168"/>
                      </a:lnTo>
                      <a:lnTo>
                        <a:pt x="83" y="168"/>
                      </a:lnTo>
                      <a:lnTo>
                        <a:pt x="76" y="168"/>
                      </a:lnTo>
                      <a:lnTo>
                        <a:pt x="69" y="168"/>
                      </a:lnTo>
                      <a:lnTo>
                        <a:pt x="63" y="168"/>
                      </a:lnTo>
                      <a:lnTo>
                        <a:pt x="56" y="166"/>
                      </a:lnTo>
                      <a:lnTo>
                        <a:pt x="51" y="163"/>
                      </a:lnTo>
                      <a:lnTo>
                        <a:pt x="44" y="160"/>
                      </a:lnTo>
                      <a:lnTo>
                        <a:pt x="39" y="157"/>
                      </a:lnTo>
                      <a:lnTo>
                        <a:pt x="32" y="152"/>
                      </a:lnTo>
                      <a:lnTo>
                        <a:pt x="28" y="147"/>
                      </a:lnTo>
                      <a:lnTo>
                        <a:pt x="22" y="141"/>
                      </a:lnTo>
                      <a:lnTo>
                        <a:pt x="14" y="128"/>
                      </a:lnTo>
                      <a:lnTo>
                        <a:pt x="10" y="121"/>
                      </a:lnTo>
                      <a:lnTo>
                        <a:pt x="7" y="113"/>
                      </a:lnTo>
                      <a:lnTo>
                        <a:pt x="5" y="105"/>
                      </a:lnTo>
                      <a:lnTo>
                        <a:pt x="3" y="97"/>
                      </a:lnTo>
                      <a:lnTo>
                        <a:pt x="3" y="97"/>
                      </a:lnTo>
                      <a:lnTo>
                        <a:pt x="0" y="88"/>
                      </a:lnTo>
                      <a:lnTo>
                        <a:pt x="0" y="80"/>
                      </a:lnTo>
                      <a:lnTo>
                        <a:pt x="0" y="71"/>
                      </a:lnTo>
                      <a:lnTo>
                        <a:pt x="0" y="64"/>
                      </a:lnTo>
                      <a:lnTo>
                        <a:pt x="4" y="48"/>
                      </a:lnTo>
                      <a:lnTo>
                        <a:pt x="7" y="41"/>
                      </a:lnTo>
                      <a:lnTo>
                        <a:pt x="9" y="34"/>
                      </a:lnTo>
                      <a:lnTo>
                        <a:pt x="14" y="27"/>
                      </a:lnTo>
                      <a:lnTo>
                        <a:pt x="17" y="22"/>
                      </a:lnTo>
                      <a:lnTo>
                        <a:pt x="21" y="16"/>
                      </a:lnTo>
                      <a:lnTo>
                        <a:pt x="27" y="12"/>
                      </a:lnTo>
                      <a:lnTo>
                        <a:pt x="32" y="9"/>
                      </a:lnTo>
                      <a:lnTo>
                        <a:pt x="38" y="6"/>
                      </a:lnTo>
                      <a:lnTo>
                        <a:pt x="44" y="2"/>
                      </a:lnTo>
                      <a:lnTo>
                        <a:pt x="51" y="1"/>
                      </a:lnTo>
                      <a:lnTo>
                        <a:pt x="51" y="1"/>
                      </a:lnTo>
                      <a:lnTo>
                        <a:pt x="57" y="0"/>
                      </a:lnTo>
                      <a:lnTo>
                        <a:pt x="64" y="0"/>
                      </a:lnTo>
                      <a:lnTo>
                        <a:pt x="71" y="1"/>
                      </a:lnTo>
                      <a:lnTo>
                        <a:pt x="77" y="2"/>
                      </a:lnTo>
                      <a:lnTo>
                        <a:pt x="83" y="4"/>
                      </a:lnTo>
                      <a:lnTo>
                        <a:pt x="89" y="8"/>
                      </a:lnTo>
                      <a:lnTo>
                        <a:pt x="95" y="12"/>
                      </a:lnTo>
                      <a:lnTo>
                        <a:pt x="100" y="16"/>
                      </a:lnTo>
                      <a:lnTo>
                        <a:pt x="106" y="21"/>
                      </a:lnTo>
                      <a:lnTo>
                        <a:pt x="111" y="27"/>
                      </a:lnTo>
                      <a:lnTo>
                        <a:pt x="120" y="40"/>
                      </a:lnTo>
                      <a:lnTo>
                        <a:pt x="123" y="47"/>
                      </a:lnTo>
                      <a:lnTo>
                        <a:pt x="126" y="55"/>
                      </a:lnTo>
                      <a:lnTo>
                        <a:pt x="129" y="63"/>
                      </a:lnTo>
                      <a:lnTo>
                        <a:pt x="131" y="71"/>
                      </a:lnTo>
                      <a:lnTo>
                        <a:pt x="131" y="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5" name="Freeform 41"/>
                <p:cNvSpPr>
                  <a:spLocks/>
                </p:cNvSpPr>
                <p:nvPr/>
              </p:nvSpPr>
              <p:spPr bwMode="auto">
                <a:xfrm>
                  <a:off x="3529013" y="2632075"/>
                  <a:ext cx="26988" cy="33338"/>
                </a:xfrm>
                <a:custGeom>
                  <a:avLst/>
                  <a:gdLst>
                    <a:gd name="T0" fmla="*/ 130 w 130"/>
                    <a:gd name="T1" fmla="*/ 86 h 170"/>
                    <a:gd name="T2" fmla="*/ 129 w 130"/>
                    <a:gd name="T3" fmla="*/ 102 h 170"/>
                    <a:gd name="T4" fmla="*/ 126 w 130"/>
                    <a:gd name="T5" fmla="*/ 118 h 170"/>
                    <a:gd name="T6" fmla="*/ 116 w 130"/>
                    <a:gd name="T7" fmla="*/ 139 h 170"/>
                    <a:gd name="T8" fmla="*/ 107 w 130"/>
                    <a:gd name="T9" fmla="*/ 150 h 170"/>
                    <a:gd name="T10" fmla="*/ 96 w 130"/>
                    <a:gd name="T11" fmla="*/ 160 h 170"/>
                    <a:gd name="T12" fmla="*/ 84 w 130"/>
                    <a:gd name="T13" fmla="*/ 167 h 170"/>
                    <a:gd name="T14" fmla="*/ 72 w 130"/>
                    <a:gd name="T15" fmla="*/ 170 h 170"/>
                    <a:gd name="T16" fmla="*/ 64 w 130"/>
                    <a:gd name="T17" fmla="*/ 170 h 170"/>
                    <a:gd name="T18" fmla="*/ 51 w 130"/>
                    <a:gd name="T19" fmla="*/ 169 h 170"/>
                    <a:gd name="T20" fmla="*/ 39 w 130"/>
                    <a:gd name="T21" fmla="*/ 163 h 170"/>
                    <a:gd name="T22" fmla="*/ 28 w 130"/>
                    <a:gd name="T23" fmla="*/ 156 h 170"/>
                    <a:gd name="T24" fmla="*/ 18 w 130"/>
                    <a:gd name="T25" fmla="*/ 145 h 170"/>
                    <a:gd name="T26" fmla="*/ 11 w 130"/>
                    <a:gd name="T27" fmla="*/ 133 h 170"/>
                    <a:gd name="T28" fmla="*/ 2 w 130"/>
                    <a:gd name="T29" fmla="*/ 111 h 170"/>
                    <a:gd name="T30" fmla="*/ 0 w 130"/>
                    <a:gd name="T31" fmla="*/ 94 h 170"/>
                    <a:gd name="T32" fmla="*/ 0 w 130"/>
                    <a:gd name="T33" fmla="*/ 86 h 170"/>
                    <a:gd name="T34" fmla="*/ 1 w 130"/>
                    <a:gd name="T35" fmla="*/ 68 h 170"/>
                    <a:gd name="T36" fmla="*/ 4 w 130"/>
                    <a:gd name="T37" fmla="*/ 53 h 170"/>
                    <a:gd name="T38" fmla="*/ 14 w 130"/>
                    <a:gd name="T39" fmla="*/ 31 h 170"/>
                    <a:gd name="T40" fmla="*/ 23 w 130"/>
                    <a:gd name="T41" fmla="*/ 20 h 170"/>
                    <a:gd name="T42" fmla="*/ 34 w 130"/>
                    <a:gd name="T43" fmla="*/ 11 h 170"/>
                    <a:gd name="T44" fmla="*/ 46 w 130"/>
                    <a:gd name="T45" fmla="*/ 4 h 170"/>
                    <a:gd name="T46" fmla="*/ 58 w 130"/>
                    <a:gd name="T47" fmla="*/ 1 h 170"/>
                    <a:gd name="T48" fmla="*/ 64 w 130"/>
                    <a:gd name="T49" fmla="*/ 0 h 170"/>
                    <a:gd name="T50" fmla="*/ 78 w 130"/>
                    <a:gd name="T51" fmla="*/ 2 h 170"/>
                    <a:gd name="T52" fmla="*/ 91 w 130"/>
                    <a:gd name="T53" fmla="*/ 7 h 170"/>
                    <a:gd name="T54" fmla="*/ 102 w 130"/>
                    <a:gd name="T55" fmla="*/ 15 h 170"/>
                    <a:gd name="T56" fmla="*/ 112 w 130"/>
                    <a:gd name="T57" fmla="*/ 25 h 170"/>
                    <a:gd name="T58" fmla="*/ 119 w 130"/>
                    <a:gd name="T59" fmla="*/ 37 h 170"/>
                    <a:gd name="T60" fmla="*/ 128 w 130"/>
                    <a:gd name="T61" fmla="*/ 60 h 170"/>
                    <a:gd name="T62" fmla="*/ 130 w 130"/>
                    <a:gd name="T63" fmla="*/ 77 h 170"/>
                    <a:gd name="T64" fmla="*/ 130 w 130"/>
                    <a:gd name="T65" fmla="*/ 86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0" h="170">
                      <a:moveTo>
                        <a:pt x="130" y="86"/>
                      </a:moveTo>
                      <a:lnTo>
                        <a:pt x="130" y="86"/>
                      </a:lnTo>
                      <a:lnTo>
                        <a:pt x="130" y="94"/>
                      </a:lnTo>
                      <a:lnTo>
                        <a:pt x="129" y="102"/>
                      </a:lnTo>
                      <a:lnTo>
                        <a:pt x="128" y="111"/>
                      </a:lnTo>
                      <a:lnTo>
                        <a:pt x="126" y="118"/>
                      </a:lnTo>
                      <a:lnTo>
                        <a:pt x="119" y="133"/>
                      </a:lnTo>
                      <a:lnTo>
                        <a:pt x="116" y="139"/>
                      </a:lnTo>
                      <a:lnTo>
                        <a:pt x="112" y="145"/>
                      </a:lnTo>
                      <a:lnTo>
                        <a:pt x="107" y="150"/>
                      </a:lnTo>
                      <a:lnTo>
                        <a:pt x="102" y="156"/>
                      </a:lnTo>
                      <a:lnTo>
                        <a:pt x="96" y="160"/>
                      </a:lnTo>
                      <a:lnTo>
                        <a:pt x="91" y="163"/>
                      </a:lnTo>
                      <a:lnTo>
                        <a:pt x="84" y="167"/>
                      </a:lnTo>
                      <a:lnTo>
                        <a:pt x="78" y="169"/>
                      </a:lnTo>
                      <a:lnTo>
                        <a:pt x="72" y="170"/>
                      </a:lnTo>
                      <a:lnTo>
                        <a:pt x="64" y="170"/>
                      </a:lnTo>
                      <a:lnTo>
                        <a:pt x="64" y="170"/>
                      </a:lnTo>
                      <a:lnTo>
                        <a:pt x="58" y="170"/>
                      </a:lnTo>
                      <a:lnTo>
                        <a:pt x="51" y="169"/>
                      </a:lnTo>
                      <a:lnTo>
                        <a:pt x="46" y="167"/>
                      </a:lnTo>
                      <a:lnTo>
                        <a:pt x="39" y="163"/>
                      </a:lnTo>
                      <a:lnTo>
                        <a:pt x="34" y="160"/>
                      </a:lnTo>
                      <a:lnTo>
                        <a:pt x="28" y="156"/>
                      </a:lnTo>
                      <a:lnTo>
                        <a:pt x="23" y="150"/>
                      </a:lnTo>
                      <a:lnTo>
                        <a:pt x="18" y="145"/>
                      </a:lnTo>
                      <a:lnTo>
                        <a:pt x="14" y="139"/>
                      </a:lnTo>
                      <a:lnTo>
                        <a:pt x="11" y="133"/>
                      </a:lnTo>
                      <a:lnTo>
                        <a:pt x="4" y="118"/>
                      </a:lnTo>
                      <a:lnTo>
                        <a:pt x="2" y="111"/>
                      </a:lnTo>
                      <a:lnTo>
                        <a:pt x="1" y="102"/>
                      </a:lnTo>
                      <a:lnTo>
                        <a:pt x="0" y="94"/>
                      </a:lnTo>
                      <a:lnTo>
                        <a:pt x="0" y="86"/>
                      </a:lnTo>
                      <a:lnTo>
                        <a:pt x="0" y="86"/>
                      </a:lnTo>
                      <a:lnTo>
                        <a:pt x="0" y="77"/>
                      </a:lnTo>
                      <a:lnTo>
                        <a:pt x="1" y="68"/>
                      </a:lnTo>
                      <a:lnTo>
                        <a:pt x="2" y="60"/>
                      </a:lnTo>
                      <a:lnTo>
                        <a:pt x="4" y="53"/>
                      </a:lnTo>
                      <a:lnTo>
                        <a:pt x="11" y="37"/>
                      </a:lnTo>
                      <a:lnTo>
                        <a:pt x="14" y="31"/>
                      </a:lnTo>
                      <a:lnTo>
                        <a:pt x="18" y="25"/>
                      </a:lnTo>
                      <a:lnTo>
                        <a:pt x="23" y="20"/>
                      </a:lnTo>
                      <a:lnTo>
                        <a:pt x="28" y="15"/>
                      </a:lnTo>
                      <a:lnTo>
                        <a:pt x="34" y="11"/>
                      </a:lnTo>
                      <a:lnTo>
                        <a:pt x="39" y="7"/>
                      </a:lnTo>
                      <a:lnTo>
                        <a:pt x="46" y="4"/>
                      </a:lnTo>
                      <a:lnTo>
                        <a:pt x="51" y="2"/>
                      </a:lnTo>
                      <a:lnTo>
                        <a:pt x="58" y="1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72" y="1"/>
                      </a:lnTo>
                      <a:lnTo>
                        <a:pt x="78" y="2"/>
                      </a:lnTo>
                      <a:lnTo>
                        <a:pt x="84" y="4"/>
                      </a:lnTo>
                      <a:lnTo>
                        <a:pt x="91" y="7"/>
                      </a:lnTo>
                      <a:lnTo>
                        <a:pt x="96" y="11"/>
                      </a:lnTo>
                      <a:lnTo>
                        <a:pt x="102" y="15"/>
                      </a:lnTo>
                      <a:lnTo>
                        <a:pt x="107" y="20"/>
                      </a:lnTo>
                      <a:lnTo>
                        <a:pt x="112" y="25"/>
                      </a:lnTo>
                      <a:lnTo>
                        <a:pt x="116" y="31"/>
                      </a:lnTo>
                      <a:lnTo>
                        <a:pt x="119" y="37"/>
                      </a:lnTo>
                      <a:lnTo>
                        <a:pt x="126" y="53"/>
                      </a:lnTo>
                      <a:lnTo>
                        <a:pt x="128" y="60"/>
                      </a:lnTo>
                      <a:lnTo>
                        <a:pt x="129" y="68"/>
                      </a:lnTo>
                      <a:lnTo>
                        <a:pt x="130" y="77"/>
                      </a:lnTo>
                      <a:lnTo>
                        <a:pt x="130" y="86"/>
                      </a:lnTo>
                      <a:lnTo>
                        <a:pt x="130" y="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6" name="Freeform 42"/>
                <p:cNvSpPr>
                  <a:spLocks/>
                </p:cNvSpPr>
                <p:nvPr/>
              </p:nvSpPr>
              <p:spPr bwMode="auto">
                <a:xfrm>
                  <a:off x="3557588" y="2625725"/>
                  <a:ext cx="30163" cy="33338"/>
                </a:xfrm>
                <a:custGeom>
                  <a:avLst/>
                  <a:gdLst>
                    <a:gd name="T0" fmla="*/ 148 w 148"/>
                    <a:gd name="T1" fmla="*/ 78 h 169"/>
                    <a:gd name="T2" fmla="*/ 148 w 148"/>
                    <a:gd name="T3" fmla="*/ 96 h 169"/>
                    <a:gd name="T4" fmla="*/ 145 w 148"/>
                    <a:gd name="T5" fmla="*/ 112 h 169"/>
                    <a:gd name="T6" fmla="*/ 139 w 148"/>
                    <a:gd name="T7" fmla="*/ 127 h 169"/>
                    <a:gd name="T8" fmla="*/ 132 w 148"/>
                    <a:gd name="T9" fmla="*/ 140 h 169"/>
                    <a:gd name="T10" fmla="*/ 121 w 148"/>
                    <a:gd name="T11" fmla="*/ 152 h 169"/>
                    <a:gd name="T12" fmla="*/ 109 w 148"/>
                    <a:gd name="T13" fmla="*/ 161 h 169"/>
                    <a:gd name="T14" fmla="*/ 96 w 148"/>
                    <a:gd name="T15" fmla="*/ 166 h 169"/>
                    <a:gd name="T16" fmla="*/ 81 w 148"/>
                    <a:gd name="T17" fmla="*/ 169 h 169"/>
                    <a:gd name="T18" fmla="*/ 74 w 148"/>
                    <a:gd name="T19" fmla="*/ 169 h 169"/>
                    <a:gd name="T20" fmla="*/ 58 w 148"/>
                    <a:gd name="T21" fmla="*/ 167 h 169"/>
                    <a:gd name="T22" fmla="*/ 45 w 148"/>
                    <a:gd name="T23" fmla="*/ 162 h 169"/>
                    <a:gd name="T24" fmla="*/ 32 w 148"/>
                    <a:gd name="T25" fmla="*/ 154 h 169"/>
                    <a:gd name="T26" fmla="*/ 21 w 148"/>
                    <a:gd name="T27" fmla="*/ 143 h 169"/>
                    <a:gd name="T28" fmla="*/ 12 w 148"/>
                    <a:gd name="T29" fmla="*/ 130 h 169"/>
                    <a:gd name="T30" fmla="*/ 6 w 148"/>
                    <a:gd name="T31" fmla="*/ 116 h 169"/>
                    <a:gd name="T32" fmla="*/ 1 w 148"/>
                    <a:gd name="T33" fmla="*/ 99 h 169"/>
                    <a:gd name="T34" fmla="*/ 0 w 148"/>
                    <a:gd name="T35" fmla="*/ 91 h 169"/>
                    <a:gd name="T36" fmla="*/ 0 w 148"/>
                    <a:gd name="T37" fmla="*/ 73 h 169"/>
                    <a:gd name="T38" fmla="*/ 3 w 148"/>
                    <a:gd name="T39" fmla="*/ 58 h 169"/>
                    <a:gd name="T40" fmla="*/ 9 w 148"/>
                    <a:gd name="T41" fmla="*/ 42 h 169"/>
                    <a:gd name="T42" fmla="*/ 17 w 148"/>
                    <a:gd name="T43" fmla="*/ 29 h 169"/>
                    <a:gd name="T44" fmla="*/ 28 w 148"/>
                    <a:gd name="T45" fmla="*/ 18 h 169"/>
                    <a:gd name="T46" fmla="*/ 40 w 148"/>
                    <a:gd name="T47" fmla="*/ 9 h 169"/>
                    <a:gd name="T48" fmla="*/ 53 w 148"/>
                    <a:gd name="T49" fmla="*/ 3 h 169"/>
                    <a:gd name="T50" fmla="*/ 67 w 148"/>
                    <a:gd name="T51" fmla="*/ 1 h 169"/>
                    <a:gd name="T52" fmla="*/ 75 w 148"/>
                    <a:gd name="T53" fmla="*/ 0 h 169"/>
                    <a:gd name="T54" fmla="*/ 90 w 148"/>
                    <a:gd name="T55" fmla="*/ 2 h 169"/>
                    <a:gd name="T56" fmla="*/ 103 w 148"/>
                    <a:gd name="T57" fmla="*/ 7 h 169"/>
                    <a:gd name="T58" fmla="*/ 116 w 148"/>
                    <a:gd name="T59" fmla="*/ 16 h 169"/>
                    <a:gd name="T60" fmla="*/ 127 w 148"/>
                    <a:gd name="T61" fmla="*/ 26 h 169"/>
                    <a:gd name="T62" fmla="*/ 136 w 148"/>
                    <a:gd name="T63" fmla="*/ 39 h 169"/>
                    <a:gd name="T64" fmla="*/ 143 w 148"/>
                    <a:gd name="T65" fmla="*/ 54 h 169"/>
                    <a:gd name="T66" fmla="*/ 147 w 148"/>
                    <a:gd name="T67" fmla="*/ 70 h 169"/>
                    <a:gd name="T68" fmla="*/ 148 w 148"/>
                    <a:gd name="T69" fmla="*/ 78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8" h="169">
                      <a:moveTo>
                        <a:pt x="148" y="78"/>
                      </a:moveTo>
                      <a:lnTo>
                        <a:pt x="148" y="78"/>
                      </a:lnTo>
                      <a:lnTo>
                        <a:pt x="148" y="87"/>
                      </a:lnTo>
                      <a:lnTo>
                        <a:pt x="148" y="96"/>
                      </a:lnTo>
                      <a:lnTo>
                        <a:pt x="147" y="105"/>
                      </a:lnTo>
                      <a:lnTo>
                        <a:pt x="145" y="112"/>
                      </a:lnTo>
                      <a:lnTo>
                        <a:pt x="143" y="120"/>
                      </a:lnTo>
                      <a:lnTo>
                        <a:pt x="139" y="127"/>
                      </a:lnTo>
                      <a:lnTo>
                        <a:pt x="136" y="134"/>
                      </a:lnTo>
                      <a:lnTo>
                        <a:pt x="132" y="140"/>
                      </a:lnTo>
                      <a:lnTo>
                        <a:pt x="126" y="146"/>
                      </a:lnTo>
                      <a:lnTo>
                        <a:pt x="121" y="152"/>
                      </a:lnTo>
                      <a:lnTo>
                        <a:pt x="115" y="156"/>
                      </a:lnTo>
                      <a:lnTo>
                        <a:pt x="109" y="161"/>
                      </a:lnTo>
                      <a:lnTo>
                        <a:pt x="102" y="164"/>
                      </a:lnTo>
                      <a:lnTo>
                        <a:pt x="96" y="166"/>
                      </a:lnTo>
                      <a:lnTo>
                        <a:pt x="88" y="168"/>
                      </a:lnTo>
                      <a:lnTo>
                        <a:pt x="81" y="169"/>
                      </a:lnTo>
                      <a:lnTo>
                        <a:pt x="81" y="169"/>
                      </a:lnTo>
                      <a:lnTo>
                        <a:pt x="74" y="169"/>
                      </a:lnTo>
                      <a:lnTo>
                        <a:pt x="66" y="168"/>
                      </a:lnTo>
                      <a:lnTo>
                        <a:pt x="58" y="167"/>
                      </a:lnTo>
                      <a:lnTo>
                        <a:pt x="52" y="165"/>
                      </a:lnTo>
                      <a:lnTo>
                        <a:pt x="45" y="162"/>
                      </a:lnTo>
                      <a:lnTo>
                        <a:pt x="39" y="159"/>
                      </a:lnTo>
                      <a:lnTo>
                        <a:pt x="32" y="154"/>
                      </a:lnTo>
                      <a:lnTo>
                        <a:pt x="27" y="149"/>
                      </a:lnTo>
                      <a:lnTo>
                        <a:pt x="21" y="143"/>
                      </a:lnTo>
                      <a:lnTo>
                        <a:pt x="17" y="137"/>
                      </a:lnTo>
                      <a:lnTo>
                        <a:pt x="12" y="130"/>
                      </a:lnTo>
                      <a:lnTo>
                        <a:pt x="9" y="123"/>
                      </a:lnTo>
                      <a:lnTo>
                        <a:pt x="6" y="116"/>
                      </a:lnTo>
                      <a:lnTo>
                        <a:pt x="3" y="107"/>
                      </a:lnTo>
                      <a:lnTo>
                        <a:pt x="1" y="99"/>
                      </a:lnTo>
                      <a:lnTo>
                        <a:pt x="0" y="91"/>
                      </a:lnTo>
                      <a:lnTo>
                        <a:pt x="0" y="91"/>
                      </a:lnTo>
                      <a:lnTo>
                        <a:pt x="0" y="82"/>
                      </a:lnTo>
                      <a:lnTo>
                        <a:pt x="0" y="73"/>
                      </a:lnTo>
                      <a:lnTo>
                        <a:pt x="1" y="65"/>
                      </a:lnTo>
                      <a:lnTo>
                        <a:pt x="3" y="58"/>
                      </a:lnTo>
                      <a:lnTo>
                        <a:pt x="6" y="50"/>
                      </a:lnTo>
                      <a:lnTo>
                        <a:pt x="9" y="42"/>
                      </a:lnTo>
                      <a:lnTo>
                        <a:pt x="12" y="36"/>
                      </a:lnTo>
                      <a:lnTo>
                        <a:pt x="17" y="29"/>
                      </a:lnTo>
                      <a:lnTo>
                        <a:pt x="22" y="24"/>
                      </a:lnTo>
                      <a:lnTo>
                        <a:pt x="28" y="18"/>
                      </a:lnTo>
                      <a:lnTo>
                        <a:pt x="33" y="13"/>
                      </a:lnTo>
                      <a:lnTo>
                        <a:pt x="40" y="9"/>
                      </a:lnTo>
                      <a:lnTo>
                        <a:pt x="46" y="6"/>
                      </a:lnTo>
                      <a:lnTo>
                        <a:pt x="53" y="3"/>
                      </a:lnTo>
                      <a:lnTo>
                        <a:pt x="60" y="1"/>
                      </a:lnTo>
                      <a:lnTo>
                        <a:pt x="67" y="1"/>
                      </a:lnTo>
                      <a:lnTo>
                        <a:pt x="67" y="1"/>
                      </a:lnTo>
                      <a:lnTo>
                        <a:pt x="75" y="0"/>
                      </a:lnTo>
                      <a:lnTo>
                        <a:pt x="82" y="1"/>
                      </a:lnTo>
                      <a:lnTo>
                        <a:pt x="90" y="2"/>
                      </a:lnTo>
                      <a:lnTo>
                        <a:pt x="97" y="4"/>
                      </a:lnTo>
                      <a:lnTo>
                        <a:pt x="103" y="7"/>
                      </a:lnTo>
                      <a:lnTo>
                        <a:pt x="110" y="12"/>
                      </a:lnTo>
                      <a:lnTo>
                        <a:pt x="116" y="16"/>
                      </a:lnTo>
                      <a:lnTo>
                        <a:pt x="122" y="20"/>
                      </a:lnTo>
                      <a:lnTo>
                        <a:pt x="127" y="26"/>
                      </a:lnTo>
                      <a:lnTo>
                        <a:pt x="132" y="32"/>
                      </a:lnTo>
                      <a:lnTo>
                        <a:pt x="136" y="39"/>
                      </a:lnTo>
                      <a:lnTo>
                        <a:pt x="139" y="47"/>
                      </a:lnTo>
                      <a:lnTo>
                        <a:pt x="143" y="54"/>
                      </a:lnTo>
                      <a:lnTo>
                        <a:pt x="146" y="62"/>
                      </a:lnTo>
                      <a:lnTo>
                        <a:pt x="147" y="70"/>
                      </a:lnTo>
                      <a:lnTo>
                        <a:pt x="148" y="78"/>
                      </a:lnTo>
                      <a:lnTo>
                        <a:pt x="148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7" name="Freeform 43"/>
                <p:cNvSpPr>
                  <a:spLocks/>
                </p:cNvSpPr>
                <p:nvPr/>
              </p:nvSpPr>
              <p:spPr bwMode="auto">
                <a:xfrm>
                  <a:off x="3532188" y="2609850"/>
                  <a:ext cx="31750" cy="31750"/>
                </a:xfrm>
                <a:custGeom>
                  <a:avLst/>
                  <a:gdLst>
                    <a:gd name="T0" fmla="*/ 133 w 160"/>
                    <a:gd name="T1" fmla="*/ 132 h 158"/>
                    <a:gd name="T2" fmla="*/ 120 w 160"/>
                    <a:gd name="T3" fmla="*/ 143 h 158"/>
                    <a:gd name="T4" fmla="*/ 105 w 160"/>
                    <a:gd name="T5" fmla="*/ 151 h 158"/>
                    <a:gd name="T6" fmla="*/ 90 w 160"/>
                    <a:gd name="T7" fmla="*/ 156 h 158"/>
                    <a:gd name="T8" fmla="*/ 75 w 160"/>
                    <a:gd name="T9" fmla="*/ 158 h 158"/>
                    <a:gd name="T10" fmla="*/ 59 w 160"/>
                    <a:gd name="T11" fmla="*/ 158 h 158"/>
                    <a:gd name="T12" fmla="*/ 45 w 160"/>
                    <a:gd name="T13" fmla="*/ 155 h 158"/>
                    <a:gd name="T14" fmla="*/ 32 w 160"/>
                    <a:gd name="T15" fmla="*/ 149 h 158"/>
                    <a:gd name="T16" fmla="*/ 20 w 160"/>
                    <a:gd name="T17" fmla="*/ 139 h 158"/>
                    <a:gd name="T18" fmla="*/ 16 w 160"/>
                    <a:gd name="T19" fmla="*/ 133 h 158"/>
                    <a:gd name="T20" fmla="*/ 8 w 160"/>
                    <a:gd name="T21" fmla="*/ 121 h 158"/>
                    <a:gd name="T22" fmla="*/ 2 w 160"/>
                    <a:gd name="T23" fmla="*/ 107 h 158"/>
                    <a:gd name="T24" fmla="*/ 0 w 160"/>
                    <a:gd name="T25" fmla="*/ 92 h 158"/>
                    <a:gd name="T26" fmla="*/ 1 w 160"/>
                    <a:gd name="T27" fmla="*/ 76 h 158"/>
                    <a:gd name="T28" fmla="*/ 6 w 160"/>
                    <a:gd name="T29" fmla="*/ 62 h 158"/>
                    <a:gd name="T30" fmla="*/ 12 w 160"/>
                    <a:gd name="T31" fmla="*/ 47 h 158"/>
                    <a:gd name="T32" fmla="*/ 22 w 160"/>
                    <a:gd name="T33" fmla="*/ 34 h 158"/>
                    <a:gd name="T34" fmla="*/ 28 w 160"/>
                    <a:gd name="T35" fmla="*/ 27 h 158"/>
                    <a:gd name="T36" fmla="*/ 41 w 160"/>
                    <a:gd name="T37" fmla="*/ 16 h 158"/>
                    <a:gd name="T38" fmla="*/ 55 w 160"/>
                    <a:gd name="T39" fmla="*/ 7 h 158"/>
                    <a:gd name="T40" fmla="*/ 70 w 160"/>
                    <a:gd name="T41" fmla="*/ 2 h 158"/>
                    <a:gd name="T42" fmla="*/ 86 w 160"/>
                    <a:gd name="T43" fmla="*/ 0 h 158"/>
                    <a:gd name="T44" fmla="*/ 101 w 160"/>
                    <a:gd name="T45" fmla="*/ 0 h 158"/>
                    <a:gd name="T46" fmla="*/ 115 w 160"/>
                    <a:gd name="T47" fmla="*/ 4 h 158"/>
                    <a:gd name="T48" fmla="*/ 128 w 160"/>
                    <a:gd name="T49" fmla="*/ 9 h 158"/>
                    <a:gd name="T50" fmla="*/ 140 w 160"/>
                    <a:gd name="T51" fmla="*/ 19 h 158"/>
                    <a:gd name="T52" fmla="*/ 145 w 160"/>
                    <a:gd name="T53" fmla="*/ 25 h 158"/>
                    <a:gd name="T54" fmla="*/ 154 w 160"/>
                    <a:gd name="T55" fmla="*/ 38 h 158"/>
                    <a:gd name="T56" fmla="*/ 158 w 160"/>
                    <a:gd name="T57" fmla="*/ 51 h 158"/>
                    <a:gd name="T58" fmla="*/ 160 w 160"/>
                    <a:gd name="T59" fmla="*/ 66 h 158"/>
                    <a:gd name="T60" fmla="*/ 159 w 160"/>
                    <a:gd name="T61" fmla="*/ 82 h 158"/>
                    <a:gd name="T62" fmla="*/ 155 w 160"/>
                    <a:gd name="T63" fmla="*/ 97 h 158"/>
                    <a:gd name="T64" fmla="*/ 148 w 160"/>
                    <a:gd name="T65" fmla="*/ 111 h 158"/>
                    <a:gd name="T66" fmla="*/ 138 w 160"/>
                    <a:gd name="T67" fmla="*/ 126 h 158"/>
                    <a:gd name="T68" fmla="*/ 133 w 160"/>
                    <a:gd name="T69" fmla="*/ 132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0" h="158">
                      <a:moveTo>
                        <a:pt x="133" y="132"/>
                      </a:moveTo>
                      <a:lnTo>
                        <a:pt x="133" y="132"/>
                      </a:lnTo>
                      <a:lnTo>
                        <a:pt x="126" y="138"/>
                      </a:lnTo>
                      <a:lnTo>
                        <a:pt x="120" y="143"/>
                      </a:lnTo>
                      <a:lnTo>
                        <a:pt x="113" y="148"/>
                      </a:lnTo>
                      <a:lnTo>
                        <a:pt x="105" y="151"/>
                      </a:lnTo>
                      <a:lnTo>
                        <a:pt x="98" y="154"/>
                      </a:lnTo>
                      <a:lnTo>
                        <a:pt x="90" y="156"/>
                      </a:lnTo>
                      <a:lnTo>
                        <a:pt x="82" y="157"/>
                      </a:lnTo>
                      <a:lnTo>
                        <a:pt x="75" y="158"/>
                      </a:lnTo>
                      <a:lnTo>
                        <a:pt x="67" y="158"/>
                      </a:lnTo>
                      <a:lnTo>
                        <a:pt x="59" y="158"/>
                      </a:lnTo>
                      <a:lnTo>
                        <a:pt x="53" y="157"/>
                      </a:lnTo>
                      <a:lnTo>
                        <a:pt x="45" y="155"/>
                      </a:lnTo>
                      <a:lnTo>
                        <a:pt x="39" y="152"/>
                      </a:lnTo>
                      <a:lnTo>
                        <a:pt x="32" y="149"/>
                      </a:lnTo>
                      <a:lnTo>
                        <a:pt x="26" y="144"/>
                      </a:lnTo>
                      <a:lnTo>
                        <a:pt x="20" y="139"/>
                      </a:lnTo>
                      <a:lnTo>
                        <a:pt x="20" y="139"/>
                      </a:lnTo>
                      <a:lnTo>
                        <a:pt x="16" y="133"/>
                      </a:lnTo>
                      <a:lnTo>
                        <a:pt x="11" y="128"/>
                      </a:lnTo>
                      <a:lnTo>
                        <a:pt x="8" y="121"/>
                      </a:lnTo>
                      <a:lnTo>
                        <a:pt x="5" y="114"/>
                      </a:lnTo>
                      <a:lnTo>
                        <a:pt x="2" y="107"/>
                      </a:lnTo>
                      <a:lnTo>
                        <a:pt x="1" y="99"/>
                      </a:lnTo>
                      <a:lnTo>
                        <a:pt x="0" y="92"/>
                      </a:lnTo>
                      <a:lnTo>
                        <a:pt x="0" y="84"/>
                      </a:lnTo>
                      <a:lnTo>
                        <a:pt x="1" y="76"/>
                      </a:lnTo>
                      <a:lnTo>
                        <a:pt x="3" y="69"/>
                      </a:lnTo>
                      <a:lnTo>
                        <a:pt x="6" y="62"/>
                      </a:lnTo>
                      <a:lnTo>
                        <a:pt x="9" y="54"/>
                      </a:lnTo>
                      <a:lnTo>
                        <a:pt x="12" y="47"/>
                      </a:lnTo>
                      <a:lnTo>
                        <a:pt x="17" y="40"/>
                      </a:lnTo>
                      <a:lnTo>
                        <a:pt x="22" y="34"/>
                      </a:lnTo>
                      <a:lnTo>
                        <a:pt x="28" y="27"/>
                      </a:lnTo>
                      <a:lnTo>
                        <a:pt x="28" y="27"/>
                      </a:lnTo>
                      <a:lnTo>
                        <a:pt x="34" y="20"/>
                      </a:lnTo>
                      <a:lnTo>
                        <a:pt x="41" y="16"/>
                      </a:lnTo>
                      <a:lnTo>
                        <a:pt x="48" y="12"/>
                      </a:lnTo>
                      <a:lnTo>
                        <a:pt x="55" y="7"/>
                      </a:lnTo>
                      <a:lnTo>
                        <a:pt x="63" y="4"/>
                      </a:lnTo>
                      <a:lnTo>
                        <a:pt x="70" y="2"/>
                      </a:lnTo>
                      <a:lnTo>
                        <a:pt x="78" y="1"/>
                      </a:lnTo>
                      <a:lnTo>
                        <a:pt x="86" y="0"/>
                      </a:lnTo>
                      <a:lnTo>
                        <a:pt x="93" y="0"/>
                      </a:lnTo>
                      <a:lnTo>
                        <a:pt x="101" y="0"/>
                      </a:lnTo>
                      <a:lnTo>
                        <a:pt x="108" y="2"/>
                      </a:lnTo>
                      <a:lnTo>
                        <a:pt x="115" y="4"/>
                      </a:lnTo>
                      <a:lnTo>
                        <a:pt x="122" y="6"/>
                      </a:lnTo>
                      <a:lnTo>
                        <a:pt x="128" y="9"/>
                      </a:lnTo>
                      <a:lnTo>
                        <a:pt x="135" y="14"/>
                      </a:lnTo>
                      <a:lnTo>
                        <a:pt x="140" y="19"/>
                      </a:lnTo>
                      <a:lnTo>
                        <a:pt x="140" y="19"/>
                      </a:lnTo>
                      <a:lnTo>
                        <a:pt x="145" y="25"/>
                      </a:lnTo>
                      <a:lnTo>
                        <a:pt x="149" y="31"/>
                      </a:lnTo>
                      <a:lnTo>
                        <a:pt x="154" y="38"/>
                      </a:lnTo>
                      <a:lnTo>
                        <a:pt x="156" y="44"/>
                      </a:lnTo>
                      <a:lnTo>
                        <a:pt x="158" y="51"/>
                      </a:lnTo>
                      <a:lnTo>
                        <a:pt x="159" y="59"/>
                      </a:lnTo>
                      <a:lnTo>
                        <a:pt x="160" y="66"/>
                      </a:lnTo>
                      <a:lnTo>
                        <a:pt x="160" y="74"/>
                      </a:lnTo>
                      <a:lnTo>
                        <a:pt x="159" y="82"/>
                      </a:lnTo>
                      <a:lnTo>
                        <a:pt x="157" y="89"/>
                      </a:lnTo>
                      <a:lnTo>
                        <a:pt x="155" y="97"/>
                      </a:lnTo>
                      <a:lnTo>
                        <a:pt x="153" y="105"/>
                      </a:lnTo>
                      <a:lnTo>
                        <a:pt x="148" y="111"/>
                      </a:lnTo>
                      <a:lnTo>
                        <a:pt x="144" y="119"/>
                      </a:lnTo>
                      <a:lnTo>
                        <a:pt x="138" y="126"/>
                      </a:lnTo>
                      <a:lnTo>
                        <a:pt x="133" y="132"/>
                      </a:lnTo>
                      <a:lnTo>
                        <a:pt x="133" y="13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8" name="Freeform 44"/>
                <p:cNvSpPr>
                  <a:spLocks/>
                </p:cNvSpPr>
                <p:nvPr/>
              </p:nvSpPr>
              <p:spPr bwMode="auto">
                <a:xfrm>
                  <a:off x="3554413" y="2606675"/>
                  <a:ext cx="31750" cy="31750"/>
                </a:xfrm>
                <a:custGeom>
                  <a:avLst/>
                  <a:gdLst>
                    <a:gd name="T0" fmla="*/ 128 w 162"/>
                    <a:gd name="T1" fmla="*/ 137 h 157"/>
                    <a:gd name="T2" fmla="*/ 113 w 162"/>
                    <a:gd name="T3" fmla="*/ 146 h 157"/>
                    <a:gd name="T4" fmla="*/ 98 w 162"/>
                    <a:gd name="T5" fmla="*/ 153 h 157"/>
                    <a:gd name="T6" fmla="*/ 82 w 162"/>
                    <a:gd name="T7" fmla="*/ 157 h 157"/>
                    <a:gd name="T8" fmla="*/ 67 w 162"/>
                    <a:gd name="T9" fmla="*/ 157 h 157"/>
                    <a:gd name="T10" fmla="*/ 52 w 162"/>
                    <a:gd name="T11" fmla="*/ 155 h 157"/>
                    <a:gd name="T12" fmla="*/ 38 w 162"/>
                    <a:gd name="T13" fmla="*/ 151 h 157"/>
                    <a:gd name="T14" fmla="*/ 25 w 162"/>
                    <a:gd name="T15" fmla="*/ 142 h 157"/>
                    <a:gd name="T16" fmla="*/ 15 w 162"/>
                    <a:gd name="T17" fmla="*/ 132 h 157"/>
                    <a:gd name="T18" fmla="*/ 11 w 162"/>
                    <a:gd name="T19" fmla="*/ 125 h 157"/>
                    <a:gd name="T20" fmla="*/ 4 w 162"/>
                    <a:gd name="T21" fmla="*/ 112 h 157"/>
                    <a:gd name="T22" fmla="*/ 1 w 162"/>
                    <a:gd name="T23" fmla="*/ 98 h 157"/>
                    <a:gd name="T24" fmla="*/ 1 w 162"/>
                    <a:gd name="T25" fmla="*/ 83 h 157"/>
                    <a:gd name="T26" fmla="*/ 3 w 162"/>
                    <a:gd name="T27" fmla="*/ 67 h 157"/>
                    <a:gd name="T28" fmla="*/ 9 w 162"/>
                    <a:gd name="T29" fmla="*/ 53 h 157"/>
                    <a:gd name="T30" fmla="*/ 17 w 162"/>
                    <a:gd name="T31" fmla="*/ 39 h 157"/>
                    <a:gd name="T32" fmla="*/ 28 w 162"/>
                    <a:gd name="T33" fmla="*/ 27 h 157"/>
                    <a:gd name="T34" fmla="*/ 35 w 162"/>
                    <a:gd name="T35" fmla="*/ 20 h 157"/>
                    <a:gd name="T36" fmla="*/ 49 w 162"/>
                    <a:gd name="T37" fmla="*/ 11 h 157"/>
                    <a:gd name="T38" fmla="*/ 65 w 162"/>
                    <a:gd name="T39" fmla="*/ 5 h 157"/>
                    <a:gd name="T40" fmla="*/ 80 w 162"/>
                    <a:gd name="T41" fmla="*/ 1 h 157"/>
                    <a:gd name="T42" fmla="*/ 95 w 162"/>
                    <a:gd name="T43" fmla="*/ 0 h 157"/>
                    <a:gd name="T44" fmla="*/ 111 w 162"/>
                    <a:gd name="T45" fmla="*/ 3 h 157"/>
                    <a:gd name="T46" fmla="*/ 125 w 162"/>
                    <a:gd name="T47" fmla="*/ 7 h 157"/>
                    <a:gd name="T48" fmla="*/ 137 w 162"/>
                    <a:gd name="T49" fmla="*/ 16 h 157"/>
                    <a:gd name="T50" fmla="*/ 148 w 162"/>
                    <a:gd name="T51" fmla="*/ 26 h 157"/>
                    <a:gd name="T52" fmla="*/ 152 w 162"/>
                    <a:gd name="T53" fmla="*/ 32 h 157"/>
                    <a:gd name="T54" fmla="*/ 159 w 162"/>
                    <a:gd name="T55" fmla="*/ 45 h 157"/>
                    <a:gd name="T56" fmla="*/ 162 w 162"/>
                    <a:gd name="T57" fmla="*/ 60 h 157"/>
                    <a:gd name="T58" fmla="*/ 162 w 162"/>
                    <a:gd name="T59" fmla="*/ 75 h 157"/>
                    <a:gd name="T60" fmla="*/ 159 w 162"/>
                    <a:gd name="T61" fmla="*/ 90 h 157"/>
                    <a:gd name="T62" fmla="*/ 153 w 162"/>
                    <a:gd name="T63" fmla="*/ 105 h 157"/>
                    <a:gd name="T64" fmla="*/ 146 w 162"/>
                    <a:gd name="T65" fmla="*/ 119 h 157"/>
                    <a:gd name="T66" fmla="*/ 134 w 162"/>
                    <a:gd name="T67" fmla="*/ 131 h 157"/>
                    <a:gd name="T68" fmla="*/ 128 w 162"/>
                    <a:gd name="T69" fmla="*/ 137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2" h="157">
                      <a:moveTo>
                        <a:pt x="128" y="137"/>
                      </a:moveTo>
                      <a:lnTo>
                        <a:pt x="128" y="137"/>
                      </a:lnTo>
                      <a:lnTo>
                        <a:pt x="120" y="142"/>
                      </a:lnTo>
                      <a:lnTo>
                        <a:pt x="113" y="146"/>
                      </a:lnTo>
                      <a:lnTo>
                        <a:pt x="106" y="151"/>
                      </a:lnTo>
                      <a:lnTo>
                        <a:pt x="98" y="153"/>
                      </a:lnTo>
                      <a:lnTo>
                        <a:pt x="91" y="155"/>
                      </a:lnTo>
                      <a:lnTo>
                        <a:pt x="82" y="157"/>
                      </a:lnTo>
                      <a:lnTo>
                        <a:pt x="74" y="157"/>
                      </a:lnTo>
                      <a:lnTo>
                        <a:pt x="67" y="157"/>
                      </a:lnTo>
                      <a:lnTo>
                        <a:pt x="59" y="157"/>
                      </a:lnTo>
                      <a:lnTo>
                        <a:pt x="52" y="155"/>
                      </a:lnTo>
                      <a:lnTo>
                        <a:pt x="45" y="153"/>
                      </a:lnTo>
                      <a:lnTo>
                        <a:pt x="38" y="151"/>
                      </a:lnTo>
                      <a:lnTo>
                        <a:pt x="32" y="146"/>
                      </a:lnTo>
                      <a:lnTo>
                        <a:pt x="25" y="142"/>
                      </a:lnTo>
                      <a:lnTo>
                        <a:pt x="20" y="137"/>
                      </a:lnTo>
                      <a:lnTo>
                        <a:pt x="15" y="132"/>
                      </a:lnTo>
                      <a:lnTo>
                        <a:pt x="15" y="132"/>
                      </a:lnTo>
                      <a:lnTo>
                        <a:pt x="11" y="125"/>
                      </a:lnTo>
                      <a:lnTo>
                        <a:pt x="6" y="119"/>
                      </a:lnTo>
                      <a:lnTo>
                        <a:pt x="4" y="112"/>
                      </a:lnTo>
                      <a:lnTo>
                        <a:pt x="2" y="105"/>
                      </a:lnTo>
                      <a:lnTo>
                        <a:pt x="1" y="98"/>
                      </a:lnTo>
                      <a:lnTo>
                        <a:pt x="0" y="90"/>
                      </a:lnTo>
                      <a:lnTo>
                        <a:pt x="1" y="83"/>
                      </a:lnTo>
                      <a:lnTo>
                        <a:pt x="2" y="75"/>
                      </a:lnTo>
                      <a:lnTo>
                        <a:pt x="3" y="67"/>
                      </a:lnTo>
                      <a:lnTo>
                        <a:pt x="5" y="61"/>
                      </a:lnTo>
                      <a:lnTo>
                        <a:pt x="9" y="53"/>
                      </a:lnTo>
                      <a:lnTo>
                        <a:pt x="13" y="45"/>
                      </a:lnTo>
                      <a:lnTo>
                        <a:pt x="17" y="39"/>
                      </a:lnTo>
                      <a:lnTo>
                        <a:pt x="23" y="32"/>
                      </a:lnTo>
                      <a:lnTo>
                        <a:pt x="28" y="27"/>
                      </a:lnTo>
                      <a:lnTo>
                        <a:pt x="35" y="20"/>
                      </a:lnTo>
                      <a:lnTo>
                        <a:pt x="35" y="20"/>
                      </a:lnTo>
                      <a:lnTo>
                        <a:pt x="42" y="16"/>
                      </a:lnTo>
                      <a:lnTo>
                        <a:pt x="49" y="11"/>
                      </a:lnTo>
                      <a:lnTo>
                        <a:pt x="57" y="8"/>
                      </a:lnTo>
                      <a:lnTo>
                        <a:pt x="65" y="5"/>
                      </a:lnTo>
                      <a:lnTo>
                        <a:pt x="72" y="3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5" y="0"/>
                      </a:lnTo>
                      <a:lnTo>
                        <a:pt x="103" y="1"/>
                      </a:lnTo>
                      <a:lnTo>
                        <a:pt x="111" y="3"/>
                      </a:lnTo>
                      <a:lnTo>
                        <a:pt x="117" y="5"/>
                      </a:lnTo>
                      <a:lnTo>
                        <a:pt x="125" y="7"/>
                      </a:lnTo>
                      <a:lnTo>
                        <a:pt x="131" y="11"/>
                      </a:lnTo>
                      <a:lnTo>
                        <a:pt x="137" y="16"/>
                      </a:lnTo>
                      <a:lnTo>
                        <a:pt x="142" y="20"/>
                      </a:lnTo>
                      <a:lnTo>
                        <a:pt x="148" y="26"/>
                      </a:lnTo>
                      <a:lnTo>
                        <a:pt x="148" y="26"/>
                      </a:lnTo>
                      <a:lnTo>
                        <a:pt x="152" y="32"/>
                      </a:lnTo>
                      <a:lnTo>
                        <a:pt x="155" y="39"/>
                      </a:lnTo>
                      <a:lnTo>
                        <a:pt x="159" y="45"/>
                      </a:lnTo>
                      <a:lnTo>
                        <a:pt x="161" y="53"/>
                      </a:lnTo>
                      <a:lnTo>
                        <a:pt x="162" y="60"/>
                      </a:lnTo>
                      <a:lnTo>
                        <a:pt x="162" y="67"/>
                      </a:lnTo>
                      <a:lnTo>
                        <a:pt x="162" y="75"/>
                      </a:lnTo>
                      <a:lnTo>
                        <a:pt x="161" y="83"/>
                      </a:lnTo>
                      <a:lnTo>
                        <a:pt x="159" y="90"/>
                      </a:lnTo>
                      <a:lnTo>
                        <a:pt x="157" y="98"/>
                      </a:lnTo>
                      <a:lnTo>
                        <a:pt x="153" y="105"/>
                      </a:lnTo>
                      <a:lnTo>
                        <a:pt x="150" y="112"/>
                      </a:lnTo>
                      <a:lnTo>
                        <a:pt x="146" y="119"/>
                      </a:lnTo>
                      <a:lnTo>
                        <a:pt x="140" y="125"/>
                      </a:lnTo>
                      <a:lnTo>
                        <a:pt x="134" y="131"/>
                      </a:lnTo>
                      <a:lnTo>
                        <a:pt x="128" y="137"/>
                      </a:lnTo>
                      <a:lnTo>
                        <a:pt x="128" y="13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09" name="Freeform 45"/>
                <p:cNvSpPr>
                  <a:spLocks/>
                </p:cNvSpPr>
                <p:nvPr/>
              </p:nvSpPr>
              <p:spPr bwMode="auto">
                <a:xfrm>
                  <a:off x="3559176" y="2582863"/>
                  <a:ext cx="31750" cy="33338"/>
                </a:xfrm>
                <a:custGeom>
                  <a:avLst/>
                  <a:gdLst>
                    <a:gd name="T0" fmla="*/ 137 w 157"/>
                    <a:gd name="T1" fmla="*/ 127 h 163"/>
                    <a:gd name="T2" fmla="*/ 126 w 157"/>
                    <a:gd name="T3" fmla="*/ 139 h 163"/>
                    <a:gd name="T4" fmla="*/ 113 w 157"/>
                    <a:gd name="T5" fmla="*/ 149 h 163"/>
                    <a:gd name="T6" fmla="*/ 99 w 157"/>
                    <a:gd name="T7" fmla="*/ 157 h 163"/>
                    <a:gd name="T8" fmla="*/ 83 w 157"/>
                    <a:gd name="T9" fmla="*/ 161 h 163"/>
                    <a:gd name="T10" fmla="*/ 69 w 157"/>
                    <a:gd name="T11" fmla="*/ 163 h 163"/>
                    <a:gd name="T12" fmla="*/ 54 w 157"/>
                    <a:gd name="T13" fmla="*/ 161 h 163"/>
                    <a:gd name="T14" fmla="*/ 39 w 157"/>
                    <a:gd name="T15" fmla="*/ 157 h 163"/>
                    <a:gd name="T16" fmla="*/ 26 w 157"/>
                    <a:gd name="T17" fmla="*/ 149 h 163"/>
                    <a:gd name="T18" fmla="*/ 21 w 157"/>
                    <a:gd name="T19" fmla="*/ 145 h 163"/>
                    <a:gd name="T20" fmla="*/ 11 w 157"/>
                    <a:gd name="T21" fmla="*/ 132 h 163"/>
                    <a:gd name="T22" fmla="*/ 4 w 157"/>
                    <a:gd name="T23" fmla="*/ 119 h 163"/>
                    <a:gd name="T24" fmla="*/ 1 w 157"/>
                    <a:gd name="T25" fmla="*/ 105 h 163"/>
                    <a:gd name="T26" fmla="*/ 0 w 157"/>
                    <a:gd name="T27" fmla="*/ 90 h 163"/>
                    <a:gd name="T28" fmla="*/ 1 w 157"/>
                    <a:gd name="T29" fmla="*/ 74 h 163"/>
                    <a:gd name="T30" fmla="*/ 6 w 157"/>
                    <a:gd name="T31" fmla="*/ 59 h 163"/>
                    <a:gd name="T32" fmla="*/ 14 w 157"/>
                    <a:gd name="T33" fmla="*/ 44 h 163"/>
                    <a:gd name="T34" fmla="*/ 19 w 157"/>
                    <a:gd name="T35" fmla="*/ 36 h 163"/>
                    <a:gd name="T36" fmla="*/ 31 w 157"/>
                    <a:gd name="T37" fmla="*/ 24 h 163"/>
                    <a:gd name="T38" fmla="*/ 44 w 157"/>
                    <a:gd name="T39" fmla="*/ 14 h 163"/>
                    <a:gd name="T40" fmla="*/ 58 w 157"/>
                    <a:gd name="T41" fmla="*/ 6 h 163"/>
                    <a:gd name="T42" fmla="*/ 72 w 157"/>
                    <a:gd name="T43" fmla="*/ 2 h 163"/>
                    <a:gd name="T44" fmla="*/ 88 w 157"/>
                    <a:gd name="T45" fmla="*/ 0 h 163"/>
                    <a:gd name="T46" fmla="*/ 102 w 157"/>
                    <a:gd name="T47" fmla="*/ 2 h 163"/>
                    <a:gd name="T48" fmla="*/ 116 w 157"/>
                    <a:gd name="T49" fmla="*/ 6 h 163"/>
                    <a:gd name="T50" fmla="*/ 129 w 157"/>
                    <a:gd name="T51" fmla="*/ 14 h 163"/>
                    <a:gd name="T52" fmla="*/ 135 w 157"/>
                    <a:gd name="T53" fmla="*/ 18 h 163"/>
                    <a:gd name="T54" fmla="*/ 145 w 157"/>
                    <a:gd name="T55" fmla="*/ 31 h 163"/>
                    <a:gd name="T56" fmla="*/ 151 w 157"/>
                    <a:gd name="T57" fmla="*/ 44 h 163"/>
                    <a:gd name="T58" fmla="*/ 156 w 157"/>
                    <a:gd name="T59" fmla="*/ 58 h 163"/>
                    <a:gd name="T60" fmla="*/ 157 w 157"/>
                    <a:gd name="T61" fmla="*/ 73 h 163"/>
                    <a:gd name="T62" fmla="*/ 154 w 157"/>
                    <a:gd name="T63" fmla="*/ 89 h 163"/>
                    <a:gd name="T64" fmla="*/ 150 w 157"/>
                    <a:gd name="T65" fmla="*/ 104 h 163"/>
                    <a:gd name="T66" fmla="*/ 142 w 157"/>
                    <a:gd name="T67" fmla="*/ 119 h 163"/>
                    <a:gd name="T68" fmla="*/ 137 w 157"/>
                    <a:gd name="T69" fmla="*/ 127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7" h="163">
                      <a:moveTo>
                        <a:pt x="137" y="127"/>
                      </a:moveTo>
                      <a:lnTo>
                        <a:pt x="137" y="127"/>
                      </a:lnTo>
                      <a:lnTo>
                        <a:pt x="131" y="134"/>
                      </a:lnTo>
                      <a:lnTo>
                        <a:pt x="126" y="139"/>
                      </a:lnTo>
                      <a:lnTo>
                        <a:pt x="119" y="145"/>
                      </a:lnTo>
                      <a:lnTo>
                        <a:pt x="113" y="149"/>
                      </a:lnTo>
                      <a:lnTo>
                        <a:pt x="105" y="153"/>
                      </a:lnTo>
                      <a:lnTo>
                        <a:pt x="99" y="157"/>
                      </a:lnTo>
                      <a:lnTo>
                        <a:pt x="91" y="159"/>
                      </a:lnTo>
                      <a:lnTo>
                        <a:pt x="83" y="161"/>
                      </a:lnTo>
                      <a:lnTo>
                        <a:pt x="75" y="162"/>
                      </a:lnTo>
                      <a:lnTo>
                        <a:pt x="69" y="163"/>
                      </a:lnTo>
                      <a:lnTo>
                        <a:pt x="61" y="162"/>
                      </a:lnTo>
                      <a:lnTo>
                        <a:pt x="54" y="161"/>
                      </a:lnTo>
                      <a:lnTo>
                        <a:pt x="47" y="160"/>
                      </a:lnTo>
                      <a:lnTo>
                        <a:pt x="39" y="157"/>
                      </a:lnTo>
                      <a:lnTo>
                        <a:pt x="33" y="153"/>
                      </a:lnTo>
                      <a:lnTo>
                        <a:pt x="26" y="149"/>
                      </a:lnTo>
                      <a:lnTo>
                        <a:pt x="26" y="149"/>
                      </a:lnTo>
                      <a:lnTo>
                        <a:pt x="21" y="145"/>
                      </a:lnTo>
                      <a:lnTo>
                        <a:pt x="15" y="139"/>
                      </a:lnTo>
                      <a:lnTo>
                        <a:pt x="11" y="132"/>
                      </a:lnTo>
                      <a:lnTo>
                        <a:pt x="8" y="126"/>
                      </a:lnTo>
                      <a:lnTo>
                        <a:pt x="4" y="119"/>
                      </a:lnTo>
                      <a:lnTo>
                        <a:pt x="2" y="113"/>
                      </a:lnTo>
                      <a:lnTo>
                        <a:pt x="1" y="105"/>
                      </a:lnTo>
                      <a:lnTo>
                        <a:pt x="0" y="97"/>
                      </a:lnTo>
                      <a:lnTo>
                        <a:pt x="0" y="90"/>
                      </a:lnTo>
                      <a:lnTo>
                        <a:pt x="0" y="82"/>
                      </a:lnTo>
                      <a:lnTo>
                        <a:pt x="1" y="74"/>
                      </a:lnTo>
                      <a:lnTo>
                        <a:pt x="3" y="67"/>
                      </a:lnTo>
                      <a:lnTo>
                        <a:pt x="6" y="59"/>
                      </a:lnTo>
                      <a:lnTo>
                        <a:pt x="10" y="51"/>
                      </a:lnTo>
                      <a:lnTo>
                        <a:pt x="14" y="44"/>
                      </a:lnTo>
                      <a:lnTo>
                        <a:pt x="19" y="36"/>
                      </a:lnTo>
                      <a:lnTo>
                        <a:pt x="19" y="36"/>
                      </a:lnTo>
                      <a:lnTo>
                        <a:pt x="24" y="29"/>
                      </a:lnTo>
                      <a:lnTo>
                        <a:pt x="31" y="24"/>
                      </a:lnTo>
                      <a:lnTo>
                        <a:pt x="37" y="18"/>
                      </a:lnTo>
                      <a:lnTo>
                        <a:pt x="44" y="14"/>
                      </a:lnTo>
                      <a:lnTo>
                        <a:pt x="50" y="10"/>
                      </a:lnTo>
                      <a:lnTo>
                        <a:pt x="58" y="6"/>
                      </a:lnTo>
                      <a:lnTo>
                        <a:pt x="65" y="4"/>
                      </a:lnTo>
                      <a:lnTo>
                        <a:pt x="72" y="2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5" y="1"/>
                      </a:lnTo>
                      <a:lnTo>
                        <a:pt x="102" y="2"/>
                      </a:lnTo>
                      <a:lnTo>
                        <a:pt x="109" y="3"/>
                      </a:lnTo>
                      <a:lnTo>
                        <a:pt x="116" y="6"/>
                      </a:lnTo>
                      <a:lnTo>
                        <a:pt x="123" y="10"/>
                      </a:lnTo>
                      <a:lnTo>
                        <a:pt x="129" y="14"/>
                      </a:lnTo>
                      <a:lnTo>
                        <a:pt x="129" y="14"/>
                      </a:lnTo>
                      <a:lnTo>
                        <a:pt x="135" y="18"/>
                      </a:lnTo>
                      <a:lnTo>
                        <a:pt x="140" y="24"/>
                      </a:lnTo>
                      <a:lnTo>
                        <a:pt x="145" y="31"/>
                      </a:lnTo>
                      <a:lnTo>
                        <a:pt x="148" y="37"/>
                      </a:lnTo>
                      <a:lnTo>
                        <a:pt x="151" y="44"/>
                      </a:lnTo>
                      <a:lnTo>
                        <a:pt x="153" y="50"/>
                      </a:lnTo>
                      <a:lnTo>
                        <a:pt x="156" y="58"/>
                      </a:lnTo>
                      <a:lnTo>
                        <a:pt x="157" y="66"/>
                      </a:lnTo>
                      <a:lnTo>
                        <a:pt x="157" y="73"/>
                      </a:lnTo>
                      <a:lnTo>
                        <a:pt x="156" y="81"/>
                      </a:lnTo>
                      <a:lnTo>
                        <a:pt x="154" y="89"/>
                      </a:lnTo>
                      <a:lnTo>
                        <a:pt x="152" y="96"/>
                      </a:lnTo>
                      <a:lnTo>
                        <a:pt x="150" y="104"/>
                      </a:lnTo>
                      <a:lnTo>
                        <a:pt x="147" y="112"/>
                      </a:lnTo>
                      <a:lnTo>
                        <a:pt x="142" y="119"/>
                      </a:lnTo>
                      <a:lnTo>
                        <a:pt x="137" y="127"/>
                      </a:lnTo>
                      <a:lnTo>
                        <a:pt x="137" y="1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10" name="Freeform 46"/>
                <p:cNvSpPr>
                  <a:spLocks/>
                </p:cNvSpPr>
                <p:nvPr/>
              </p:nvSpPr>
              <p:spPr bwMode="auto">
                <a:xfrm>
                  <a:off x="3544888" y="2554288"/>
                  <a:ext cx="33338" cy="31750"/>
                </a:xfrm>
                <a:custGeom>
                  <a:avLst/>
                  <a:gdLst>
                    <a:gd name="T0" fmla="*/ 45 w 164"/>
                    <a:gd name="T1" fmla="*/ 142 h 154"/>
                    <a:gd name="T2" fmla="*/ 32 w 164"/>
                    <a:gd name="T3" fmla="*/ 132 h 154"/>
                    <a:gd name="T4" fmla="*/ 19 w 164"/>
                    <a:gd name="T5" fmla="*/ 120 h 154"/>
                    <a:gd name="T6" fmla="*/ 11 w 164"/>
                    <a:gd name="T7" fmla="*/ 107 h 154"/>
                    <a:gd name="T8" fmla="*/ 4 w 164"/>
                    <a:gd name="T9" fmla="*/ 92 h 154"/>
                    <a:gd name="T10" fmla="*/ 1 w 164"/>
                    <a:gd name="T11" fmla="*/ 78 h 154"/>
                    <a:gd name="T12" fmla="*/ 0 w 164"/>
                    <a:gd name="T13" fmla="*/ 63 h 154"/>
                    <a:gd name="T14" fmla="*/ 3 w 164"/>
                    <a:gd name="T15" fmla="*/ 49 h 154"/>
                    <a:gd name="T16" fmla="*/ 8 w 164"/>
                    <a:gd name="T17" fmla="*/ 34 h 154"/>
                    <a:gd name="T18" fmla="*/ 13 w 164"/>
                    <a:gd name="T19" fmla="*/ 28 h 154"/>
                    <a:gd name="T20" fmla="*/ 23 w 164"/>
                    <a:gd name="T21" fmla="*/ 18 h 154"/>
                    <a:gd name="T22" fmla="*/ 36 w 164"/>
                    <a:gd name="T23" fmla="*/ 9 h 154"/>
                    <a:gd name="T24" fmla="*/ 49 w 164"/>
                    <a:gd name="T25" fmla="*/ 4 h 154"/>
                    <a:gd name="T26" fmla="*/ 64 w 164"/>
                    <a:gd name="T27" fmla="*/ 0 h 154"/>
                    <a:gd name="T28" fmla="*/ 80 w 164"/>
                    <a:gd name="T29" fmla="*/ 0 h 154"/>
                    <a:gd name="T30" fmla="*/ 96 w 164"/>
                    <a:gd name="T31" fmla="*/ 3 h 154"/>
                    <a:gd name="T32" fmla="*/ 112 w 164"/>
                    <a:gd name="T33" fmla="*/ 9 h 154"/>
                    <a:gd name="T34" fmla="*/ 119 w 164"/>
                    <a:gd name="T35" fmla="*/ 12 h 154"/>
                    <a:gd name="T36" fmla="*/ 133 w 164"/>
                    <a:gd name="T37" fmla="*/ 22 h 154"/>
                    <a:gd name="T38" fmla="*/ 145 w 164"/>
                    <a:gd name="T39" fmla="*/ 34 h 154"/>
                    <a:gd name="T40" fmla="*/ 154 w 164"/>
                    <a:gd name="T41" fmla="*/ 47 h 154"/>
                    <a:gd name="T42" fmla="*/ 161 w 164"/>
                    <a:gd name="T43" fmla="*/ 62 h 154"/>
                    <a:gd name="T44" fmla="*/ 164 w 164"/>
                    <a:gd name="T45" fmla="*/ 76 h 154"/>
                    <a:gd name="T46" fmla="*/ 164 w 164"/>
                    <a:gd name="T47" fmla="*/ 91 h 154"/>
                    <a:gd name="T48" fmla="*/ 162 w 164"/>
                    <a:gd name="T49" fmla="*/ 106 h 154"/>
                    <a:gd name="T50" fmla="*/ 155 w 164"/>
                    <a:gd name="T51" fmla="*/ 120 h 154"/>
                    <a:gd name="T52" fmla="*/ 152 w 164"/>
                    <a:gd name="T53" fmla="*/ 126 h 154"/>
                    <a:gd name="T54" fmla="*/ 141 w 164"/>
                    <a:gd name="T55" fmla="*/ 136 h 154"/>
                    <a:gd name="T56" fmla="*/ 129 w 164"/>
                    <a:gd name="T57" fmla="*/ 145 h 154"/>
                    <a:gd name="T58" fmla="*/ 115 w 164"/>
                    <a:gd name="T59" fmla="*/ 150 h 154"/>
                    <a:gd name="T60" fmla="*/ 101 w 164"/>
                    <a:gd name="T61" fmla="*/ 154 h 154"/>
                    <a:gd name="T62" fmla="*/ 84 w 164"/>
                    <a:gd name="T63" fmla="*/ 154 h 154"/>
                    <a:gd name="T64" fmla="*/ 69 w 164"/>
                    <a:gd name="T65" fmla="*/ 152 h 154"/>
                    <a:gd name="T66" fmla="*/ 52 w 164"/>
                    <a:gd name="T67" fmla="*/ 145 h 154"/>
                    <a:gd name="T68" fmla="*/ 45 w 164"/>
                    <a:gd name="T69" fmla="*/ 142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4" h="154">
                      <a:moveTo>
                        <a:pt x="45" y="142"/>
                      </a:moveTo>
                      <a:lnTo>
                        <a:pt x="45" y="142"/>
                      </a:lnTo>
                      <a:lnTo>
                        <a:pt x="38" y="136"/>
                      </a:lnTo>
                      <a:lnTo>
                        <a:pt x="32" y="132"/>
                      </a:lnTo>
                      <a:lnTo>
                        <a:pt x="25" y="126"/>
                      </a:lnTo>
                      <a:lnTo>
                        <a:pt x="19" y="120"/>
                      </a:lnTo>
                      <a:lnTo>
                        <a:pt x="15" y="113"/>
                      </a:lnTo>
                      <a:lnTo>
                        <a:pt x="11" y="107"/>
                      </a:lnTo>
                      <a:lnTo>
                        <a:pt x="7" y="100"/>
                      </a:lnTo>
                      <a:lnTo>
                        <a:pt x="4" y="92"/>
                      </a:lnTo>
                      <a:lnTo>
                        <a:pt x="2" y="85"/>
                      </a:lnTo>
                      <a:lnTo>
                        <a:pt x="1" y="78"/>
                      </a:lnTo>
                      <a:lnTo>
                        <a:pt x="0" y="70"/>
                      </a:lnTo>
                      <a:lnTo>
                        <a:pt x="0" y="63"/>
                      </a:lnTo>
                      <a:lnTo>
                        <a:pt x="1" y="56"/>
                      </a:lnTo>
                      <a:lnTo>
                        <a:pt x="3" y="49"/>
                      </a:lnTo>
                      <a:lnTo>
                        <a:pt x="5" y="42"/>
                      </a:lnTo>
                      <a:lnTo>
                        <a:pt x="8" y="34"/>
                      </a:lnTo>
                      <a:lnTo>
                        <a:pt x="8" y="34"/>
                      </a:lnTo>
                      <a:lnTo>
                        <a:pt x="13" y="28"/>
                      </a:lnTo>
                      <a:lnTo>
                        <a:pt x="17" y="22"/>
                      </a:lnTo>
                      <a:lnTo>
                        <a:pt x="23" y="18"/>
                      </a:lnTo>
                      <a:lnTo>
                        <a:pt x="29" y="12"/>
                      </a:lnTo>
                      <a:lnTo>
                        <a:pt x="36" y="9"/>
                      </a:lnTo>
                      <a:lnTo>
                        <a:pt x="42" y="6"/>
                      </a:lnTo>
                      <a:lnTo>
                        <a:pt x="49" y="4"/>
                      </a:lnTo>
                      <a:lnTo>
                        <a:pt x="57" y="1"/>
                      </a:lnTo>
                      <a:lnTo>
                        <a:pt x="64" y="0"/>
                      </a:lnTo>
                      <a:lnTo>
                        <a:pt x="72" y="0"/>
                      </a:lnTo>
                      <a:lnTo>
                        <a:pt x="80" y="0"/>
                      </a:lnTo>
                      <a:lnTo>
                        <a:pt x="87" y="1"/>
                      </a:lnTo>
                      <a:lnTo>
                        <a:pt x="96" y="3"/>
                      </a:lnTo>
                      <a:lnTo>
                        <a:pt x="104" y="6"/>
                      </a:lnTo>
                      <a:lnTo>
                        <a:pt x="112" y="9"/>
                      </a:lnTo>
                      <a:lnTo>
                        <a:pt x="119" y="12"/>
                      </a:lnTo>
                      <a:lnTo>
                        <a:pt x="119" y="12"/>
                      </a:lnTo>
                      <a:lnTo>
                        <a:pt x="127" y="18"/>
                      </a:lnTo>
                      <a:lnTo>
                        <a:pt x="133" y="22"/>
                      </a:lnTo>
                      <a:lnTo>
                        <a:pt x="140" y="28"/>
                      </a:lnTo>
                      <a:lnTo>
                        <a:pt x="145" y="34"/>
                      </a:lnTo>
                      <a:lnTo>
                        <a:pt x="150" y="41"/>
                      </a:lnTo>
                      <a:lnTo>
                        <a:pt x="154" y="47"/>
                      </a:lnTo>
                      <a:lnTo>
                        <a:pt x="158" y="54"/>
                      </a:lnTo>
                      <a:lnTo>
                        <a:pt x="161" y="62"/>
                      </a:lnTo>
                      <a:lnTo>
                        <a:pt x="163" y="69"/>
                      </a:lnTo>
                      <a:lnTo>
                        <a:pt x="164" y="76"/>
                      </a:lnTo>
                      <a:lnTo>
                        <a:pt x="164" y="84"/>
                      </a:lnTo>
                      <a:lnTo>
                        <a:pt x="164" y="91"/>
                      </a:lnTo>
                      <a:lnTo>
                        <a:pt x="163" y="99"/>
                      </a:lnTo>
                      <a:lnTo>
                        <a:pt x="162" y="106"/>
                      </a:lnTo>
                      <a:lnTo>
                        <a:pt x="159" y="113"/>
                      </a:lnTo>
                      <a:lnTo>
                        <a:pt x="155" y="120"/>
                      </a:lnTo>
                      <a:lnTo>
                        <a:pt x="155" y="120"/>
                      </a:lnTo>
                      <a:lnTo>
                        <a:pt x="152" y="126"/>
                      </a:lnTo>
                      <a:lnTo>
                        <a:pt x="147" y="132"/>
                      </a:lnTo>
                      <a:lnTo>
                        <a:pt x="141" y="136"/>
                      </a:lnTo>
                      <a:lnTo>
                        <a:pt x="136" y="142"/>
                      </a:lnTo>
                      <a:lnTo>
                        <a:pt x="129" y="145"/>
                      </a:lnTo>
                      <a:lnTo>
                        <a:pt x="122" y="148"/>
                      </a:lnTo>
                      <a:lnTo>
                        <a:pt x="115" y="150"/>
                      </a:lnTo>
                      <a:lnTo>
                        <a:pt x="108" y="153"/>
                      </a:lnTo>
                      <a:lnTo>
                        <a:pt x="101" y="154"/>
                      </a:lnTo>
                      <a:lnTo>
                        <a:pt x="93" y="154"/>
                      </a:lnTo>
                      <a:lnTo>
                        <a:pt x="84" y="154"/>
                      </a:lnTo>
                      <a:lnTo>
                        <a:pt x="76" y="153"/>
                      </a:lnTo>
                      <a:lnTo>
                        <a:pt x="69" y="152"/>
                      </a:lnTo>
                      <a:lnTo>
                        <a:pt x="61" y="148"/>
                      </a:lnTo>
                      <a:lnTo>
                        <a:pt x="52" y="145"/>
                      </a:lnTo>
                      <a:lnTo>
                        <a:pt x="45" y="142"/>
                      </a:lnTo>
                      <a:lnTo>
                        <a:pt x="45" y="1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11" name="Freeform 47"/>
                <p:cNvSpPr>
                  <a:spLocks/>
                </p:cNvSpPr>
                <p:nvPr/>
              </p:nvSpPr>
              <p:spPr bwMode="auto">
                <a:xfrm>
                  <a:off x="3529013" y="2570163"/>
                  <a:ext cx="34925" cy="39688"/>
                </a:xfrm>
                <a:custGeom>
                  <a:avLst/>
                  <a:gdLst>
                    <a:gd name="T0" fmla="*/ 1 w 177"/>
                    <a:gd name="T1" fmla="*/ 108 h 202"/>
                    <a:gd name="T2" fmla="*/ 1 w 177"/>
                    <a:gd name="T3" fmla="*/ 88 h 202"/>
                    <a:gd name="T4" fmla="*/ 5 w 177"/>
                    <a:gd name="T5" fmla="*/ 68 h 202"/>
                    <a:gd name="T6" fmla="*/ 11 w 177"/>
                    <a:gd name="T7" fmla="*/ 51 h 202"/>
                    <a:gd name="T8" fmla="*/ 21 w 177"/>
                    <a:gd name="T9" fmla="*/ 35 h 202"/>
                    <a:gd name="T10" fmla="*/ 33 w 177"/>
                    <a:gd name="T11" fmla="*/ 22 h 202"/>
                    <a:gd name="T12" fmla="*/ 47 w 177"/>
                    <a:gd name="T13" fmla="*/ 11 h 202"/>
                    <a:gd name="T14" fmla="*/ 64 w 177"/>
                    <a:gd name="T15" fmla="*/ 5 h 202"/>
                    <a:gd name="T16" fmla="*/ 81 w 177"/>
                    <a:gd name="T17" fmla="*/ 1 h 202"/>
                    <a:gd name="T18" fmla="*/ 90 w 177"/>
                    <a:gd name="T19" fmla="*/ 0 h 202"/>
                    <a:gd name="T20" fmla="*/ 108 w 177"/>
                    <a:gd name="T21" fmla="*/ 4 h 202"/>
                    <a:gd name="T22" fmla="*/ 124 w 177"/>
                    <a:gd name="T23" fmla="*/ 10 h 202"/>
                    <a:gd name="T24" fmla="*/ 138 w 177"/>
                    <a:gd name="T25" fmla="*/ 19 h 202"/>
                    <a:gd name="T26" fmla="*/ 152 w 177"/>
                    <a:gd name="T27" fmla="*/ 32 h 202"/>
                    <a:gd name="T28" fmla="*/ 163 w 177"/>
                    <a:gd name="T29" fmla="*/ 47 h 202"/>
                    <a:gd name="T30" fmla="*/ 170 w 177"/>
                    <a:gd name="T31" fmla="*/ 65 h 202"/>
                    <a:gd name="T32" fmla="*/ 176 w 177"/>
                    <a:gd name="T33" fmla="*/ 84 h 202"/>
                    <a:gd name="T34" fmla="*/ 177 w 177"/>
                    <a:gd name="T35" fmla="*/ 95 h 202"/>
                    <a:gd name="T36" fmla="*/ 177 w 177"/>
                    <a:gd name="T37" fmla="*/ 114 h 202"/>
                    <a:gd name="T38" fmla="*/ 172 w 177"/>
                    <a:gd name="T39" fmla="*/ 134 h 202"/>
                    <a:gd name="T40" fmla="*/ 166 w 177"/>
                    <a:gd name="T41" fmla="*/ 152 h 202"/>
                    <a:gd name="T42" fmla="*/ 157 w 177"/>
                    <a:gd name="T43" fmla="*/ 167 h 202"/>
                    <a:gd name="T44" fmla="*/ 145 w 177"/>
                    <a:gd name="T45" fmla="*/ 180 h 202"/>
                    <a:gd name="T46" fmla="*/ 131 w 177"/>
                    <a:gd name="T47" fmla="*/ 191 h 202"/>
                    <a:gd name="T48" fmla="*/ 114 w 177"/>
                    <a:gd name="T49" fmla="*/ 198 h 202"/>
                    <a:gd name="T50" fmla="*/ 97 w 177"/>
                    <a:gd name="T51" fmla="*/ 201 h 202"/>
                    <a:gd name="T52" fmla="*/ 88 w 177"/>
                    <a:gd name="T53" fmla="*/ 202 h 202"/>
                    <a:gd name="T54" fmla="*/ 70 w 177"/>
                    <a:gd name="T55" fmla="*/ 199 h 202"/>
                    <a:gd name="T56" fmla="*/ 54 w 177"/>
                    <a:gd name="T57" fmla="*/ 192 h 202"/>
                    <a:gd name="T58" fmla="*/ 40 w 177"/>
                    <a:gd name="T59" fmla="*/ 182 h 202"/>
                    <a:gd name="T60" fmla="*/ 27 w 177"/>
                    <a:gd name="T61" fmla="*/ 170 h 202"/>
                    <a:gd name="T62" fmla="*/ 16 w 177"/>
                    <a:gd name="T63" fmla="*/ 155 h 202"/>
                    <a:gd name="T64" fmla="*/ 8 w 177"/>
                    <a:gd name="T65" fmla="*/ 137 h 202"/>
                    <a:gd name="T66" fmla="*/ 3 w 177"/>
                    <a:gd name="T67" fmla="*/ 119 h 202"/>
                    <a:gd name="T68" fmla="*/ 1 w 177"/>
                    <a:gd name="T69" fmla="*/ 108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7" h="202">
                      <a:moveTo>
                        <a:pt x="1" y="108"/>
                      </a:moveTo>
                      <a:lnTo>
                        <a:pt x="1" y="108"/>
                      </a:lnTo>
                      <a:lnTo>
                        <a:pt x="0" y="98"/>
                      </a:lnTo>
                      <a:lnTo>
                        <a:pt x="1" y="88"/>
                      </a:lnTo>
                      <a:lnTo>
                        <a:pt x="3" y="78"/>
                      </a:lnTo>
                      <a:lnTo>
                        <a:pt x="5" y="68"/>
                      </a:lnTo>
                      <a:lnTo>
                        <a:pt x="8" y="59"/>
                      </a:lnTo>
                      <a:lnTo>
                        <a:pt x="11" y="51"/>
                      </a:lnTo>
                      <a:lnTo>
                        <a:pt x="16" y="43"/>
                      </a:lnTo>
                      <a:lnTo>
                        <a:pt x="21" y="35"/>
                      </a:lnTo>
                      <a:lnTo>
                        <a:pt x="27" y="28"/>
                      </a:lnTo>
                      <a:lnTo>
                        <a:pt x="33" y="22"/>
                      </a:lnTo>
                      <a:lnTo>
                        <a:pt x="40" y="17"/>
                      </a:lnTo>
                      <a:lnTo>
                        <a:pt x="47" y="11"/>
                      </a:lnTo>
                      <a:lnTo>
                        <a:pt x="55" y="8"/>
                      </a:lnTo>
                      <a:lnTo>
                        <a:pt x="64" y="5"/>
                      </a:lnTo>
                      <a:lnTo>
                        <a:pt x="72" y="2"/>
                      </a:lnTo>
                      <a:lnTo>
                        <a:pt x="81" y="1"/>
                      </a:lnTo>
                      <a:lnTo>
                        <a:pt x="81" y="1"/>
                      </a:lnTo>
                      <a:lnTo>
                        <a:pt x="90" y="0"/>
                      </a:lnTo>
                      <a:lnTo>
                        <a:pt x="99" y="1"/>
                      </a:lnTo>
                      <a:lnTo>
                        <a:pt x="108" y="4"/>
                      </a:lnTo>
                      <a:lnTo>
                        <a:pt x="115" y="6"/>
                      </a:lnTo>
                      <a:lnTo>
                        <a:pt x="124" y="10"/>
                      </a:lnTo>
                      <a:lnTo>
                        <a:pt x="132" y="14"/>
                      </a:lnTo>
                      <a:lnTo>
                        <a:pt x="138" y="19"/>
                      </a:lnTo>
                      <a:lnTo>
                        <a:pt x="145" y="25"/>
                      </a:lnTo>
                      <a:lnTo>
                        <a:pt x="152" y="32"/>
                      </a:lnTo>
                      <a:lnTo>
                        <a:pt x="157" y="40"/>
                      </a:lnTo>
                      <a:lnTo>
                        <a:pt x="163" y="47"/>
                      </a:lnTo>
                      <a:lnTo>
                        <a:pt x="167" y="56"/>
                      </a:lnTo>
                      <a:lnTo>
                        <a:pt x="170" y="65"/>
                      </a:lnTo>
                      <a:lnTo>
                        <a:pt x="174" y="74"/>
                      </a:lnTo>
                      <a:lnTo>
                        <a:pt x="176" y="84"/>
                      </a:lnTo>
                      <a:lnTo>
                        <a:pt x="177" y="95"/>
                      </a:lnTo>
                      <a:lnTo>
                        <a:pt x="177" y="95"/>
                      </a:lnTo>
                      <a:lnTo>
                        <a:pt x="177" y="104"/>
                      </a:lnTo>
                      <a:lnTo>
                        <a:pt x="177" y="114"/>
                      </a:lnTo>
                      <a:lnTo>
                        <a:pt x="175" y="124"/>
                      </a:lnTo>
                      <a:lnTo>
                        <a:pt x="172" y="134"/>
                      </a:lnTo>
                      <a:lnTo>
                        <a:pt x="170" y="143"/>
                      </a:lnTo>
                      <a:lnTo>
                        <a:pt x="166" y="152"/>
                      </a:lnTo>
                      <a:lnTo>
                        <a:pt x="161" y="159"/>
                      </a:lnTo>
                      <a:lnTo>
                        <a:pt x="157" y="167"/>
                      </a:lnTo>
                      <a:lnTo>
                        <a:pt x="150" y="173"/>
                      </a:lnTo>
                      <a:lnTo>
                        <a:pt x="145" y="180"/>
                      </a:lnTo>
                      <a:lnTo>
                        <a:pt x="137" y="185"/>
                      </a:lnTo>
                      <a:lnTo>
                        <a:pt x="131" y="191"/>
                      </a:lnTo>
                      <a:lnTo>
                        <a:pt x="123" y="194"/>
                      </a:lnTo>
                      <a:lnTo>
                        <a:pt x="114" y="198"/>
                      </a:lnTo>
                      <a:lnTo>
                        <a:pt x="106" y="200"/>
                      </a:lnTo>
                      <a:lnTo>
                        <a:pt x="97" y="201"/>
                      </a:lnTo>
                      <a:lnTo>
                        <a:pt x="97" y="201"/>
                      </a:lnTo>
                      <a:lnTo>
                        <a:pt x="88" y="202"/>
                      </a:lnTo>
                      <a:lnTo>
                        <a:pt x="79" y="201"/>
                      </a:lnTo>
                      <a:lnTo>
                        <a:pt x="70" y="199"/>
                      </a:lnTo>
                      <a:lnTo>
                        <a:pt x="62" y="196"/>
                      </a:lnTo>
                      <a:lnTo>
                        <a:pt x="54" y="192"/>
                      </a:lnTo>
                      <a:lnTo>
                        <a:pt x="46" y="188"/>
                      </a:lnTo>
                      <a:lnTo>
                        <a:pt x="40" y="182"/>
                      </a:lnTo>
                      <a:lnTo>
                        <a:pt x="32" y="177"/>
                      </a:lnTo>
                      <a:lnTo>
                        <a:pt x="27" y="170"/>
                      </a:lnTo>
                      <a:lnTo>
                        <a:pt x="21" y="162"/>
                      </a:lnTo>
                      <a:lnTo>
                        <a:pt x="16" y="155"/>
                      </a:lnTo>
                      <a:lnTo>
                        <a:pt x="11" y="146"/>
                      </a:lnTo>
                      <a:lnTo>
                        <a:pt x="8" y="137"/>
                      </a:lnTo>
                      <a:lnTo>
                        <a:pt x="5" y="128"/>
                      </a:lnTo>
                      <a:lnTo>
                        <a:pt x="3" y="119"/>
                      </a:lnTo>
                      <a:lnTo>
                        <a:pt x="1" y="108"/>
                      </a:lnTo>
                      <a:lnTo>
                        <a:pt x="1" y="10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12" name="Freeform 48"/>
                <p:cNvSpPr>
                  <a:spLocks/>
                </p:cNvSpPr>
                <p:nvPr/>
              </p:nvSpPr>
              <p:spPr bwMode="auto">
                <a:xfrm>
                  <a:off x="3444876" y="2524125"/>
                  <a:ext cx="31750" cy="38100"/>
                </a:xfrm>
                <a:custGeom>
                  <a:avLst/>
                  <a:gdLst>
                    <a:gd name="T0" fmla="*/ 154 w 158"/>
                    <a:gd name="T1" fmla="*/ 119 h 199"/>
                    <a:gd name="T2" fmla="*/ 149 w 158"/>
                    <a:gd name="T3" fmla="*/ 137 h 199"/>
                    <a:gd name="T4" fmla="*/ 139 w 158"/>
                    <a:gd name="T5" fmla="*/ 155 h 199"/>
                    <a:gd name="T6" fmla="*/ 128 w 158"/>
                    <a:gd name="T7" fmla="*/ 170 h 199"/>
                    <a:gd name="T8" fmla="*/ 116 w 158"/>
                    <a:gd name="T9" fmla="*/ 182 h 199"/>
                    <a:gd name="T10" fmla="*/ 102 w 158"/>
                    <a:gd name="T11" fmla="*/ 191 h 199"/>
                    <a:gd name="T12" fmla="*/ 86 w 158"/>
                    <a:gd name="T13" fmla="*/ 197 h 199"/>
                    <a:gd name="T14" fmla="*/ 71 w 158"/>
                    <a:gd name="T15" fmla="*/ 199 h 199"/>
                    <a:gd name="T16" fmla="*/ 55 w 158"/>
                    <a:gd name="T17" fmla="*/ 198 h 199"/>
                    <a:gd name="T18" fmla="*/ 48 w 158"/>
                    <a:gd name="T19" fmla="*/ 194 h 199"/>
                    <a:gd name="T20" fmla="*/ 34 w 158"/>
                    <a:gd name="T21" fmla="*/ 188 h 199"/>
                    <a:gd name="T22" fmla="*/ 21 w 158"/>
                    <a:gd name="T23" fmla="*/ 177 h 199"/>
                    <a:gd name="T24" fmla="*/ 13 w 158"/>
                    <a:gd name="T25" fmla="*/ 163 h 199"/>
                    <a:gd name="T26" fmla="*/ 6 w 158"/>
                    <a:gd name="T27" fmla="*/ 147 h 199"/>
                    <a:gd name="T28" fmla="*/ 2 w 158"/>
                    <a:gd name="T29" fmla="*/ 130 h 199"/>
                    <a:gd name="T30" fmla="*/ 0 w 158"/>
                    <a:gd name="T31" fmla="*/ 111 h 199"/>
                    <a:gd name="T32" fmla="*/ 2 w 158"/>
                    <a:gd name="T33" fmla="*/ 91 h 199"/>
                    <a:gd name="T34" fmla="*/ 4 w 158"/>
                    <a:gd name="T35" fmla="*/ 81 h 199"/>
                    <a:gd name="T36" fmla="*/ 11 w 158"/>
                    <a:gd name="T37" fmla="*/ 62 h 199"/>
                    <a:gd name="T38" fmla="*/ 19 w 158"/>
                    <a:gd name="T39" fmla="*/ 44 h 199"/>
                    <a:gd name="T40" fmla="*/ 30 w 158"/>
                    <a:gd name="T41" fmla="*/ 30 h 199"/>
                    <a:gd name="T42" fmla="*/ 43 w 158"/>
                    <a:gd name="T43" fmla="*/ 18 h 199"/>
                    <a:gd name="T44" fmla="*/ 58 w 158"/>
                    <a:gd name="T45" fmla="*/ 8 h 199"/>
                    <a:gd name="T46" fmla="*/ 72 w 158"/>
                    <a:gd name="T47" fmla="*/ 3 h 199"/>
                    <a:gd name="T48" fmla="*/ 88 w 158"/>
                    <a:gd name="T49" fmla="*/ 0 h 199"/>
                    <a:gd name="T50" fmla="*/ 104 w 158"/>
                    <a:gd name="T51" fmla="*/ 3 h 199"/>
                    <a:gd name="T52" fmla="*/ 111 w 158"/>
                    <a:gd name="T53" fmla="*/ 5 h 199"/>
                    <a:gd name="T54" fmla="*/ 125 w 158"/>
                    <a:gd name="T55" fmla="*/ 12 h 199"/>
                    <a:gd name="T56" fmla="*/ 137 w 158"/>
                    <a:gd name="T57" fmla="*/ 23 h 199"/>
                    <a:gd name="T58" fmla="*/ 146 w 158"/>
                    <a:gd name="T59" fmla="*/ 37 h 199"/>
                    <a:gd name="T60" fmla="*/ 153 w 158"/>
                    <a:gd name="T61" fmla="*/ 52 h 199"/>
                    <a:gd name="T62" fmla="*/ 157 w 158"/>
                    <a:gd name="T63" fmla="*/ 69 h 199"/>
                    <a:gd name="T64" fmla="*/ 158 w 158"/>
                    <a:gd name="T65" fmla="*/ 89 h 199"/>
                    <a:gd name="T66" fmla="*/ 156 w 158"/>
                    <a:gd name="T67" fmla="*/ 109 h 199"/>
                    <a:gd name="T68" fmla="*/ 154 w 158"/>
                    <a:gd name="T69" fmla="*/ 119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58" h="199">
                      <a:moveTo>
                        <a:pt x="154" y="119"/>
                      </a:moveTo>
                      <a:lnTo>
                        <a:pt x="154" y="119"/>
                      </a:lnTo>
                      <a:lnTo>
                        <a:pt x="152" y="129"/>
                      </a:lnTo>
                      <a:lnTo>
                        <a:pt x="149" y="137"/>
                      </a:lnTo>
                      <a:lnTo>
                        <a:pt x="144" y="146"/>
                      </a:lnTo>
                      <a:lnTo>
                        <a:pt x="139" y="155"/>
                      </a:lnTo>
                      <a:lnTo>
                        <a:pt x="134" y="163"/>
                      </a:lnTo>
                      <a:lnTo>
                        <a:pt x="128" y="170"/>
                      </a:lnTo>
                      <a:lnTo>
                        <a:pt x="122" y="176"/>
                      </a:lnTo>
                      <a:lnTo>
                        <a:pt x="116" y="182"/>
                      </a:lnTo>
                      <a:lnTo>
                        <a:pt x="108" y="187"/>
                      </a:lnTo>
                      <a:lnTo>
                        <a:pt x="102" y="191"/>
                      </a:lnTo>
                      <a:lnTo>
                        <a:pt x="94" y="194"/>
                      </a:lnTo>
                      <a:lnTo>
                        <a:pt x="86" y="197"/>
                      </a:lnTo>
                      <a:lnTo>
                        <a:pt x="78" y="199"/>
                      </a:lnTo>
                      <a:lnTo>
                        <a:pt x="71" y="199"/>
                      </a:lnTo>
                      <a:lnTo>
                        <a:pt x="63" y="199"/>
                      </a:lnTo>
                      <a:lnTo>
                        <a:pt x="55" y="198"/>
                      </a:lnTo>
                      <a:lnTo>
                        <a:pt x="55" y="198"/>
                      </a:lnTo>
                      <a:lnTo>
                        <a:pt x="48" y="194"/>
                      </a:lnTo>
                      <a:lnTo>
                        <a:pt x="40" y="191"/>
                      </a:lnTo>
                      <a:lnTo>
                        <a:pt x="34" y="188"/>
                      </a:lnTo>
                      <a:lnTo>
                        <a:pt x="28" y="182"/>
                      </a:lnTo>
                      <a:lnTo>
                        <a:pt x="21" y="177"/>
                      </a:lnTo>
                      <a:lnTo>
                        <a:pt x="17" y="170"/>
                      </a:lnTo>
                      <a:lnTo>
                        <a:pt x="13" y="163"/>
                      </a:lnTo>
                      <a:lnTo>
                        <a:pt x="8" y="155"/>
                      </a:lnTo>
                      <a:lnTo>
                        <a:pt x="6" y="147"/>
                      </a:lnTo>
                      <a:lnTo>
                        <a:pt x="3" y="138"/>
                      </a:lnTo>
                      <a:lnTo>
                        <a:pt x="2" y="130"/>
                      </a:lnTo>
                      <a:lnTo>
                        <a:pt x="1" y="121"/>
                      </a:lnTo>
                      <a:lnTo>
                        <a:pt x="0" y="111"/>
                      </a:lnTo>
                      <a:lnTo>
                        <a:pt x="1" y="101"/>
                      </a:lnTo>
                      <a:lnTo>
                        <a:pt x="2" y="91"/>
                      </a:lnTo>
                      <a:lnTo>
                        <a:pt x="4" y="81"/>
                      </a:lnTo>
                      <a:lnTo>
                        <a:pt x="4" y="81"/>
                      </a:lnTo>
                      <a:lnTo>
                        <a:pt x="7" y="72"/>
                      </a:lnTo>
                      <a:lnTo>
                        <a:pt x="11" y="62"/>
                      </a:lnTo>
                      <a:lnTo>
                        <a:pt x="15" y="53"/>
                      </a:lnTo>
                      <a:lnTo>
                        <a:pt x="19" y="44"/>
                      </a:lnTo>
                      <a:lnTo>
                        <a:pt x="25" y="37"/>
                      </a:lnTo>
                      <a:lnTo>
                        <a:pt x="30" y="30"/>
                      </a:lnTo>
                      <a:lnTo>
                        <a:pt x="37" y="23"/>
                      </a:lnTo>
                      <a:lnTo>
                        <a:pt x="43" y="18"/>
                      </a:lnTo>
                      <a:lnTo>
                        <a:pt x="50" y="12"/>
                      </a:lnTo>
                      <a:lnTo>
                        <a:pt x="58" y="8"/>
                      </a:lnTo>
                      <a:lnTo>
                        <a:pt x="64" y="5"/>
                      </a:lnTo>
                      <a:lnTo>
                        <a:pt x="72" y="3"/>
                      </a:lnTo>
                      <a:lnTo>
                        <a:pt x="80" y="1"/>
                      </a:lnTo>
                      <a:lnTo>
                        <a:pt x="88" y="0"/>
                      </a:lnTo>
                      <a:lnTo>
                        <a:pt x="96" y="0"/>
                      </a:lnTo>
                      <a:lnTo>
                        <a:pt x="104" y="3"/>
                      </a:lnTo>
                      <a:lnTo>
                        <a:pt x="104" y="3"/>
                      </a:lnTo>
                      <a:lnTo>
                        <a:pt x="111" y="5"/>
                      </a:lnTo>
                      <a:lnTo>
                        <a:pt x="118" y="8"/>
                      </a:lnTo>
                      <a:lnTo>
                        <a:pt x="125" y="12"/>
                      </a:lnTo>
                      <a:lnTo>
                        <a:pt x="131" y="17"/>
                      </a:lnTo>
                      <a:lnTo>
                        <a:pt x="137" y="23"/>
                      </a:lnTo>
                      <a:lnTo>
                        <a:pt x="142" y="30"/>
                      </a:lnTo>
                      <a:lnTo>
                        <a:pt x="146" y="37"/>
                      </a:lnTo>
                      <a:lnTo>
                        <a:pt x="150" y="44"/>
                      </a:lnTo>
                      <a:lnTo>
                        <a:pt x="153" y="52"/>
                      </a:lnTo>
                      <a:lnTo>
                        <a:pt x="155" y="61"/>
                      </a:lnTo>
                      <a:lnTo>
                        <a:pt x="157" y="69"/>
                      </a:lnTo>
                      <a:lnTo>
                        <a:pt x="158" y="79"/>
                      </a:lnTo>
                      <a:lnTo>
                        <a:pt x="158" y="89"/>
                      </a:lnTo>
                      <a:lnTo>
                        <a:pt x="158" y="99"/>
                      </a:lnTo>
                      <a:lnTo>
                        <a:pt x="156" y="109"/>
                      </a:lnTo>
                      <a:lnTo>
                        <a:pt x="154" y="119"/>
                      </a:lnTo>
                      <a:lnTo>
                        <a:pt x="154" y="1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  <p:sp>
              <p:nvSpPr>
                <p:cNvPr id="113" name="Freeform 49"/>
                <p:cNvSpPr>
                  <a:spLocks/>
                </p:cNvSpPr>
                <p:nvPr/>
              </p:nvSpPr>
              <p:spPr bwMode="auto">
                <a:xfrm>
                  <a:off x="3382963" y="2647950"/>
                  <a:ext cx="109538" cy="53975"/>
                </a:xfrm>
                <a:custGeom>
                  <a:avLst/>
                  <a:gdLst>
                    <a:gd name="T0" fmla="*/ 0 w 551"/>
                    <a:gd name="T1" fmla="*/ 36 h 271"/>
                    <a:gd name="T2" fmla="*/ 3 w 551"/>
                    <a:gd name="T3" fmla="*/ 50 h 271"/>
                    <a:gd name="T4" fmla="*/ 9 w 551"/>
                    <a:gd name="T5" fmla="*/ 63 h 271"/>
                    <a:gd name="T6" fmla="*/ 20 w 551"/>
                    <a:gd name="T7" fmla="*/ 76 h 271"/>
                    <a:gd name="T8" fmla="*/ 39 w 551"/>
                    <a:gd name="T9" fmla="*/ 85 h 271"/>
                    <a:gd name="T10" fmla="*/ 66 w 551"/>
                    <a:gd name="T11" fmla="*/ 88 h 271"/>
                    <a:gd name="T12" fmla="*/ 103 w 551"/>
                    <a:gd name="T13" fmla="*/ 83 h 271"/>
                    <a:gd name="T14" fmla="*/ 153 w 551"/>
                    <a:gd name="T15" fmla="*/ 64 h 271"/>
                    <a:gd name="T16" fmla="*/ 215 w 551"/>
                    <a:gd name="T17" fmla="*/ 36 h 271"/>
                    <a:gd name="T18" fmla="*/ 267 w 551"/>
                    <a:gd name="T19" fmla="*/ 13 h 271"/>
                    <a:gd name="T20" fmla="*/ 272 w 551"/>
                    <a:gd name="T21" fmla="*/ 11 h 271"/>
                    <a:gd name="T22" fmla="*/ 311 w 551"/>
                    <a:gd name="T23" fmla="*/ 2 h 271"/>
                    <a:gd name="T24" fmla="*/ 339 w 551"/>
                    <a:gd name="T25" fmla="*/ 0 h 271"/>
                    <a:gd name="T26" fmla="*/ 371 w 551"/>
                    <a:gd name="T27" fmla="*/ 1 h 271"/>
                    <a:gd name="T28" fmla="*/ 405 w 551"/>
                    <a:gd name="T29" fmla="*/ 8 h 271"/>
                    <a:gd name="T30" fmla="*/ 438 w 551"/>
                    <a:gd name="T31" fmla="*/ 24 h 271"/>
                    <a:gd name="T32" fmla="*/ 454 w 551"/>
                    <a:gd name="T33" fmla="*/ 36 h 271"/>
                    <a:gd name="T34" fmla="*/ 468 w 551"/>
                    <a:gd name="T35" fmla="*/ 50 h 271"/>
                    <a:gd name="T36" fmla="*/ 483 w 551"/>
                    <a:gd name="T37" fmla="*/ 65 h 271"/>
                    <a:gd name="T38" fmla="*/ 505 w 551"/>
                    <a:gd name="T39" fmla="*/ 98 h 271"/>
                    <a:gd name="T40" fmla="*/ 522 w 551"/>
                    <a:gd name="T41" fmla="*/ 129 h 271"/>
                    <a:gd name="T42" fmla="*/ 534 w 551"/>
                    <a:gd name="T43" fmla="*/ 157 h 271"/>
                    <a:gd name="T44" fmla="*/ 545 w 551"/>
                    <a:gd name="T45" fmla="*/ 195 h 271"/>
                    <a:gd name="T46" fmla="*/ 551 w 551"/>
                    <a:gd name="T47" fmla="*/ 229 h 271"/>
                    <a:gd name="T48" fmla="*/ 537 w 551"/>
                    <a:gd name="T49" fmla="*/ 220 h 271"/>
                    <a:gd name="T50" fmla="*/ 503 w 551"/>
                    <a:gd name="T51" fmla="*/ 203 h 271"/>
                    <a:gd name="T52" fmla="*/ 482 w 551"/>
                    <a:gd name="T53" fmla="*/ 197 h 271"/>
                    <a:gd name="T54" fmla="*/ 457 w 551"/>
                    <a:gd name="T55" fmla="*/ 194 h 271"/>
                    <a:gd name="T56" fmla="*/ 432 w 551"/>
                    <a:gd name="T57" fmla="*/ 196 h 271"/>
                    <a:gd name="T58" fmla="*/ 407 w 551"/>
                    <a:gd name="T59" fmla="*/ 205 h 271"/>
                    <a:gd name="T60" fmla="*/ 381 w 551"/>
                    <a:gd name="T61" fmla="*/ 217 h 271"/>
                    <a:gd name="T62" fmla="*/ 330 w 551"/>
                    <a:gd name="T63" fmla="*/ 237 h 271"/>
                    <a:gd name="T64" fmla="*/ 271 w 551"/>
                    <a:gd name="T65" fmla="*/ 257 h 271"/>
                    <a:gd name="T66" fmla="*/ 258 w 551"/>
                    <a:gd name="T67" fmla="*/ 262 h 271"/>
                    <a:gd name="T68" fmla="*/ 234 w 551"/>
                    <a:gd name="T69" fmla="*/ 267 h 271"/>
                    <a:gd name="T70" fmla="*/ 199 w 551"/>
                    <a:gd name="T71" fmla="*/ 271 h 271"/>
                    <a:gd name="T72" fmla="*/ 155 w 551"/>
                    <a:gd name="T73" fmla="*/ 269 h 271"/>
                    <a:gd name="T74" fmla="*/ 131 w 551"/>
                    <a:gd name="T75" fmla="*/ 265 h 271"/>
                    <a:gd name="T76" fmla="*/ 108 w 551"/>
                    <a:gd name="T77" fmla="*/ 256 h 271"/>
                    <a:gd name="T78" fmla="*/ 85 w 551"/>
                    <a:gd name="T79" fmla="*/ 243 h 271"/>
                    <a:gd name="T80" fmla="*/ 63 w 551"/>
                    <a:gd name="T81" fmla="*/ 224 h 271"/>
                    <a:gd name="T82" fmla="*/ 43 w 551"/>
                    <a:gd name="T83" fmla="*/ 201 h 271"/>
                    <a:gd name="T84" fmla="*/ 27 w 551"/>
                    <a:gd name="T85" fmla="*/ 171 h 271"/>
                    <a:gd name="T86" fmla="*/ 14 w 551"/>
                    <a:gd name="T87" fmla="*/ 133 h 271"/>
                    <a:gd name="T88" fmla="*/ 4 w 551"/>
                    <a:gd name="T89" fmla="*/ 88 h 271"/>
                    <a:gd name="T90" fmla="*/ 0 w 551"/>
                    <a:gd name="T91" fmla="*/ 36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51" h="271">
                      <a:moveTo>
                        <a:pt x="0" y="36"/>
                      </a:moveTo>
                      <a:lnTo>
                        <a:pt x="0" y="36"/>
                      </a:lnTo>
                      <a:lnTo>
                        <a:pt x="0" y="40"/>
                      </a:lnTo>
                      <a:lnTo>
                        <a:pt x="3" y="50"/>
                      </a:lnTo>
                      <a:lnTo>
                        <a:pt x="6" y="57"/>
                      </a:lnTo>
                      <a:lnTo>
                        <a:pt x="9" y="63"/>
                      </a:lnTo>
                      <a:lnTo>
                        <a:pt x="14" y="70"/>
                      </a:lnTo>
                      <a:lnTo>
                        <a:pt x="20" y="76"/>
                      </a:lnTo>
                      <a:lnTo>
                        <a:pt x="29" y="82"/>
                      </a:lnTo>
                      <a:lnTo>
                        <a:pt x="39" y="85"/>
                      </a:lnTo>
                      <a:lnTo>
                        <a:pt x="51" y="88"/>
                      </a:lnTo>
                      <a:lnTo>
                        <a:pt x="66" y="88"/>
                      </a:lnTo>
                      <a:lnTo>
                        <a:pt x="84" y="87"/>
                      </a:lnTo>
                      <a:lnTo>
                        <a:pt x="103" y="83"/>
                      </a:lnTo>
                      <a:lnTo>
                        <a:pt x="126" y="75"/>
                      </a:lnTo>
                      <a:lnTo>
                        <a:pt x="153" y="64"/>
                      </a:lnTo>
                      <a:lnTo>
                        <a:pt x="153" y="64"/>
                      </a:lnTo>
                      <a:lnTo>
                        <a:pt x="215" y="36"/>
                      </a:lnTo>
                      <a:lnTo>
                        <a:pt x="249" y="20"/>
                      </a:lnTo>
                      <a:lnTo>
                        <a:pt x="267" y="13"/>
                      </a:lnTo>
                      <a:lnTo>
                        <a:pt x="267" y="13"/>
                      </a:lnTo>
                      <a:lnTo>
                        <a:pt x="272" y="11"/>
                      </a:lnTo>
                      <a:lnTo>
                        <a:pt x="288" y="6"/>
                      </a:lnTo>
                      <a:lnTo>
                        <a:pt x="311" y="2"/>
                      </a:lnTo>
                      <a:lnTo>
                        <a:pt x="324" y="1"/>
                      </a:lnTo>
                      <a:lnTo>
                        <a:pt x="339" y="0"/>
                      </a:lnTo>
                      <a:lnTo>
                        <a:pt x="354" y="0"/>
                      </a:lnTo>
                      <a:lnTo>
                        <a:pt x="371" y="1"/>
                      </a:lnTo>
                      <a:lnTo>
                        <a:pt x="388" y="4"/>
                      </a:lnTo>
                      <a:lnTo>
                        <a:pt x="405" y="8"/>
                      </a:lnTo>
                      <a:lnTo>
                        <a:pt x="421" y="15"/>
                      </a:lnTo>
                      <a:lnTo>
                        <a:pt x="438" y="24"/>
                      </a:lnTo>
                      <a:lnTo>
                        <a:pt x="446" y="29"/>
                      </a:lnTo>
                      <a:lnTo>
                        <a:pt x="454" y="36"/>
                      </a:lnTo>
                      <a:lnTo>
                        <a:pt x="462" y="42"/>
                      </a:lnTo>
                      <a:lnTo>
                        <a:pt x="468" y="50"/>
                      </a:lnTo>
                      <a:lnTo>
                        <a:pt x="468" y="50"/>
                      </a:lnTo>
                      <a:lnTo>
                        <a:pt x="483" y="65"/>
                      </a:lnTo>
                      <a:lnTo>
                        <a:pt x="495" y="82"/>
                      </a:lnTo>
                      <a:lnTo>
                        <a:pt x="505" y="98"/>
                      </a:lnTo>
                      <a:lnTo>
                        <a:pt x="514" y="114"/>
                      </a:lnTo>
                      <a:lnTo>
                        <a:pt x="522" y="129"/>
                      </a:lnTo>
                      <a:lnTo>
                        <a:pt x="529" y="144"/>
                      </a:lnTo>
                      <a:lnTo>
                        <a:pt x="534" y="157"/>
                      </a:lnTo>
                      <a:lnTo>
                        <a:pt x="539" y="172"/>
                      </a:lnTo>
                      <a:lnTo>
                        <a:pt x="545" y="195"/>
                      </a:lnTo>
                      <a:lnTo>
                        <a:pt x="550" y="212"/>
                      </a:lnTo>
                      <a:lnTo>
                        <a:pt x="551" y="229"/>
                      </a:lnTo>
                      <a:lnTo>
                        <a:pt x="551" y="229"/>
                      </a:lnTo>
                      <a:lnTo>
                        <a:pt x="537" y="220"/>
                      </a:lnTo>
                      <a:lnTo>
                        <a:pt x="523" y="212"/>
                      </a:lnTo>
                      <a:lnTo>
                        <a:pt x="503" y="203"/>
                      </a:lnTo>
                      <a:lnTo>
                        <a:pt x="494" y="200"/>
                      </a:lnTo>
                      <a:lnTo>
                        <a:pt x="482" y="197"/>
                      </a:lnTo>
                      <a:lnTo>
                        <a:pt x="469" y="195"/>
                      </a:lnTo>
                      <a:lnTo>
                        <a:pt x="457" y="194"/>
                      </a:lnTo>
                      <a:lnTo>
                        <a:pt x="445" y="194"/>
                      </a:lnTo>
                      <a:lnTo>
                        <a:pt x="432" y="196"/>
                      </a:lnTo>
                      <a:lnTo>
                        <a:pt x="419" y="199"/>
                      </a:lnTo>
                      <a:lnTo>
                        <a:pt x="407" y="205"/>
                      </a:lnTo>
                      <a:lnTo>
                        <a:pt x="407" y="205"/>
                      </a:lnTo>
                      <a:lnTo>
                        <a:pt x="381" y="217"/>
                      </a:lnTo>
                      <a:lnTo>
                        <a:pt x="356" y="228"/>
                      </a:lnTo>
                      <a:lnTo>
                        <a:pt x="330" y="237"/>
                      </a:lnTo>
                      <a:lnTo>
                        <a:pt x="307" y="246"/>
                      </a:lnTo>
                      <a:lnTo>
                        <a:pt x="271" y="257"/>
                      </a:lnTo>
                      <a:lnTo>
                        <a:pt x="258" y="262"/>
                      </a:lnTo>
                      <a:lnTo>
                        <a:pt x="258" y="262"/>
                      </a:lnTo>
                      <a:lnTo>
                        <a:pt x="247" y="265"/>
                      </a:lnTo>
                      <a:lnTo>
                        <a:pt x="234" y="267"/>
                      </a:lnTo>
                      <a:lnTo>
                        <a:pt x="219" y="270"/>
                      </a:lnTo>
                      <a:lnTo>
                        <a:pt x="199" y="271"/>
                      </a:lnTo>
                      <a:lnTo>
                        <a:pt x="178" y="271"/>
                      </a:lnTo>
                      <a:lnTo>
                        <a:pt x="155" y="269"/>
                      </a:lnTo>
                      <a:lnTo>
                        <a:pt x="143" y="267"/>
                      </a:lnTo>
                      <a:lnTo>
                        <a:pt x="131" y="265"/>
                      </a:lnTo>
                      <a:lnTo>
                        <a:pt x="119" y="260"/>
                      </a:lnTo>
                      <a:lnTo>
                        <a:pt x="108" y="256"/>
                      </a:lnTo>
                      <a:lnTo>
                        <a:pt x="96" y="249"/>
                      </a:lnTo>
                      <a:lnTo>
                        <a:pt x="85" y="243"/>
                      </a:lnTo>
                      <a:lnTo>
                        <a:pt x="73" y="234"/>
                      </a:lnTo>
                      <a:lnTo>
                        <a:pt x="63" y="224"/>
                      </a:lnTo>
                      <a:lnTo>
                        <a:pt x="53" y="213"/>
                      </a:lnTo>
                      <a:lnTo>
                        <a:pt x="43" y="201"/>
                      </a:lnTo>
                      <a:lnTo>
                        <a:pt x="34" y="187"/>
                      </a:lnTo>
                      <a:lnTo>
                        <a:pt x="27" y="171"/>
                      </a:lnTo>
                      <a:lnTo>
                        <a:pt x="19" y="153"/>
                      </a:lnTo>
                      <a:lnTo>
                        <a:pt x="14" y="133"/>
                      </a:lnTo>
                      <a:lnTo>
                        <a:pt x="8" y="112"/>
                      </a:lnTo>
                      <a:lnTo>
                        <a:pt x="4" y="88"/>
                      </a:lnTo>
                      <a:lnTo>
                        <a:pt x="2" y="63"/>
                      </a:lnTo>
                      <a:lnTo>
                        <a:pt x="0" y="36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FFFFFF"/>
                  </a:solidFill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2060"/>
                    </a:solidFill>
                    <a:latin typeface="Verdana" pitchFamily="34" charset="0"/>
                    <a:cs typeface="Arial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541676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>
          <a:xfrm>
            <a:off x="3" y="6570743"/>
            <a:ext cx="10995740" cy="289373"/>
          </a:xfrm>
          <a:prstGeom prst="rect">
            <a:avLst/>
          </a:prstGeom>
          <a:noFill/>
        </p:spPr>
        <p:txBody>
          <a:bodyPr wrap="none" lIns="120224" tIns="61975" rIns="120224" bIns="61975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Merchenthaler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J Comp Neurol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1999;403:261–80; Baggio, Drucker.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Gastroenterology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07;132:2131–57; Ducker, Nauck.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Lancet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06;368:1696–705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38573" y="6251975"/>
            <a:ext cx="10518795" cy="289373"/>
          </a:xfrm>
          <a:prstGeom prst="rect">
            <a:avLst/>
          </a:prstGeom>
          <a:noFill/>
        </p:spPr>
        <p:txBody>
          <a:bodyPr wrap="square" lIns="120224" tIns="61975" rIns="120224" bIns="61975" rtlCol="0" anchor="b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DPP-4, dipeptidyl peptidase-4; GLP-1, glucagon-like peptide-1; t</a:t>
            </a:r>
            <a:r>
              <a:rPr lang="en-GB" sz="1067" baseline="-25000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½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, half-life</a:t>
            </a:r>
          </a:p>
        </p:txBody>
      </p:sp>
      <p:sp>
        <p:nvSpPr>
          <p:cNvPr id="14338" name="Rectangle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GLP-1?</a:t>
            </a:r>
          </a:p>
        </p:txBody>
      </p:sp>
      <p:sp>
        <p:nvSpPr>
          <p:cNvPr id="14339" name="Content Placeholder 8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GLP-1 is a peptide comprised of 31 amino acids</a:t>
            </a:r>
          </a:p>
          <a:p>
            <a:r>
              <a:rPr lang="en-GB" dirty="0"/>
              <a:t>Member of incretin family</a:t>
            </a:r>
          </a:p>
          <a:p>
            <a:r>
              <a:rPr lang="en-GB" dirty="0"/>
              <a:t>Secreted predominantly from L-cells in the gut, but also the brain (</a:t>
            </a:r>
            <a:r>
              <a:rPr lang="en-GB" altLang="en-US" dirty="0"/>
              <a:t>nucleus tractus solitarius)</a:t>
            </a:r>
            <a:endParaRPr lang="en-GB" dirty="0"/>
          </a:p>
        </p:txBody>
      </p:sp>
      <p:grpSp>
        <p:nvGrpSpPr>
          <p:cNvPr id="14344" name="Group 162"/>
          <p:cNvGrpSpPr>
            <a:grpSpLocks/>
          </p:cNvGrpSpPr>
          <p:nvPr/>
        </p:nvGrpSpPr>
        <p:grpSpPr bwMode="auto">
          <a:xfrm>
            <a:off x="6873390" y="5013585"/>
            <a:ext cx="4279428" cy="762005"/>
            <a:chOff x="319" y="2774"/>
            <a:chExt cx="2372" cy="480"/>
          </a:xfrm>
        </p:grpSpPr>
        <p:sp>
          <p:nvSpPr>
            <p:cNvPr id="87" name="Text Box 140"/>
            <p:cNvSpPr txBox="1">
              <a:spLocks noChangeArrowheads="1"/>
            </p:cNvSpPr>
            <p:nvPr/>
          </p:nvSpPr>
          <p:spPr bwMode="auto">
            <a:xfrm>
              <a:off x="606" y="3021"/>
              <a:ext cx="1734" cy="23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121903" tIns="60951" rIns="121903" bIns="60951">
              <a:spAutoFit/>
            </a:bodyPr>
            <a:lstStyle/>
            <a:p>
              <a:pPr algn="ctr" defTabSz="121917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  <a:latin typeface="Verdana"/>
                  <a:cs typeface="Arial" charset="0"/>
                </a:rPr>
                <a:t>t</a:t>
              </a:r>
              <a:r>
                <a:rPr lang="en-GB" sz="1600" baseline="-25000" dirty="0">
                  <a:solidFill>
                    <a:srgbClr val="001965"/>
                  </a:solidFill>
                  <a:latin typeface="Verdana"/>
                  <a:cs typeface="Arial" charset="0"/>
                </a:rPr>
                <a:t>½</a:t>
              </a:r>
              <a:r>
                <a:rPr lang="en-GB" sz="1600" dirty="0">
                  <a:solidFill>
                    <a:srgbClr val="001965"/>
                  </a:solidFill>
                  <a:latin typeface="Verdana"/>
                  <a:cs typeface="Arial" charset="0"/>
                </a:rPr>
                <a:t>=1.5–2 min</a:t>
              </a:r>
            </a:p>
          </p:txBody>
        </p:sp>
        <p:sp>
          <p:nvSpPr>
            <p:cNvPr id="88" name="Rectangle 142"/>
            <p:cNvSpPr>
              <a:spLocks noChangeArrowheads="1"/>
            </p:cNvSpPr>
            <p:nvPr/>
          </p:nvSpPr>
          <p:spPr bwMode="auto">
            <a:xfrm>
              <a:off x="319" y="2774"/>
              <a:ext cx="2372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22749" tIns="61375" rIns="122749" bIns="61375">
              <a:spAutoFit/>
            </a:bodyPr>
            <a:lstStyle/>
            <a:p>
              <a:pPr algn="ctr" defTabSz="121917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  <a:latin typeface="Verdana"/>
                  <a:cs typeface="Arial" charset="0"/>
                </a:rPr>
                <a:t>Enzymatic degradation by DPP-4</a:t>
              </a:r>
            </a:p>
          </p:txBody>
        </p:sp>
      </p:grpSp>
      <p:sp>
        <p:nvSpPr>
          <p:cNvPr id="47" name="AutoShape 4"/>
          <p:cNvSpPr>
            <a:spLocks noChangeArrowheads="1"/>
          </p:cNvSpPr>
          <p:nvPr/>
        </p:nvSpPr>
        <p:spPr bwMode="auto">
          <a:xfrm>
            <a:off x="7289380" y="1740315"/>
            <a:ext cx="3386069" cy="635000"/>
          </a:xfrm>
          <a:prstGeom prst="flowChartAlternateProcess">
            <a:avLst/>
          </a:prstGeom>
          <a:solidFill>
            <a:schemeClr val="bg1"/>
          </a:solidFill>
          <a:ln w="38100" algn="ctr">
            <a:solidFill>
              <a:srgbClr val="001965"/>
            </a:solidFill>
            <a:miter lim="800000"/>
            <a:headEnd/>
            <a:tailEnd/>
          </a:ln>
        </p:spPr>
        <p:txBody>
          <a:bodyPr wrap="none" lIns="121917" tIns="60959" rIns="121917" bIns="60959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Human endogenous GLP-1</a:t>
            </a:r>
          </a:p>
        </p:txBody>
      </p:sp>
      <p:grpSp>
        <p:nvGrpSpPr>
          <p:cNvPr id="14" name="Group 175"/>
          <p:cNvGrpSpPr>
            <a:grpSpLocks/>
          </p:cNvGrpSpPr>
          <p:nvPr/>
        </p:nvGrpSpPr>
        <p:grpSpPr bwMode="auto">
          <a:xfrm>
            <a:off x="6627700" y="2822931"/>
            <a:ext cx="4707467" cy="1888504"/>
            <a:chOff x="476" y="1528"/>
            <a:chExt cx="2224" cy="100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5" name="Oval 106"/>
            <p:cNvSpPr>
              <a:spLocks noChangeArrowheads="1"/>
            </p:cNvSpPr>
            <p:nvPr/>
          </p:nvSpPr>
          <p:spPr bwMode="auto">
            <a:xfrm>
              <a:off x="1687" y="2362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Lys</a:t>
              </a:r>
            </a:p>
          </p:txBody>
        </p:sp>
        <p:sp>
          <p:nvSpPr>
            <p:cNvPr id="16" name="Oval 107"/>
            <p:cNvSpPr>
              <a:spLocks noChangeArrowheads="1"/>
            </p:cNvSpPr>
            <p:nvPr/>
          </p:nvSpPr>
          <p:spPr bwMode="auto">
            <a:xfrm>
              <a:off x="567" y="1528"/>
              <a:ext cx="213" cy="164"/>
            </a:xfrm>
            <a:prstGeom prst="ellipse">
              <a:avLst/>
            </a:prstGeom>
            <a:solidFill>
              <a:srgbClr val="A8C903"/>
            </a:solidFill>
            <a:ln w="1270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His</a:t>
              </a:r>
            </a:p>
          </p:txBody>
        </p:sp>
        <p:sp>
          <p:nvSpPr>
            <p:cNvPr id="17" name="Oval 108"/>
            <p:cNvSpPr>
              <a:spLocks noChangeArrowheads="1"/>
            </p:cNvSpPr>
            <p:nvPr/>
          </p:nvSpPr>
          <p:spPr bwMode="auto">
            <a:xfrm>
              <a:off x="785" y="1528"/>
              <a:ext cx="213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la</a:t>
              </a:r>
            </a:p>
          </p:txBody>
        </p:sp>
        <p:sp>
          <p:nvSpPr>
            <p:cNvPr id="18" name="Oval 109"/>
            <p:cNvSpPr>
              <a:spLocks noChangeArrowheads="1"/>
            </p:cNvSpPr>
            <p:nvPr/>
          </p:nvSpPr>
          <p:spPr bwMode="auto">
            <a:xfrm>
              <a:off x="144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Thr</a:t>
              </a:r>
            </a:p>
          </p:txBody>
        </p:sp>
        <p:sp>
          <p:nvSpPr>
            <p:cNvPr id="19" name="Oval 110"/>
            <p:cNvSpPr>
              <a:spLocks noChangeArrowheads="1"/>
            </p:cNvSpPr>
            <p:nvPr/>
          </p:nvSpPr>
          <p:spPr bwMode="auto">
            <a:xfrm>
              <a:off x="1884" y="1529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Thr</a:t>
              </a:r>
            </a:p>
          </p:txBody>
        </p:sp>
        <p:sp>
          <p:nvSpPr>
            <p:cNvPr id="20" name="Oval 111"/>
            <p:cNvSpPr>
              <a:spLocks noChangeArrowheads="1"/>
            </p:cNvSpPr>
            <p:nvPr/>
          </p:nvSpPr>
          <p:spPr bwMode="auto">
            <a:xfrm>
              <a:off x="2099" y="1529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Ser</a:t>
              </a:r>
            </a:p>
          </p:txBody>
        </p:sp>
        <p:sp>
          <p:nvSpPr>
            <p:cNvPr id="21" name="Oval 112"/>
            <p:cNvSpPr>
              <a:spLocks noChangeArrowheads="1"/>
            </p:cNvSpPr>
            <p:nvPr/>
          </p:nvSpPr>
          <p:spPr bwMode="auto">
            <a:xfrm>
              <a:off x="1664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Phe</a:t>
              </a:r>
            </a:p>
          </p:txBody>
        </p:sp>
        <p:sp>
          <p:nvSpPr>
            <p:cNvPr id="22" name="Oval 113"/>
            <p:cNvSpPr>
              <a:spLocks noChangeArrowheads="1"/>
            </p:cNvSpPr>
            <p:nvPr/>
          </p:nvSpPr>
          <p:spPr bwMode="auto">
            <a:xfrm>
              <a:off x="100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u</a:t>
              </a:r>
            </a:p>
          </p:txBody>
        </p:sp>
        <p:sp>
          <p:nvSpPr>
            <p:cNvPr id="23" name="Oval 114"/>
            <p:cNvSpPr>
              <a:spLocks noChangeArrowheads="1"/>
            </p:cNvSpPr>
            <p:nvPr/>
          </p:nvSpPr>
          <p:spPr bwMode="auto">
            <a:xfrm>
              <a:off x="122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y</a:t>
              </a:r>
            </a:p>
          </p:txBody>
        </p:sp>
        <p:sp>
          <p:nvSpPr>
            <p:cNvPr id="24" name="Oval 115"/>
            <p:cNvSpPr>
              <a:spLocks noChangeArrowheads="1"/>
            </p:cNvSpPr>
            <p:nvPr/>
          </p:nvSpPr>
          <p:spPr bwMode="auto">
            <a:xfrm>
              <a:off x="2314" y="154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sp</a:t>
              </a:r>
            </a:p>
          </p:txBody>
        </p:sp>
        <p:sp>
          <p:nvSpPr>
            <p:cNvPr id="25" name="Oval 116"/>
            <p:cNvSpPr>
              <a:spLocks noChangeArrowheads="1"/>
            </p:cNvSpPr>
            <p:nvPr/>
          </p:nvSpPr>
          <p:spPr bwMode="auto">
            <a:xfrm>
              <a:off x="2480" y="1652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Val</a:t>
              </a:r>
            </a:p>
          </p:txBody>
        </p:sp>
        <p:sp>
          <p:nvSpPr>
            <p:cNvPr id="26" name="Oval 117"/>
            <p:cNvSpPr>
              <a:spLocks noChangeArrowheads="1"/>
            </p:cNvSpPr>
            <p:nvPr/>
          </p:nvSpPr>
          <p:spPr bwMode="auto">
            <a:xfrm>
              <a:off x="2488" y="1817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Ser</a:t>
              </a:r>
            </a:p>
          </p:txBody>
        </p:sp>
        <p:sp>
          <p:nvSpPr>
            <p:cNvPr id="27" name="Oval 118"/>
            <p:cNvSpPr>
              <a:spLocks noChangeArrowheads="1"/>
            </p:cNvSpPr>
            <p:nvPr/>
          </p:nvSpPr>
          <p:spPr bwMode="auto">
            <a:xfrm>
              <a:off x="2382" y="1964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Ser</a:t>
              </a:r>
            </a:p>
          </p:txBody>
        </p:sp>
        <p:sp>
          <p:nvSpPr>
            <p:cNvPr id="28" name="Oval 119"/>
            <p:cNvSpPr>
              <a:spLocks noChangeArrowheads="1"/>
            </p:cNvSpPr>
            <p:nvPr/>
          </p:nvSpPr>
          <p:spPr bwMode="auto">
            <a:xfrm>
              <a:off x="2168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Tyr</a:t>
              </a:r>
            </a:p>
          </p:txBody>
        </p:sp>
        <p:sp>
          <p:nvSpPr>
            <p:cNvPr id="29" name="Oval 120"/>
            <p:cNvSpPr>
              <a:spLocks noChangeArrowheads="1"/>
            </p:cNvSpPr>
            <p:nvPr/>
          </p:nvSpPr>
          <p:spPr bwMode="auto">
            <a:xfrm>
              <a:off x="1949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Leu</a:t>
              </a:r>
            </a:p>
          </p:txBody>
        </p:sp>
        <p:sp>
          <p:nvSpPr>
            <p:cNvPr id="30" name="Oval 121"/>
            <p:cNvSpPr>
              <a:spLocks noChangeArrowheads="1"/>
            </p:cNvSpPr>
            <p:nvPr/>
          </p:nvSpPr>
          <p:spPr bwMode="auto">
            <a:xfrm>
              <a:off x="1736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u</a:t>
              </a:r>
            </a:p>
          </p:txBody>
        </p:sp>
        <p:sp>
          <p:nvSpPr>
            <p:cNvPr id="31" name="Oval 122"/>
            <p:cNvSpPr>
              <a:spLocks noChangeArrowheads="1"/>
            </p:cNvSpPr>
            <p:nvPr/>
          </p:nvSpPr>
          <p:spPr bwMode="auto">
            <a:xfrm>
              <a:off x="1522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y</a:t>
              </a:r>
            </a:p>
          </p:txBody>
        </p:sp>
        <p:sp>
          <p:nvSpPr>
            <p:cNvPr id="32" name="Oval 123"/>
            <p:cNvSpPr>
              <a:spLocks noChangeArrowheads="1"/>
            </p:cNvSpPr>
            <p:nvPr/>
          </p:nvSpPr>
          <p:spPr bwMode="auto">
            <a:xfrm>
              <a:off x="1088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la</a:t>
              </a:r>
            </a:p>
          </p:txBody>
        </p:sp>
        <p:sp>
          <p:nvSpPr>
            <p:cNvPr id="33" name="Oval 124"/>
            <p:cNvSpPr>
              <a:spLocks noChangeArrowheads="1"/>
            </p:cNvSpPr>
            <p:nvPr/>
          </p:nvSpPr>
          <p:spPr bwMode="auto">
            <a:xfrm>
              <a:off x="873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la</a:t>
              </a:r>
            </a:p>
          </p:txBody>
        </p:sp>
        <p:sp>
          <p:nvSpPr>
            <p:cNvPr id="34" name="Oval 125"/>
            <p:cNvSpPr>
              <a:spLocks noChangeArrowheads="1"/>
            </p:cNvSpPr>
            <p:nvPr/>
          </p:nvSpPr>
          <p:spPr bwMode="auto">
            <a:xfrm>
              <a:off x="1306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n</a:t>
              </a:r>
            </a:p>
          </p:txBody>
        </p:sp>
        <p:sp>
          <p:nvSpPr>
            <p:cNvPr id="35" name="Oval 126"/>
            <p:cNvSpPr>
              <a:spLocks noChangeArrowheads="1"/>
            </p:cNvSpPr>
            <p:nvPr/>
          </p:nvSpPr>
          <p:spPr bwMode="auto">
            <a:xfrm>
              <a:off x="655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Lys</a:t>
              </a:r>
            </a:p>
          </p:txBody>
        </p:sp>
        <p:sp>
          <p:nvSpPr>
            <p:cNvPr id="36" name="Oval 127"/>
            <p:cNvSpPr>
              <a:spLocks noChangeArrowheads="1"/>
            </p:cNvSpPr>
            <p:nvPr/>
          </p:nvSpPr>
          <p:spPr bwMode="auto">
            <a:xfrm>
              <a:off x="476" y="2229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Phe</a:t>
              </a:r>
            </a:p>
          </p:txBody>
        </p:sp>
        <p:sp>
          <p:nvSpPr>
            <p:cNvPr id="37" name="Oval 128"/>
            <p:cNvSpPr>
              <a:spLocks noChangeArrowheads="1"/>
            </p:cNvSpPr>
            <p:nvPr/>
          </p:nvSpPr>
          <p:spPr bwMode="auto">
            <a:xfrm>
              <a:off x="476" y="2062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u</a:t>
              </a:r>
            </a:p>
          </p:txBody>
        </p:sp>
        <p:sp>
          <p:nvSpPr>
            <p:cNvPr id="38" name="Oval 129"/>
            <p:cNvSpPr>
              <a:spLocks noChangeArrowheads="1"/>
            </p:cNvSpPr>
            <p:nvPr/>
          </p:nvSpPr>
          <p:spPr bwMode="auto">
            <a:xfrm>
              <a:off x="601" y="23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Ile</a:t>
              </a:r>
            </a:p>
          </p:txBody>
        </p:sp>
        <p:sp>
          <p:nvSpPr>
            <p:cNvPr id="39" name="Oval 130"/>
            <p:cNvSpPr>
              <a:spLocks noChangeArrowheads="1"/>
            </p:cNvSpPr>
            <p:nvPr/>
          </p:nvSpPr>
          <p:spPr bwMode="auto">
            <a:xfrm>
              <a:off x="817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la</a:t>
              </a:r>
            </a:p>
          </p:txBody>
        </p:sp>
        <p:sp>
          <p:nvSpPr>
            <p:cNvPr id="40" name="Oval 131"/>
            <p:cNvSpPr>
              <a:spLocks noChangeArrowheads="1"/>
            </p:cNvSpPr>
            <p:nvPr/>
          </p:nvSpPr>
          <p:spPr bwMode="auto">
            <a:xfrm>
              <a:off x="1033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Trp</a:t>
              </a:r>
            </a:p>
          </p:txBody>
        </p:sp>
        <p:sp>
          <p:nvSpPr>
            <p:cNvPr id="41" name="Oval 132"/>
            <p:cNvSpPr>
              <a:spLocks noChangeArrowheads="1"/>
            </p:cNvSpPr>
            <p:nvPr/>
          </p:nvSpPr>
          <p:spPr bwMode="auto">
            <a:xfrm>
              <a:off x="1253" y="2365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Leu</a:t>
              </a:r>
            </a:p>
          </p:txBody>
        </p:sp>
        <p:sp>
          <p:nvSpPr>
            <p:cNvPr id="42" name="Oval 133"/>
            <p:cNvSpPr>
              <a:spLocks noChangeArrowheads="1"/>
            </p:cNvSpPr>
            <p:nvPr/>
          </p:nvSpPr>
          <p:spPr bwMode="auto">
            <a:xfrm>
              <a:off x="2343" y="2365"/>
              <a:ext cx="213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y</a:t>
              </a:r>
            </a:p>
          </p:txBody>
        </p:sp>
        <p:sp>
          <p:nvSpPr>
            <p:cNvPr id="43" name="Oval 134"/>
            <p:cNvSpPr>
              <a:spLocks noChangeArrowheads="1"/>
            </p:cNvSpPr>
            <p:nvPr/>
          </p:nvSpPr>
          <p:spPr bwMode="auto">
            <a:xfrm>
              <a:off x="1472" y="23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Val</a:t>
              </a:r>
            </a:p>
          </p:txBody>
        </p:sp>
        <p:sp>
          <p:nvSpPr>
            <p:cNvPr id="44" name="Oval 135"/>
            <p:cNvSpPr>
              <a:spLocks noChangeArrowheads="1"/>
            </p:cNvSpPr>
            <p:nvPr/>
          </p:nvSpPr>
          <p:spPr bwMode="auto">
            <a:xfrm>
              <a:off x="1904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Gly</a:t>
              </a:r>
            </a:p>
          </p:txBody>
        </p:sp>
        <p:sp>
          <p:nvSpPr>
            <p:cNvPr id="45" name="Oval 136"/>
            <p:cNvSpPr>
              <a:spLocks noChangeArrowheads="1"/>
            </p:cNvSpPr>
            <p:nvPr/>
          </p:nvSpPr>
          <p:spPr bwMode="auto">
            <a:xfrm>
              <a:off x="2123" y="2365"/>
              <a:ext cx="214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Verdana" pitchFamily="34" charset="0"/>
                </a:rPr>
                <a:t>A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31232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Box 103"/>
          <p:cNvSpPr txBox="1"/>
          <p:nvPr/>
        </p:nvSpPr>
        <p:spPr>
          <a:xfrm>
            <a:off x="2" y="6570743"/>
            <a:ext cx="4944404" cy="289373"/>
          </a:xfrm>
          <a:prstGeom prst="rect">
            <a:avLst/>
          </a:prstGeom>
          <a:noFill/>
        </p:spPr>
        <p:txBody>
          <a:bodyPr wrap="none" lIns="120224" tIns="61975" rIns="120224" bIns="61975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Adapted from: Orskov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Scand J Gastroenterol 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1996;31:665–70</a:t>
            </a:r>
          </a:p>
        </p:txBody>
      </p:sp>
      <p:sp>
        <p:nvSpPr>
          <p:cNvPr id="665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LP-1 is released in response to food intak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88421" y="1649786"/>
            <a:ext cx="10000574" cy="4322734"/>
            <a:chOff x="291316" y="1237337"/>
            <a:chExt cx="7500430" cy="3242051"/>
          </a:xfrm>
        </p:grpSpPr>
        <p:sp>
          <p:nvSpPr>
            <p:cNvPr id="66570" name="TextBox 6"/>
            <p:cNvSpPr txBox="1">
              <a:spLocks noChangeArrowheads="1"/>
            </p:cNvSpPr>
            <p:nvPr/>
          </p:nvSpPr>
          <p:spPr bwMode="auto">
            <a:xfrm>
              <a:off x="7168534" y="1237337"/>
              <a:ext cx="565299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67" dirty="0">
                  <a:solidFill>
                    <a:srgbClr val="001965"/>
                  </a:solidFill>
                </a:rPr>
                <a:t>GLP-1</a:t>
              </a: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1328478" y="1703976"/>
              <a:ext cx="6284154" cy="1935442"/>
              <a:chOff x="1542341" y="1735197"/>
              <a:chExt cx="6126151" cy="1814193"/>
            </a:xfrm>
          </p:grpSpPr>
          <p:sp>
            <p:nvSpPr>
              <p:cNvPr id="66571" name="Freeform 8"/>
              <p:cNvSpPr>
                <a:spLocks/>
              </p:cNvSpPr>
              <p:nvPr/>
            </p:nvSpPr>
            <p:spPr bwMode="auto">
              <a:xfrm>
                <a:off x="1592508" y="2071462"/>
                <a:ext cx="6058482" cy="1417037"/>
              </a:xfrm>
              <a:custGeom>
                <a:avLst/>
                <a:gdLst>
                  <a:gd name="T0" fmla="*/ 0 w 2704"/>
                  <a:gd name="T1" fmla="*/ 2147483647 h 1319"/>
                  <a:gd name="T2" fmla="*/ 2147483647 w 2704"/>
                  <a:gd name="T3" fmla="*/ 2147483647 h 1319"/>
                  <a:gd name="T4" fmla="*/ 2147483647 w 2704"/>
                  <a:gd name="T5" fmla="*/ 2147483647 h 1319"/>
                  <a:gd name="T6" fmla="*/ 2147483647 w 2704"/>
                  <a:gd name="T7" fmla="*/ 2147483647 h 1319"/>
                  <a:gd name="T8" fmla="*/ 2147483647 w 2704"/>
                  <a:gd name="T9" fmla="*/ 2147483647 h 1319"/>
                  <a:gd name="T10" fmla="*/ 2147483647 w 2704"/>
                  <a:gd name="T11" fmla="*/ 2147483647 h 1319"/>
                  <a:gd name="T12" fmla="*/ 2147483647 w 2704"/>
                  <a:gd name="T13" fmla="*/ 2147483647 h 1319"/>
                  <a:gd name="T14" fmla="*/ 2147483647 w 2704"/>
                  <a:gd name="T15" fmla="*/ 2147483647 h 1319"/>
                  <a:gd name="T16" fmla="*/ 2147483647 w 2704"/>
                  <a:gd name="T17" fmla="*/ 2147483647 h 1319"/>
                  <a:gd name="T18" fmla="*/ 2147483647 w 2704"/>
                  <a:gd name="T19" fmla="*/ 2147483647 h 1319"/>
                  <a:gd name="T20" fmla="*/ 2147483647 w 2704"/>
                  <a:gd name="T21" fmla="*/ 2147483647 h 1319"/>
                  <a:gd name="T22" fmla="*/ 2147483647 w 2704"/>
                  <a:gd name="T23" fmla="*/ 0 h 1319"/>
                  <a:gd name="T24" fmla="*/ 2147483647 w 2704"/>
                  <a:gd name="T25" fmla="*/ 2147483647 h 1319"/>
                  <a:gd name="T26" fmla="*/ 2147483647 w 2704"/>
                  <a:gd name="T27" fmla="*/ 2147483647 h 1319"/>
                  <a:gd name="T28" fmla="*/ 2147483647 w 2704"/>
                  <a:gd name="T29" fmla="*/ 2147483647 h 1319"/>
                  <a:gd name="T30" fmla="*/ 2147483647 w 2704"/>
                  <a:gd name="T31" fmla="*/ 2147483647 h 1319"/>
                  <a:gd name="T32" fmla="*/ 2147483647 w 2704"/>
                  <a:gd name="T33" fmla="*/ 2147483647 h 1319"/>
                  <a:gd name="T34" fmla="*/ 2147483647 w 2704"/>
                  <a:gd name="T35" fmla="*/ 2147483647 h 1319"/>
                  <a:gd name="T36" fmla="*/ 2147483647 w 2704"/>
                  <a:gd name="T37" fmla="*/ 2147483647 h 1319"/>
                  <a:gd name="T38" fmla="*/ 2147483647 w 2704"/>
                  <a:gd name="T39" fmla="*/ 2147483647 h 1319"/>
                  <a:gd name="T40" fmla="*/ 2147483647 w 2704"/>
                  <a:gd name="T41" fmla="*/ 2147483647 h 1319"/>
                  <a:gd name="T42" fmla="*/ 2147483647 w 2704"/>
                  <a:gd name="T43" fmla="*/ 2147483647 h 1319"/>
                  <a:gd name="T44" fmla="*/ 2147483647 w 2704"/>
                  <a:gd name="T45" fmla="*/ 2147483647 h 1319"/>
                  <a:gd name="T46" fmla="*/ 2147483647 w 2704"/>
                  <a:gd name="T47" fmla="*/ 2147483647 h 1319"/>
                  <a:gd name="T48" fmla="*/ 2147483647 w 2704"/>
                  <a:gd name="T49" fmla="*/ 2147483647 h 1319"/>
                  <a:gd name="T50" fmla="*/ 2147483647 w 2704"/>
                  <a:gd name="T51" fmla="*/ 2147483647 h 131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704"/>
                  <a:gd name="T79" fmla="*/ 0 h 1319"/>
                  <a:gd name="T80" fmla="*/ 2704 w 2704"/>
                  <a:gd name="T81" fmla="*/ 1319 h 131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704" h="1319">
                    <a:moveTo>
                      <a:pt x="0" y="1295"/>
                    </a:moveTo>
                    <a:lnTo>
                      <a:pt x="52" y="1287"/>
                    </a:lnTo>
                    <a:lnTo>
                      <a:pt x="104" y="1257"/>
                    </a:lnTo>
                    <a:lnTo>
                      <a:pt x="142" y="1211"/>
                    </a:lnTo>
                    <a:lnTo>
                      <a:pt x="189" y="654"/>
                    </a:lnTo>
                    <a:lnTo>
                      <a:pt x="275" y="618"/>
                    </a:lnTo>
                    <a:lnTo>
                      <a:pt x="369" y="556"/>
                    </a:lnTo>
                    <a:lnTo>
                      <a:pt x="449" y="654"/>
                    </a:lnTo>
                    <a:lnTo>
                      <a:pt x="629" y="706"/>
                    </a:lnTo>
                    <a:lnTo>
                      <a:pt x="789" y="920"/>
                    </a:lnTo>
                    <a:lnTo>
                      <a:pt x="851" y="598"/>
                    </a:lnTo>
                    <a:lnTo>
                      <a:pt x="897" y="0"/>
                    </a:lnTo>
                    <a:lnTo>
                      <a:pt x="978" y="174"/>
                    </a:lnTo>
                    <a:lnTo>
                      <a:pt x="1060" y="434"/>
                    </a:lnTo>
                    <a:lnTo>
                      <a:pt x="1140" y="532"/>
                    </a:lnTo>
                    <a:lnTo>
                      <a:pt x="1318" y="782"/>
                    </a:lnTo>
                    <a:lnTo>
                      <a:pt x="1484" y="716"/>
                    </a:lnTo>
                    <a:lnTo>
                      <a:pt x="1665" y="938"/>
                    </a:lnTo>
                    <a:lnTo>
                      <a:pt x="1843" y="1028"/>
                    </a:lnTo>
                    <a:lnTo>
                      <a:pt x="1891" y="716"/>
                    </a:lnTo>
                    <a:lnTo>
                      <a:pt x="1933" y="660"/>
                    </a:lnTo>
                    <a:lnTo>
                      <a:pt x="2019" y="792"/>
                    </a:lnTo>
                    <a:lnTo>
                      <a:pt x="2099" y="706"/>
                    </a:lnTo>
                    <a:lnTo>
                      <a:pt x="2187" y="706"/>
                    </a:lnTo>
                    <a:lnTo>
                      <a:pt x="2367" y="876"/>
                    </a:lnTo>
                    <a:lnTo>
                      <a:pt x="2704" y="1319"/>
                    </a:lnTo>
                  </a:path>
                </a:pathLst>
              </a:custGeom>
              <a:noFill/>
              <a:ln w="19050">
                <a:solidFill>
                  <a:srgbClr val="00196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73" name="Line 10"/>
              <p:cNvSpPr>
                <a:spLocks noChangeShapeType="1"/>
              </p:cNvSpPr>
              <p:nvPr/>
            </p:nvSpPr>
            <p:spPr bwMode="auto">
              <a:xfrm>
                <a:off x="7613959" y="3402206"/>
                <a:ext cx="0" cy="66608"/>
              </a:xfrm>
              <a:prstGeom prst="line">
                <a:avLst/>
              </a:prstGeom>
              <a:noFill/>
              <a:ln w="19050">
                <a:solidFill>
                  <a:srgbClr val="00196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74" name="Freeform 11"/>
              <p:cNvSpPr>
                <a:spLocks/>
              </p:cNvSpPr>
              <p:nvPr/>
            </p:nvSpPr>
            <p:spPr bwMode="auto">
              <a:xfrm>
                <a:off x="7560492" y="344139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76" name="Line 13"/>
              <p:cNvSpPr>
                <a:spLocks noChangeShapeType="1"/>
              </p:cNvSpPr>
              <p:nvPr/>
            </p:nvSpPr>
            <p:spPr bwMode="auto">
              <a:xfrm>
                <a:off x="6859717" y="2905141"/>
                <a:ext cx="0" cy="111731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77" name="Freeform 14"/>
              <p:cNvSpPr>
                <a:spLocks/>
              </p:cNvSpPr>
              <p:nvPr/>
            </p:nvSpPr>
            <p:spPr bwMode="auto">
              <a:xfrm>
                <a:off x="6808154" y="2961166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79" name="Line 16"/>
              <p:cNvSpPr>
                <a:spLocks noChangeShapeType="1"/>
              </p:cNvSpPr>
              <p:nvPr/>
            </p:nvSpPr>
            <p:spPr bwMode="auto">
              <a:xfrm>
                <a:off x="6501226" y="2701019"/>
                <a:ext cx="0" cy="143960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0" name="Freeform 17"/>
              <p:cNvSpPr>
                <a:spLocks/>
              </p:cNvSpPr>
              <p:nvPr/>
            </p:nvSpPr>
            <p:spPr bwMode="auto">
              <a:xfrm>
                <a:off x="6449664" y="2789274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2" name="Line 19"/>
              <p:cNvSpPr>
                <a:spLocks noChangeShapeType="1"/>
              </p:cNvSpPr>
              <p:nvPr/>
            </p:nvSpPr>
            <p:spPr bwMode="auto">
              <a:xfrm>
                <a:off x="6299575" y="2636558"/>
                <a:ext cx="0" cy="197676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3" name="Freeform 20"/>
              <p:cNvSpPr>
                <a:spLocks/>
              </p:cNvSpPr>
              <p:nvPr/>
            </p:nvSpPr>
            <p:spPr bwMode="auto">
              <a:xfrm>
                <a:off x="6248014" y="2778531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5" name="Line 22"/>
              <p:cNvSpPr>
                <a:spLocks noChangeShapeType="1"/>
              </p:cNvSpPr>
              <p:nvPr/>
            </p:nvSpPr>
            <p:spPr bwMode="auto">
              <a:xfrm>
                <a:off x="6097926" y="2741843"/>
                <a:ext cx="0" cy="184784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6" name="Freeform 23"/>
              <p:cNvSpPr>
                <a:spLocks/>
              </p:cNvSpPr>
              <p:nvPr/>
            </p:nvSpPr>
            <p:spPr bwMode="auto">
              <a:xfrm>
                <a:off x="6040970" y="287092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8" name="Line 25"/>
              <p:cNvSpPr>
                <a:spLocks noChangeShapeType="1"/>
              </p:cNvSpPr>
              <p:nvPr/>
            </p:nvSpPr>
            <p:spPr bwMode="auto">
              <a:xfrm>
                <a:off x="5896273" y="2584990"/>
                <a:ext cx="0" cy="225609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89" name="Freeform 26"/>
              <p:cNvSpPr>
                <a:spLocks/>
              </p:cNvSpPr>
              <p:nvPr/>
            </p:nvSpPr>
            <p:spPr bwMode="auto">
              <a:xfrm>
                <a:off x="5839321" y="275274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1" name="Line 28"/>
              <p:cNvSpPr>
                <a:spLocks noChangeShapeType="1"/>
              </p:cNvSpPr>
              <p:nvPr/>
            </p:nvSpPr>
            <p:spPr bwMode="auto">
              <a:xfrm>
                <a:off x="5327171" y="2860019"/>
                <a:ext cx="0" cy="219164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2" name="Freeform 29"/>
              <p:cNvSpPr>
                <a:spLocks/>
              </p:cNvSpPr>
              <p:nvPr/>
            </p:nvSpPr>
            <p:spPr bwMode="auto">
              <a:xfrm>
                <a:off x="5273370" y="302132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4" name="Line 31"/>
              <p:cNvSpPr>
                <a:spLocks noChangeShapeType="1"/>
              </p:cNvSpPr>
              <p:nvPr/>
            </p:nvSpPr>
            <p:spPr bwMode="auto">
              <a:xfrm>
                <a:off x="4911097" y="2685977"/>
                <a:ext cx="0" cy="169744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5" name="Freeform 32"/>
              <p:cNvSpPr>
                <a:spLocks/>
              </p:cNvSpPr>
              <p:nvPr/>
            </p:nvSpPr>
            <p:spPr bwMode="auto">
              <a:xfrm>
                <a:off x="4855713" y="280001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7" name="Line 34"/>
              <p:cNvSpPr>
                <a:spLocks noChangeShapeType="1"/>
              </p:cNvSpPr>
              <p:nvPr/>
            </p:nvSpPr>
            <p:spPr bwMode="auto">
              <a:xfrm>
                <a:off x="4554178" y="2819194"/>
                <a:ext cx="2240" cy="92392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598" name="Freeform 35"/>
              <p:cNvSpPr>
                <a:spLocks/>
              </p:cNvSpPr>
              <p:nvPr/>
            </p:nvSpPr>
            <p:spPr bwMode="auto">
              <a:xfrm>
                <a:off x="4491832" y="2853734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0" name="Line 37"/>
              <p:cNvSpPr>
                <a:spLocks noChangeShapeType="1"/>
              </p:cNvSpPr>
              <p:nvPr/>
            </p:nvSpPr>
            <p:spPr bwMode="auto">
              <a:xfrm>
                <a:off x="4164320" y="2432436"/>
                <a:ext cx="0" cy="210567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1" name="Freeform 38"/>
              <p:cNvSpPr>
                <a:spLocks/>
              </p:cNvSpPr>
              <p:nvPr/>
            </p:nvSpPr>
            <p:spPr bwMode="auto">
              <a:xfrm>
                <a:off x="4102884" y="2592758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3" name="Line 40"/>
              <p:cNvSpPr>
                <a:spLocks noChangeShapeType="1"/>
              </p:cNvSpPr>
              <p:nvPr/>
            </p:nvSpPr>
            <p:spPr bwMode="auto">
              <a:xfrm>
                <a:off x="3971632" y="2447477"/>
                <a:ext cx="2240" cy="94541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4" name="Freeform 41"/>
              <p:cNvSpPr>
                <a:spLocks/>
              </p:cNvSpPr>
              <p:nvPr/>
            </p:nvSpPr>
            <p:spPr bwMode="auto">
              <a:xfrm>
                <a:off x="3914680" y="2484165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6" name="Line 43"/>
              <p:cNvSpPr>
                <a:spLocks noChangeShapeType="1"/>
              </p:cNvSpPr>
              <p:nvPr/>
            </p:nvSpPr>
            <p:spPr bwMode="auto">
              <a:xfrm>
                <a:off x="3735881" y="2107989"/>
                <a:ext cx="0" cy="174041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7" name="Freeform 44"/>
              <p:cNvSpPr>
                <a:spLocks/>
              </p:cNvSpPr>
              <p:nvPr/>
            </p:nvSpPr>
            <p:spPr bwMode="auto">
              <a:xfrm>
                <a:off x="3679837" y="219209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09" name="Line 46"/>
              <p:cNvSpPr>
                <a:spLocks noChangeShapeType="1"/>
              </p:cNvSpPr>
              <p:nvPr/>
            </p:nvSpPr>
            <p:spPr bwMode="auto">
              <a:xfrm>
                <a:off x="3588495" y="1735197"/>
                <a:ext cx="0" cy="355602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0" name="Freeform 47"/>
              <p:cNvSpPr>
                <a:spLocks/>
              </p:cNvSpPr>
              <p:nvPr/>
            </p:nvSpPr>
            <p:spPr bwMode="auto">
              <a:xfrm>
                <a:off x="3536931" y="203294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2" name="Line 49"/>
              <p:cNvSpPr>
                <a:spLocks noChangeShapeType="1"/>
              </p:cNvSpPr>
              <p:nvPr/>
            </p:nvSpPr>
            <p:spPr bwMode="auto">
              <a:xfrm>
                <a:off x="2965620" y="2630112"/>
                <a:ext cx="0" cy="210567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3" name="Freeform 50"/>
              <p:cNvSpPr>
                <a:spLocks/>
              </p:cNvSpPr>
              <p:nvPr/>
            </p:nvSpPr>
            <p:spPr bwMode="auto">
              <a:xfrm>
                <a:off x="2914055" y="278282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5" name="Line 52"/>
              <p:cNvSpPr>
                <a:spLocks noChangeShapeType="1"/>
              </p:cNvSpPr>
              <p:nvPr/>
            </p:nvSpPr>
            <p:spPr bwMode="auto">
              <a:xfrm>
                <a:off x="2607129" y="2630112"/>
                <a:ext cx="0" cy="148257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6" name="Freeform 53"/>
              <p:cNvSpPr>
                <a:spLocks/>
              </p:cNvSpPr>
              <p:nvPr/>
            </p:nvSpPr>
            <p:spPr bwMode="auto">
              <a:xfrm>
                <a:off x="2550174" y="2722666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8" name="Line 55"/>
              <p:cNvSpPr>
                <a:spLocks noChangeShapeType="1"/>
              </p:cNvSpPr>
              <p:nvPr/>
            </p:nvSpPr>
            <p:spPr bwMode="auto">
              <a:xfrm>
                <a:off x="2383072" y="2544167"/>
                <a:ext cx="0" cy="148257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19" name="Freeform 56"/>
              <p:cNvSpPr>
                <a:spLocks/>
              </p:cNvSpPr>
              <p:nvPr/>
            </p:nvSpPr>
            <p:spPr bwMode="auto">
              <a:xfrm>
                <a:off x="2331510" y="2636718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1" name="Line 58"/>
              <p:cNvSpPr>
                <a:spLocks noChangeShapeType="1"/>
              </p:cNvSpPr>
              <p:nvPr/>
            </p:nvSpPr>
            <p:spPr bwMode="auto">
              <a:xfrm>
                <a:off x="2181422" y="2544167"/>
                <a:ext cx="0" cy="204122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2" name="Freeform 59"/>
              <p:cNvSpPr>
                <a:spLocks/>
              </p:cNvSpPr>
              <p:nvPr/>
            </p:nvSpPr>
            <p:spPr bwMode="auto">
              <a:xfrm>
                <a:off x="2124467" y="2692584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4" name="Line 61"/>
              <p:cNvSpPr>
                <a:spLocks noChangeShapeType="1"/>
              </p:cNvSpPr>
              <p:nvPr/>
            </p:nvSpPr>
            <p:spPr bwMode="auto">
              <a:xfrm>
                <a:off x="2015622" y="2539869"/>
                <a:ext cx="0" cy="244947"/>
              </a:xfrm>
              <a:prstGeom prst="line">
                <a:avLst/>
              </a:prstGeom>
              <a:noFill/>
              <a:ln w="19050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5" name="Freeform 62"/>
              <p:cNvSpPr>
                <a:spLocks/>
              </p:cNvSpPr>
              <p:nvPr/>
            </p:nvSpPr>
            <p:spPr bwMode="auto">
              <a:xfrm>
                <a:off x="1951945" y="2726963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6" name="Freeform 63"/>
              <p:cNvSpPr>
                <a:spLocks/>
              </p:cNvSpPr>
              <p:nvPr/>
            </p:nvSpPr>
            <p:spPr bwMode="auto">
              <a:xfrm>
                <a:off x="1860501" y="329635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7" name="Freeform 64"/>
              <p:cNvSpPr>
                <a:spLocks/>
              </p:cNvSpPr>
              <p:nvPr/>
            </p:nvSpPr>
            <p:spPr bwMode="auto">
              <a:xfrm>
                <a:off x="1775360" y="3351146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8" name="Freeform 65"/>
              <p:cNvSpPr>
                <a:spLocks/>
              </p:cNvSpPr>
              <p:nvPr/>
            </p:nvSpPr>
            <p:spPr bwMode="auto">
              <a:xfrm>
                <a:off x="1667813" y="340701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29" name="Freeform 66"/>
              <p:cNvSpPr>
                <a:spLocks/>
              </p:cNvSpPr>
              <p:nvPr/>
            </p:nvSpPr>
            <p:spPr bwMode="auto">
              <a:xfrm>
                <a:off x="1542341" y="3411308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30" name="Freeform 67"/>
              <p:cNvSpPr>
                <a:spLocks/>
              </p:cNvSpPr>
              <p:nvPr/>
            </p:nvSpPr>
            <p:spPr bwMode="auto">
              <a:xfrm>
                <a:off x="3270725" y="2993718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31" name="Freeform 68"/>
              <p:cNvSpPr>
                <a:spLocks/>
              </p:cNvSpPr>
              <p:nvPr/>
            </p:nvSpPr>
            <p:spPr bwMode="auto">
              <a:xfrm>
                <a:off x="3431207" y="266680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32" name="Freeform 69"/>
              <p:cNvSpPr>
                <a:spLocks/>
              </p:cNvSpPr>
              <p:nvPr/>
            </p:nvSpPr>
            <p:spPr bwMode="auto">
              <a:xfrm>
                <a:off x="5640329" y="3124465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66633" name="Freeform 70"/>
              <p:cNvSpPr>
                <a:spLocks/>
              </p:cNvSpPr>
              <p:nvPr/>
            </p:nvSpPr>
            <p:spPr bwMode="auto">
              <a:xfrm>
                <a:off x="5744378" y="280861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</p:grpSp>
        <p:sp>
          <p:nvSpPr>
            <p:cNvPr id="66634" name="Line 71"/>
            <p:cNvSpPr>
              <a:spLocks noChangeShapeType="1"/>
            </p:cNvSpPr>
            <p:nvPr/>
          </p:nvSpPr>
          <p:spPr bwMode="auto">
            <a:xfrm>
              <a:off x="1701710" y="1512247"/>
              <a:ext cx="0" cy="268193"/>
            </a:xfrm>
            <a:prstGeom prst="line">
              <a:avLst/>
            </a:prstGeom>
            <a:noFill/>
            <a:ln w="19050">
              <a:solidFill>
                <a:srgbClr val="001965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35" name="Line 73"/>
            <p:cNvSpPr>
              <a:spLocks noChangeShapeType="1"/>
            </p:cNvSpPr>
            <p:nvPr/>
          </p:nvSpPr>
          <p:spPr bwMode="auto">
            <a:xfrm>
              <a:off x="3265738" y="1512247"/>
              <a:ext cx="0" cy="268193"/>
            </a:xfrm>
            <a:prstGeom prst="line">
              <a:avLst/>
            </a:prstGeom>
            <a:noFill/>
            <a:ln w="19050">
              <a:solidFill>
                <a:srgbClr val="001965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36" name="Line 75"/>
            <p:cNvSpPr>
              <a:spLocks noChangeShapeType="1"/>
            </p:cNvSpPr>
            <p:nvPr/>
          </p:nvSpPr>
          <p:spPr bwMode="auto">
            <a:xfrm>
              <a:off x="5674408" y="1512247"/>
              <a:ext cx="0" cy="268193"/>
            </a:xfrm>
            <a:prstGeom prst="line">
              <a:avLst/>
            </a:prstGeom>
            <a:noFill/>
            <a:ln w="19050">
              <a:solidFill>
                <a:srgbClr val="001965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37" name="Freeform 77"/>
            <p:cNvSpPr>
              <a:spLocks/>
            </p:cNvSpPr>
            <p:nvPr/>
          </p:nvSpPr>
          <p:spPr bwMode="auto">
            <a:xfrm>
              <a:off x="6966276" y="1402149"/>
              <a:ext cx="147714" cy="1536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38" name="Line 78"/>
            <p:cNvSpPr>
              <a:spLocks noChangeShapeType="1"/>
            </p:cNvSpPr>
            <p:nvPr/>
          </p:nvSpPr>
          <p:spPr bwMode="auto">
            <a:xfrm>
              <a:off x="1103070" y="1777327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39" name="Line 79"/>
            <p:cNvSpPr>
              <a:spLocks noChangeShapeType="1"/>
            </p:cNvSpPr>
            <p:nvPr/>
          </p:nvSpPr>
          <p:spPr bwMode="auto">
            <a:xfrm>
              <a:off x="1103070" y="2215607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0" name="Line 80"/>
            <p:cNvSpPr>
              <a:spLocks noChangeShapeType="1"/>
            </p:cNvSpPr>
            <p:nvPr/>
          </p:nvSpPr>
          <p:spPr bwMode="auto">
            <a:xfrm>
              <a:off x="1103070" y="2653887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1" name="Line 81"/>
            <p:cNvSpPr>
              <a:spLocks noChangeShapeType="1"/>
            </p:cNvSpPr>
            <p:nvPr/>
          </p:nvSpPr>
          <p:spPr bwMode="auto">
            <a:xfrm>
              <a:off x="1103070" y="3092166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2" name="Line 82"/>
            <p:cNvSpPr>
              <a:spLocks noChangeShapeType="1"/>
            </p:cNvSpPr>
            <p:nvPr/>
          </p:nvSpPr>
          <p:spPr bwMode="auto">
            <a:xfrm>
              <a:off x="1103070" y="3530446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3" name="Line 83"/>
            <p:cNvSpPr>
              <a:spLocks noChangeShapeType="1"/>
            </p:cNvSpPr>
            <p:nvPr/>
          </p:nvSpPr>
          <p:spPr bwMode="auto">
            <a:xfrm>
              <a:off x="1103070" y="3968726"/>
              <a:ext cx="72000" cy="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4" name="Line 84"/>
            <p:cNvSpPr>
              <a:spLocks noChangeShapeType="1"/>
            </p:cNvSpPr>
            <p:nvPr/>
          </p:nvSpPr>
          <p:spPr bwMode="auto">
            <a:xfrm flipV="1">
              <a:off x="1513242" y="3968813"/>
              <a:ext cx="0" cy="7200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5" name="Line 87"/>
            <p:cNvSpPr>
              <a:spLocks noChangeShapeType="1"/>
            </p:cNvSpPr>
            <p:nvPr/>
          </p:nvSpPr>
          <p:spPr bwMode="auto">
            <a:xfrm flipV="1">
              <a:off x="5565235" y="3968813"/>
              <a:ext cx="0" cy="7200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6" name="Line 93"/>
            <p:cNvSpPr>
              <a:spLocks noChangeShapeType="1"/>
            </p:cNvSpPr>
            <p:nvPr/>
          </p:nvSpPr>
          <p:spPr bwMode="auto">
            <a:xfrm flipV="1">
              <a:off x="3133580" y="3968813"/>
              <a:ext cx="0" cy="7200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7" name="Line 97"/>
            <p:cNvSpPr>
              <a:spLocks noChangeShapeType="1"/>
            </p:cNvSpPr>
            <p:nvPr/>
          </p:nvSpPr>
          <p:spPr bwMode="auto">
            <a:xfrm flipV="1">
              <a:off x="6778764" y="3968813"/>
              <a:ext cx="0" cy="7200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8" name="Line 98"/>
            <p:cNvSpPr>
              <a:spLocks noChangeShapeType="1"/>
            </p:cNvSpPr>
            <p:nvPr/>
          </p:nvSpPr>
          <p:spPr bwMode="auto">
            <a:xfrm flipV="1">
              <a:off x="7640742" y="3968813"/>
              <a:ext cx="0" cy="72000"/>
            </a:xfrm>
            <a:prstGeom prst="line">
              <a:avLst/>
            </a:prstGeom>
            <a:noFill/>
            <a:ln w="19050">
              <a:solidFill>
                <a:srgbClr val="2227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49" name="Freeform 99"/>
            <p:cNvSpPr>
              <a:spLocks/>
            </p:cNvSpPr>
            <p:nvPr/>
          </p:nvSpPr>
          <p:spPr bwMode="auto">
            <a:xfrm>
              <a:off x="1173092" y="1770451"/>
              <a:ext cx="6472706" cy="2198275"/>
            </a:xfrm>
            <a:custGeom>
              <a:avLst/>
              <a:gdLst>
                <a:gd name="T0" fmla="*/ 0 w 2888"/>
                <a:gd name="T1" fmla="*/ 0 h 1918"/>
                <a:gd name="T2" fmla="*/ 0 w 2888"/>
                <a:gd name="T3" fmla="*/ 2147483647 h 1918"/>
                <a:gd name="T4" fmla="*/ 2147483647 w 2888"/>
                <a:gd name="T5" fmla="*/ 2147483647 h 1918"/>
                <a:gd name="T6" fmla="*/ 0 60000 65536"/>
                <a:gd name="T7" fmla="*/ 0 60000 65536"/>
                <a:gd name="T8" fmla="*/ 0 60000 65536"/>
                <a:gd name="T9" fmla="*/ 0 w 2888"/>
                <a:gd name="T10" fmla="*/ 0 h 1918"/>
                <a:gd name="T11" fmla="*/ 2888 w 2888"/>
                <a:gd name="T12" fmla="*/ 1918 h 19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88" h="1918">
                  <a:moveTo>
                    <a:pt x="0" y="0"/>
                  </a:moveTo>
                  <a:lnTo>
                    <a:pt x="0" y="1918"/>
                  </a:lnTo>
                  <a:lnTo>
                    <a:pt x="2888" y="1918"/>
                  </a:lnTo>
                </a:path>
              </a:pathLst>
            </a:custGeom>
            <a:noFill/>
            <a:ln w="19050">
              <a:solidFill>
                <a:srgbClr val="2227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6663" name="TextBox 114"/>
            <p:cNvSpPr txBox="1">
              <a:spLocks noChangeArrowheads="1"/>
            </p:cNvSpPr>
            <p:nvPr/>
          </p:nvSpPr>
          <p:spPr bwMode="auto">
            <a:xfrm>
              <a:off x="1450672" y="1271560"/>
              <a:ext cx="494366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</a:rPr>
                <a:t>Meal</a:t>
              </a:r>
            </a:p>
          </p:txBody>
        </p:sp>
        <p:sp>
          <p:nvSpPr>
            <p:cNvPr id="66664" name="TextBox 115"/>
            <p:cNvSpPr txBox="1">
              <a:spLocks noChangeArrowheads="1"/>
            </p:cNvSpPr>
            <p:nvPr/>
          </p:nvSpPr>
          <p:spPr bwMode="auto">
            <a:xfrm>
              <a:off x="3016094" y="1271560"/>
              <a:ext cx="494366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</a:rPr>
                <a:t>Meal</a:t>
              </a:r>
            </a:p>
          </p:txBody>
        </p:sp>
        <p:sp>
          <p:nvSpPr>
            <p:cNvPr id="66665" name="TextBox 116"/>
            <p:cNvSpPr txBox="1">
              <a:spLocks noChangeArrowheads="1"/>
            </p:cNvSpPr>
            <p:nvPr/>
          </p:nvSpPr>
          <p:spPr bwMode="auto">
            <a:xfrm>
              <a:off x="5424521" y="1271560"/>
              <a:ext cx="494366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</a:rPr>
                <a:t>Meal</a:t>
              </a:r>
            </a:p>
          </p:txBody>
        </p:sp>
        <p:sp>
          <p:nvSpPr>
            <p:cNvPr id="66566" name="TextBox 6"/>
            <p:cNvSpPr txBox="1">
              <a:spLocks noChangeArrowheads="1"/>
            </p:cNvSpPr>
            <p:nvPr/>
          </p:nvSpPr>
          <p:spPr bwMode="auto">
            <a:xfrm>
              <a:off x="7168533" y="1419316"/>
              <a:ext cx="433052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67" dirty="0">
                  <a:solidFill>
                    <a:srgbClr val="001965"/>
                  </a:solidFill>
                </a:rPr>
                <a:t>n=6</a:t>
              </a:r>
            </a:p>
          </p:txBody>
        </p:sp>
        <p:sp>
          <p:nvSpPr>
            <p:cNvPr id="66569" name="Text Box 44"/>
            <p:cNvSpPr txBox="1">
              <a:spLocks noChangeArrowheads="1"/>
            </p:cNvSpPr>
            <p:nvPr/>
          </p:nvSpPr>
          <p:spPr bwMode="auto">
            <a:xfrm rot="16200000">
              <a:off x="-576996" y="2638763"/>
              <a:ext cx="2198275" cy="461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03" tIns="60951" rIns="121903" bIns="60951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</a:rPr>
                <a:t>Plasma GLP-1 concentration (pmol/L)</a:t>
              </a:r>
            </a:p>
          </p:txBody>
        </p:sp>
        <p:sp>
          <p:nvSpPr>
            <p:cNvPr id="66651" name="TextBox 102"/>
            <p:cNvSpPr txBox="1">
              <a:spLocks noChangeArrowheads="1"/>
            </p:cNvSpPr>
            <p:nvPr/>
          </p:nvSpPr>
          <p:spPr bwMode="auto">
            <a:xfrm>
              <a:off x="1404356" y="4061798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9</a:t>
              </a:r>
            </a:p>
          </p:txBody>
        </p:sp>
        <p:sp>
          <p:nvSpPr>
            <p:cNvPr id="66652" name="TextBox 103"/>
            <p:cNvSpPr txBox="1">
              <a:spLocks noChangeArrowheads="1"/>
            </p:cNvSpPr>
            <p:nvPr/>
          </p:nvSpPr>
          <p:spPr bwMode="auto">
            <a:xfrm>
              <a:off x="2986660" y="4054923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3</a:t>
              </a:r>
            </a:p>
          </p:txBody>
        </p:sp>
        <p:sp>
          <p:nvSpPr>
            <p:cNvPr id="66653" name="TextBox 104"/>
            <p:cNvSpPr txBox="1">
              <a:spLocks noChangeArrowheads="1"/>
            </p:cNvSpPr>
            <p:nvPr/>
          </p:nvSpPr>
          <p:spPr bwMode="auto">
            <a:xfrm>
              <a:off x="5413717" y="4048045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9</a:t>
              </a:r>
            </a:p>
          </p:txBody>
        </p:sp>
        <p:sp>
          <p:nvSpPr>
            <p:cNvPr id="66654" name="TextBox 105"/>
            <p:cNvSpPr txBox="1">
              <a:spLocks noChangeArrowheads="1"/>
            </p:cNvSpPr>
            <p:nvPr/>
          </p:nvSpPr>
          <p:spPr bwMode="auto">
            <a:xfrm>
              <a:off x="6627248" y="4048045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2</a:t>
              </a:r>
            </a:p>
          </p:txBody>
        </p:sp>
        <p:sp>
          <p:nvSpPr>
            <p:cNvPr id="66656" name="TextBox 107"/>
            <p:cNvSpPr txBox="1">
              <a:spLocks noChangeArrowheads="1"/>
            </p:cNvSpPr>
            <p:nvPr/>
          </p:nvSpPr>
          <p:spPr bwMode="auto">
            <a:xfrm>
              <a:off x="4005368" y="4225472"/>
              <a:ext cx="80815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 dirty="0">
                  <a:solidFill>
                    <a:srgbClr val="001965"/>
                  </a:solidFill>
                </a:rPr>
                <a:t>Time (h)</a:t>
              </a:r>
            </a:p>
          </p:txBody>
        </p:sp>
        <p:sp>
          <p:nvSpPr>
            <p:cNvPr id="66657" name="TextBox 108"/>
            <p:cNvSpPr txBox="1">
              <a:spLocks noChangeArrowheads="1"/>
            </p:cNvSpPr>
            <p:nvPr/>
          </p:nvSpPr>
          <p:spPr bwMode="auto">
            <a:xfrm>
              <a:off x="906507" y="3868850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0</a:t>
              </a:r>
            </a:p>
          </p:txBody>
        </p:sp>
        <p:sp>
          <p:nvSpPr>
            <p:cNvPr id="66658" name="TextBox 109"/>
            <p:cNvSpPr txBox="1">
              <a:spLocks noChangeArrowheads="1"/>
            </p:cNvSpPr>
            <p:nvPr/>
          </p:nvSpPr>
          <p:spPr bwMode="auto">
            <a:xfrm>
              <a:off x="824753" y="3436023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0</a:t>
              </a:r>
            </a:p>
          </p:txBody>
        </p:sp>
        <p:sp>
          <p:nvSpPr>
            <p:cNvPr id="66659" name="TextBox 110"/>
            <p:cNvSpPr txBox="1">
              <a:spLocks noChangeArrowheads="1"/>
            </p:cNvSpPr>
            <p:nvPr/>
          </p:nvSpPr>
          <p:spPr bwMode="auto">
            <a:xfrm>
              <a:off x="824753" y="2997056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0</a:t>
              </a:r>
            </a:p>
          </p:txBody>
        </p:sp>
        <p:sp>
          <p:nvSpPr>
            <p:cNvPr id="66660" name="TextBox 111"/>
            <p:cNvSpPr txBox="1">
              <a:spLocks noChangeArrowheads="1"/>
            </p:cNvSpPr>
            <p:nvPr/>
          </p:nvSpPr>
          <p:spPr bwMode="auto">
            <a:xfrm>
              <a:off x="824753" y="2554103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30</a:t>
              </a:r>
            </a:p>
          </p:txBody>
        </p:sp>
        <p:sp>
          <p:nvSpPr>
            <p:cNvPr id="66661" name="TextBox 112"/>
            <p:cNvSpPr txBox="1">
              <a:spLocks noChangeArrowheads="1"/>
            </p:cNvSpPr>
            <p:nvPr/>
          </p:nvSpPr>
          <p:spPr bwMode="auto">
            <a:xfrm>
              <a:off x="824753" y="2119118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40</a:t>
              </a:r>
            </a:p>
          </p:txBody>
        </p:sp>
        <p:sp>
          <p:nvSpPr>
            <p:cNvPr id="66662" name="TextBox 113"/>
            <p:cNvSpPr txBox="1">
              <a:spLocks noChangeArrowheads="1"/>
            </p:cNvSpPr>
            <p:nvPr/>
          </p:nvSpPr>
          <p:spPr bwMode="auto">
            <a:xfrm>
              <a:off x="824753" y="1676165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50</a:t>
              </a:r>
            </a:p>
          </p:txBody>
        </p:sp>
        <p:sp>
          <p:nvSpPr>
            <p:cNvPr id="66567" name="TextBox 105"/>
            <p:cNvSpPr txBox="1">
              <a:spLocks noChangeArrowheads="1"/>
            </p:cNvSpPr>
            <p:nvPr/>
          </p:nvSpPr>
          <p:spPr bwMode="auto">
            <a:xfrm>
              <a:off x="7489741" y="4049191"/>
              <a:ext cx="30200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04886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1630995" y="848949"/>
            <a:ext cx="8252444" cy="5186851"/>
            <a:chOff x="1223244" y="517960"/>
            <a:chExt cx="6189333" cy="3890138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2856"/>
            <a:stretch/>
          </p:blipFill>
          <p:spPr>
            <a:xfrm>
              <a:off x="1223244" y="517960"/>
              <a:ext cx="6189333" cy="3890138"/>
            </a:xfrm>
            <a:prstGeom prst="rect">
              <a:avLst/>
            </a:prstGeom>
          </p:spPr>
        </p:pic>
        <p:pic>
          <p:nvPicPr>
            <p:cNvPr id="34" name="Picture 33" descr="brain1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08684" y="832994"/>
              <a:ext cx="778187" cy="597471"/>
            </a:xfrm>
            <a:prstGeom prst="rect">
              <a:avLst/>
            </a:prstGeom>
          </p:spPr>
        </p:pic>
      </p:grpSp>
      <p:pic>
        <p:nvPicPr>
          <p:cNvPr id="35" name="Picture 34" descr="heartLung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127" y="3034547"/>
            <a:ext cx="1347772" cy="1269956"/>
          </a:xfrm>
          <a:prstGeom prst="rect">
            <a:avLst/>
          </a:prstGeom>
        </p:spPr>
      </p:pic>
      <p:cxnSp>
        <p:nvCxnSpPr>
          <p:cNvPr id="140" name="Straight Arrow Connector 139"/>
          <p:cNvCxnSpPr/>
          <p:nvPr/>
        </p:nvCxnSpPr>
        <p:spPr>
          <a:xfrm flipV="1">
            <a:off x="3279025" y="1598085"/>
            <a:ext cx="2360984" cy="77714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/>
          <p:nvPr/>
        </p:nvCxnSpPr>
        <p:spPr>
          <a:xfrm>
            <a:off x="3279027" y="3064692"/>
            <a:ext cx="2329085" cy="195895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 flipH="1" flipV="1">
            <a:off x="6468538" y="5044305"/>
            <a:ext cx="2258791" cy="555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/>
          <p:nvPr/>
        </p:nvCxnSpPr>
        <p:spPr>
          <a:xfrm flipH="1" flipV="1">
            <a:off x="6096003" y="5204418"/>
            <a:ext cx="2631324" cy="53431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 flipH="1">
            <a:off x="5727013" y="4360980"/>
            <a:ext cx="3008783" cy="11287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7" name="Straight Arrow Connector 146"/>
          <p:cNvCxnSpPr/>
          <p:nvPr/>
        </p:nvCxnSpPr>
        <p:spPr>
          <a:xfrm flipH="1">
            <a:off x="6096003" y="2961293"/>
            <a:ext cx="2672468" cy="64793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 flipH="1" flipV="1">
            <a:off x="6096005" y="1667308"/>
            <a:ext cx="2658001" cy="63989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" y="6406598"/>
            <a:ext cx="10904369" cy="453584"/>
          </a:xfrm>
          <a:prstGeom prst="rect">
            <a:avLst/>
          </a:prstGeom>
          <a:noFill/>
        </p:spPr>
        <p:txBody>
          <a:bodyPr wrap="none" lIns="120224" tIns="61975" rIns="120224" bIns="61975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Merchenthaler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J Comp Neurol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1999;403:261–80; Baggio, Drucker.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Gastroenterology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07;132:2131–57; Ban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Circulation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08;117:2340–50; </a:t>
            </a:r>
            <a:b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</a:b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Vrang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Prog Neurobiol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10;92:442–62; Pyke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Endocrinology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2014;155:1280–9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LP-1 secretion and receptor express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10526" y="1570922"/>
            <a:ext cx="3094752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b="1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GLP-1 is secreted by:</a:t>
            </a:r>
            <a:endParaRPr lang="en-GB" sz="1867" b="1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254663" y="1570922"/>
            <a:ext cx="3431383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b="1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GLP-1R is expressed in:</a:t>
            </a:r>
            <a:endParaRPr lang="en-GB" sz="1867" b="1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438577" y="6251975"/>
            <a:ext cx="5963914" cy="289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224" tIns="61975" rIns="120224" bIns="61975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cs typeface="Verdana" panose="020B0604030504040204" pitchFamily="34" charset="0"/>
              </a:rPr>
              <a:t>AV, atrioventricular; GI, gastrointestinal; GLP-1R, glucagon-like peptide-1 receptor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487738" y="4155798"/>
            <a:ext cx="1320805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Pancreas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8717141" y="4072979"/>
            <a:ext cx="576000" cy="576000"/>
            <a:chOff x="3771963" y="2026200"/>
            <a:chExt cx="764086" cy="767437"/>
          </a:xfrm>
        </p:grpSpPr>
        <p:sp>
          <p:nvSpPr>
            <p:cNvPr id="66" name="Freeform 198"/>
            <p:cNvSpPr>
              <a:spLocks/>
            </p:cNvSpPr>
            <p:nvPr/>
          </p:nvSpPr>
          <p:spPr bwMode="auto">
            <a:xfrm>
              <a:off x="3771963" y="2026200"/>
              <a:ext cx="764086" cy="767437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7" name="Freeform 276"/>
            <p:cNvSpPr>
              <a:spLocks noEditPoints="1"/>
            </p:cNvSpPr>
            <p:nvPr/>
          </p:nvSpPr>
          <p:spPr bwMode="auto">
            <a:xfrm>
              <a:off x="3820855" y="2172102"/>
              <a:ext cx="666303" cy="475632"/>
            </a:xfrm>
            <a:custGeom>
              <a:avLst/>
              <a:gdLst>
                <a:gd name="T0" fmla="*/ 81 w 255"/>
                <a:gd name="T1" fmla="*/ 29 h 182"/>
                <a:gd name="T2" fmla="*/ 168 w 255"/>
                <a:gd name="T3" fmla="*/ 31 h 182"/>
                <a:gd name="T4" fmla="*/ 242 w 255"/>
                <a:gd name="T5" fmla="*/ 4 h 182"/>
                <a:gd name="T6" fmla="*/ 253 w 255"/>
                <a:gd name="T7" fmla="*/ 35 h 182"/>
                <a:gd name="T8" fmla="*/ 217 w 255"/>
                <a:gd name="T9" fmla="*/ 79 h 182"/>
                <a:gd name="T10" fmla="*/ 147 w 255"/>
                <a:gd name="T11" fmla="*/ 116 h 182"/>
                <a:gd name="T12" fmla="*/ 167 w 255"/>
                <a:gd name="T13" fmla="*/ 170 h 182"/>
                <a:gd name="T14" fmla="*/ 141 w 255"/>
                <a:gd name="T15" fmla="*/ 180 h 182"/>
                <a:gd name="T16" fmla="*/ 133 w 255"/>
                <a:gd name="T17" fmla="*/ 159 h 182"/>
                <a:gd name="T18" fmla="*/ 125 w 255"/>
                <a:gd name="T19" fmla="*/ 154 h 182"/>
                <a:gd name="T20" fmla="*/ 16 w 255"/>
                <a:gd name="T21" fmla="*/ 139 h 182"/>
                <a:gd name="T22" fmla="*/ 3 w 255"/>
                <a:gd name="T23" fmla="*/ 71 h 182"/>
                <a:gd name="T24" fmla="*/ 14 w 255"/>
                <a:gd name="T25" fmla="*/ 30 h 182"/>
                <a:gd name="T26" fmla="*/ 54 w 255"/>
                <a:gd name="T27" fmla="*/ 44 h 182"/>
                <a:gd name="T28" fmla="*/ 69 w 255"/>
                <a:gd name="T29" fmla="*/ 34 h 182"/>
                <a:gd name="T30" fmla="*/ 56 w 255"/>
                <a:gd name="T31" fmla="*/ 108 h 182"/>
                <a:gd name="T32" fmla="*/ 96 w 255"/>
                <a:gd name="T33" fmla="*/ 128 h 182"/>
                <a:gd name="T34" fmla="*/ 130 w 255"/>
                <a:gd name="T35" fmla="*/ 114 h 182"/>
                <a:gd name="T36" fmla="*/ 146 w 255"/>
                <a:gd name="T37" fmla="*/ 110 h 182"/>
                <a:gd name="T38" fmla="*/ 137 w 255"/>
                <a:gd name="T39" fmla="*/ 105 h 182"/>
                <a:gd name="T40" fmla="*/ 149 w 255"/>
                <a:gd name="T41" fmla="*/ 108 h 182"/>
                <a:gd name="T42" fmla="*/ 193 w 255"/>
                <a:gd name="T43" fmla="*/ 92 h 182"/>
                <a:gd name="T44" fmla="*/ 189 w 255"/>
                <a:gd name="T45" fmla="*/ 83 h 182"/>
                <a:gd name="T46" fmla="*/ 191 w 255"/>
                <a:gd name="T47" fmla="*/ 83 h 182"/>
                <a:gd name="T48" fmla="*/ 202 w 255"/>
                <a:gd name="T49" fmla="*/ 85 h 182"/>
                <a:gd name="T50" fmla="*/ 239 w 255"/>
                <a:gd name="T51" fmla="*/ 46 h 182"/>
                <a:gd name="T52" fmla="*/ 249 w 255"/>
                <a:gd name="T53" fmla="*/ 12 h 182"/>
                <a:gd name="T54" fmla="*/ 225 w 255"/>
                <a:gd name="T55" fmla="*/ 18 h 182"/>
                <a:gd name="T56" fmla="*/ 189 w 255"/>
                <a:gd name="T57" fmla="*/ 34 h 182"/>
                <a:gd name="T58" fmla="*/ 188 w 255"/>
                <a:gd name="T59" fmla="*/ 39 h 182"/>
                <a:gd name="T60" fmla="*/ 149 w 255"/>
                <a:gd name="T61" fmla="*/ 35 h 182"/>
                <a:gd name="T62" fmla="*/ 109 w 255"/>
                <a:gd name="T63" fmla="*/ 28 h 182"/>
                <a:gd name="T64" fmla="*/ 114 w 255"/>
                <a:gd name="T65" fmla="*/ 37 h 182"/>
                <a:gd name="T66" fmla="*/ 99 w 255"/>
                <a:gd name="T67" fmla="*/ 29 h 182"/>
                <a:gd name="T68" fmla="*/ 52 w 255"/>
                <a:gd name="T69" fmla="*/ 52 h 182"/>
                <a:gd name="T70" fmla="*/ 48 w 255"/>
                <a:gd name="T71" fmla="*/ 69 h 182"/>
                <a:gd name="T72" fmla="*/ 54 w 255"/>
                <a:gd name="T73" fmla="*/ 105 h 182"/>
                <a:gd name="T74" fmla="*/ 65 w 255"/>
                <a:gd name="T75" fmla="*/ 98 h 182"/>
                <a:gd name="T76" fmla="*/ 56 w 255"/>
                <a:gd name="T77" fmla="*/ 108 h 182"/>
                <a:gd name="T78" fmla="*/ 161 w 255"/>
                <a:gd name="T79" fmla="*/ 153 h 182"/>
                <a:gd name="T80" fmla="*/ 138 w 255"/>
                <a:gd name="T81" fmla="*/ 119 h 182"/>
                <a:gd name="T82" fmla="*/ 113 w 255"/>
                <a:gd name="T83" fmla="*/ 128 h 182"/>
                <a:gd name="T84" fmla="*/ 45 w 255"/>
                <a:gd name="T85" fmla="*/ 98 h 182"/>
                <a:gd name="T86" fmla="*/ 47 w 255"/>
                <a:gd name="T87" fmla="*/ 46 h 182"/>
                <a:gd name="T88" fmla="*/ 18 w 255"/>
                <a:gd name="T89" fmla="*/ 34 h 182"/>
                <a:gd name="T90" fmla="*/ 9 w 255"/>
                <a:gd name="T91" fmla="*/ 70 h 182"/>
                <a:gd name="T92" fmla="*/ 28 w 255"/>
                <a:gd name="T93" fmla="*/ 146 h 182"/>
                <a:gd name="T94" fmla="*/ 122 w 255"/>
                <a:gd name="T95" fmla="*/ 150 h 182"/>
                <a:gd name="T96" fmla="*/ 114 w 255"/>
                <a:gd name="T97" fmla="*/ 151 h 182"/>
                <a:gd name="T98" fmla="*/ 112 w 255"/>
                <a:gd name="T99" fmla="*/ 146 h 182"/>
                <a:gd name="T100" fmla="*/ 140 w 255"/>
                <a:gd name="T101" fmla="*/ 167 h 182"/>
                <a:gd name="T102" fmla="*/ 152 w 255"/>
                <a:gd name="T103" fmla="*/ 166 h 182"/>
                <a:gd name="T104" fmla="*/ 140 w 255"/>
                <a:gd name="T105" fmla="*/ 172 h 182"/>
                <a:gd name="T106" fmla="*/ 159 w 255"/>
                <a:gd name="T107" fmla="*/ 172 h 182"/>
                <a:gd name="T108" fmla="*/ 152 w 255"/>
                <a:gd name="T109" fmla="*/ 166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5" h="182">
                  <a:moveTo>
                    <a:pt x="76" y="30"/>
                  </a:moveTo>
                  <a:cubicBezTo>
                    <a:pt x="78" y="30"/>
                    <a:pt x="79" y="29"/>
                    <a:pt x="81" y="29"/>
                  </a:cubicBezTo>
                  <a:cubicBezTo>
                    <a:pt x="100" y="21"/>
                    <a:pt x="119" y="21"/>
                    <a:pt x="138" y="26"/>
                  </a:cubicBezTo>
                  <a:cubicBezTo>
                    <a:pt x="148" y="29"/>
                    <a:pt x="158" y="31"/>
                    <a:pt x="168" y="31"/>
                  </a:cubicBezTo>
                  <a:cubicBezTo>
                    <a:pt x="181" y="30"/>
                    <a:pt x="192" y="28"/>
                    <a:pt x="203" y="22"/>
                  </a:cubicBezTo>
                  <a:cubicBezTo>
                    <a:pt x="216" y="16"/>
                    <a:pt x="229" y="10"/>
                    <a:pt x="242" y="4"/>
                  </a:cubicBezTo>
                  <a:cubicBezTo>
                    <a:pt x="249" y="0"/>
                    <a:pt x="255" y="4"/>
                    <a:pt x="255" y="12"/>
                  </a:cubicBezTo>
                  <a:cubicBezTo>
                    <a:pt x="255" y="20"/>
                    <a:pt x="255" y="27"/>
                    <a:pt x="253" y="35"/>
                  </a:cubicBezTo>
                  <a:cubicBezTo>
                    <a:pt x="251" y="41"/>
                    <a:pt x="248" y="46"/>
                    <a:pt x="243" y="51"/>
                  </a:cubicBezTo>
                  <a:cubicBezTo>
                    <a:pt x="234" y="60"/>
                    <a:pt x="226" y="70"/>
                    <a:pt x="217" y="79"/>
                  </a:cubicBezTo>
                  <a:cubicBezTo>
                    <a:pt x="201" y="96"/>
                    <a:pt x="181" y="107"/>
                    <a:pt x="158" y="113"/>
                  </a:cubicBezTo>
                  <a:cubicBezTo>
                    <a:pt x="155" y="114"/>
                    <a:pt x="151" y="115"/>
                    <a:pt x="147" y="116"/>
                  </a:cubicBezTo>
                  <a:cubicBezTo>
                    <a:pt x="161" y="125"/>
                    <a:pt x="165" y="138"/>
                    <a:pt x="166" y="152"/>
                  </a:cubicBezTo>
                  <a:cubicBezTo>
                    <a:pt x="167" y="158"/>
                    <a:pt x="167" y="164"/>
                    <a:pt x="167" y="170"/>
                  </a:cubicBezTo>
                  <a:cubicBezTo>
                    <a:pt x="167" y="174"/>
                    <a:pt x="165" y="176"/>
                    <a:pt x="162" y="177"/>
                  </a:cubicBezTo>
                  <a:cubicBezTo>
                    <a:pt x="155" y="180"/>
                    <a:pt x="148" y="182"/>
                    <a:pt x="141" y="180"/>
                  </a:cubicBezTo>
                  <a:cubicBezTo>
                    <a:pt x="137" y="178"/>
                    <a:pt x="135" y="176"/>
                    <a:pt x="135" y="171"/>
                  </a:cubicBezTo>
                  <a:cubicBezTo>
                    <a:pt x="134" y="167"/>
                    <a:pt x="133" y="163"/>
                    <a:pt x="133" y="159"/>
                  </a:cubicBezTo>
                  <a:cubicBezTo>
                    <a:pt x="132" y="158"/>
                    <a:pt x="132" y="157"/>
                    <a:pt x="132" y="156"/>
                  </a:cubicBezTo>
                  <a:cubicBezTo>
                    <a:pt x="130" y="152"/>
                    <a:pt x="129" y="152"/>
                    <a:pt x="125" y="154"/>
                  </a:cubicBezTo>
                  <a:cubicBezTo>
                    <a:pt x="117" y="160"/>
                    <a:pt x="109" y="166"/>
                    <a:pt x="99" y="169"/>
                  </a:cubicBezTo>
                  <a:cubicBezTo>
                    <a:pt x="70" y="178"/>
                    <a:pt x="35" y="170"/>
                    <a:pt x="16" y="139"/>
                  </a:cubicBezTo>
                  <a:cubicBezTo>
                    <a:pt x="9" y="128"/>
                    <a:pt x="3" y="116"/>
                    <a:pt x="1" y="103"/>
                  </a:cubicBezTo>
                  <a:cubicBezTo>
                    <a:pt x="0" y="92"/>
                    <a:pt x="1" y="82"/>
                    <a:pt x="3" y="71"/>
                  </a:cubicBezTo>
                  <a:cubicBezTo>
                    <a:pt x="5" y="60"/>
                    <a:pt x="7" y="49"/>
                    <a:pt x="9" y="38"/>
                  </a:cubicBezTo>
                  <a:cubicBezTo>
                    <a:pt x="9" y="35"/>
                    <a:pt x="11" y="32"/>
                    <a:pt x="14" y="30"/>
                  </a:cubicBezTo>
                  <a:cubicBezTo>
                    <a:pt x="24" y="23"/>
                    <a:pt x="42" y="26"/>
                    <a:pt x="49" y="35"/>
                  </a:cubicBezTo>
                  <a:cubicBezTo>
                    <a:pt x="51" y="37"/>
                    <a:pt x="52" y="41"/>
                    <a:pt x="54" y="44"/>
                  </a:cubicBezTo>
                  <a:cubicBezTo>
                    <a:pt x="54" y="44"/>
                    <a:pt x="55" y="44"/>
                    <a:pt x="55" y="43"/>
                  </a:cubicBezTo>
                  <a:cubicBezTo>
                    <a:pt x="60" y="40"/>
                    <a:pt x="65" y="37"/>
                    <a:pt x="69" y="34"/>
                  </a:cubicBezTo>
                  <a:cubicBezTo>
                    <a:pt x="70" y="34"/>
                    <a:pt x="74" y="32"/>
                    <a:pt x="76" y="30"/>
                  </a:cubicBezTo>
                  <a:moveTo>
                    <a:pt x="56" y="108"/>
                  </a:moveTo>
                  <a:cubicBezTo>
                    <a:pt x="59" y="113"/>
                    <a:pt x="62" y="117"/>
                    <a:pt x="67" y="120"/>
                  </a:cubicBezTo>
                  <a:cubicBezTo>
                    <a:pt x="76" y="127"/>
                    <a:pt x="86" y="128"/>
                    <a:pt x="96" y="128"/>
                  </a:cubicBezTo>
                  <a:cubicBezTo>
                    <a:pt x="102" y="127"/>
                    <a:pt x="108" y="125"/>
                    <a:pt x="113" y="122"/>
                  </a:cubicBezTo>
                  <a:cubicBezTo>
                    <a:pt x="118" y="118"/>
                    <a:pt x="123" y="115"/>
                    <a:pt x="130" y="114"/>
                  </a:cubicBezTo>
                  <a:cubicBezTo>
                    <a:pt x="135" y="113"/>
                    <a:pt x="141" y="112"/>
                    <a:pt x="146" y="111"/>
                  </a:cubicBezTo>
                  <a:cubicBezTo>
                    <a:pt x="146" y="111"/>
                    <a:pt x="146" y="110"/>
                    <a:pt x="146" y="110"/>
                  </a:cubicBezTo>
                  <a:cubicBezTo>
                    <a:pt x="143" y="109"/>
                    <a:pt x="141" y="108"/>
                    <a:pt x="138" y="107"/>
                  </a:cubicBezTo>
                  <a:cubicBezTo>
                    <a:pt x="138" y="107"/>
                    <a:pt x="137" y="105"/>
                    <a:pt x="137" y="105"/>
                  </a:cubicBezTo>
                  <a:cubicBezTo>
                    <a:pt x="138" y="105"/>
                    <a:pt x="139" y="104"/>
                    <a:pt x="139" y="104"/>
                  </a:cubicBezTo>
                  <a:cubicBezTo>
                    <a:pt x="142" y="105"/>
                    <a:pt x="146" y="107"/>
                    <a:pt x="149" y="108"/>
                  </a:cubicBezTo>
                  <a:cubicBezTo>
                    <a:pt x="150" y="108"/>
                    <a:pt x="152" y="109"/>
                    <a:pt x="154" y="108"/>
                  </a:cubicBezTo>
                  <a:cubicBezTo>
                    <a:pt x="168" y="105"/>
                    <a:pt x="181" y="100"/>
                    <a:pt x="193" y="92"/>
                  </a:cubicBezTo>
                  <a:cubicBezTo>
                    <a:pt x="194" y="91"/>
                    <a:pt x="195" y="91"/>
                    <a:pt x="196" y="90"/>
                  </a:cubicBezTo>
                  <a:cubicBezTo>
                    <a:pt x="191" y="88"/>
                    <a:pt x="190" y="87"/>
                    <a:pt x="189" y="83"/>
                  </a:cubicBezTo>
                  <a:cubicBezTo>
                    <a:pt x="189" y="82"/>
                    <a:pt x="189" y="81"/>
                    <a:pt x="190" y="80"/>
                  </a:cubicBezTo>
                  <a:cubicBezTo>
                    <a:pt x="190" y="81"/>
                    <a:pt x="191" y="82"/>
                    <a:pt x="191" y="83"/>
                  </a:cubicBezTo>
                  <a:cubicBezTo>
                    <a:pt x="192" y="86"/>
                    <a:pt x="194" y="88"/>
                    <a:pt x="198" y="87"/>
                  </a:cubicBezTo>
                  <a:cubicBezTo>
                    <a:pt x="199" y="87"/>
                    <a:pt x="201" y="86"/>
                    <a:pt x="202" y="85"/>
                  </a:cubicBezTo>
                  <a:cubicBezTo>
                    <a:pt x="205" y="83"/>
                    <a:pt x="208" y="81"/>
                    <a:pt x="210" y="78"/>
                  </a:cubicBezTo>
                  <a:cubicBezTo>
                    <a:pt x="220" y="68"/>
                    <a:pt x="230" y="57"/>
                    <a:pt x="239" y="46"/>
                  </a:cubicBezTo>
                  <a:cubicBezTo>
                    <a:pt x="244" y="42"/>
                    <a:pt x="247" y="36"/>
                    <a:pt x="248" y="29"/>
                  </a:cubicBezTo>
                  <a:cubicBezTo>
                    <a:pt x="249" y="24"/>
                    <a:pt x="249" y="18"/>
                    <a:pt x="249" y="12"/>
                  </a:cubicBezTo>
                  <a:cubicBezTo>
                    <a:pt x="249" y="8"/>
                    <a:pt x="247" y="7"/>
                    <a:pt x="244" y="9"/>
                  </a:cubicBezTo>
                  <a:cubicBezTo>
                    <a:pt x="237" y="12"/>
                    <a:pt x="231" y="15"/>
                    <a:pt x="225" y="18"/>
                  </a:cubicBezTo>
                  <a:cubicBezTo>
                    <a:pt x="213" y="23"/>
                    <a:pt x="202" y="30"/>
                    <a:pt x="189" y="34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92" y="38"/>
                    <a:pt x="192" y="39"/>
                    <a:pt x="189" y="41"/>
                  </a:cubicBezTo>
                  <a:cubicBezTo>
                    <a:pt x="189" y="40"/>
                    <a:pt x="188" y="39"/>
                    <a:pt x="188" y="39"/>
                  </a:cubicBezTo>
                  <a:cubicBezTo>
                    <a:pt x="187" y="35"/>
                    <a:pt x="185" y="34"/>
                    <a:pt x="182" y="35"/>
                  </a:cubicBezTo>
                  <a:cubicBezTo>
                    <a:pt x="171" y="37"/>
                    <a:pt x="160" y="37"/>
                    <a:pt x="149" y="35"/>
                  </a:cubicBezTo>
                  <a:cubicBezTo>
                    <a:pt x="140" y="33"/>
                    <a:pt x="131" y="30"/>
                    <a:pt x="123" y="29"/>
                  </a:cubicBezTo>
                  <a:cubicBezTo>
                    <a:pt x="119" y="28"/>
                    <a:pt x="114" y="28"/>
                    <a:pt x="109" y="28"/>
                  </a:cubicBezTo>
                  <a:cubicBezTo>
                    <a:pt x="111" y="30"/>
                    <a:pt x="113" y="33"/>
                    <a:pt x="114" y="35"/>
                  </a:cubicBezTo>
                  <a:cubicBezTo>
                    <a:pt x="114" y="35"/>
                    <a:pt x="114" y="36"/>
                    <a:pt x="114" y="37"/>
                  </a:cubicBezTo>
                  <a:cubicBezTo>
                    <a:pt x="113" y="37"/>
                    <a:pt x="112" y="36"/>
                    <a:pt x="112" y="36"/>
                  </a:cubicBezTo>
                  <a:cubicBezTo>
                    <a:pt x="109" y="30"/>
                    <a:pt x="105" y="28"/>
                    <a:pt x="99" y="29"/>
                  </a:cubicBezTo>
                  <a:cubicBezTo>
                    <a:pt x="93" y="31"/>
                    <a:pt x="87" y="32"/>
                    <a:pt x="82" y="34"/>
                  </a:cubicBezTo>
                  <a:cubicBezTo>
                    <a:pt x="71" y="38"/>
                    <a:pt x="62" y="46"/>
                    <a:pt x="52" y="52"/>
                  </a:cubicBezTo>
                  <a:cubicBezTo>
                    <a:pt x="52" y="53"/>
                    <a:pt x="51" y="54"/>
                    <a:pt x="51" y="55"/>
                  </a:cubicBezTo>
                  <a:cubicBezTo>
                    <a:pt x="50" y="59"/>
                    <a:pt x="49" y="64"/>
                    <a:pt x="48" y="69"/>
                  </a:cubicBezTo>
                  <a:cubicBezTo>
                    <a:pt x="46" y="81"/>
                    <a:pt x="47" y="92"/>
                    <a:pt x="53" y="103"/>
                  </a:cubicBezTo>
                  <a:cubicBezTo>
                    <a:pt x="53" y="104"/>
                    <a:pt x="54" y="105"/>
                    <a:pt x="54" y="105"/>
                  </a:cubicBezTo>
                  <a:cubicBezTo>
                    <a:pt x="57" y="103"/>
                    <a:pt x="60" y="100"/>
                    <a:pt x="63" y="98"/>
                  </a:cubicBezTo>
                  <a:cubicBezTo>
                    <a:pt x="63" y="98"/>
                    <a:pt x="64" y="98"/>
                    <a:pt x="65" y="98"/>
                  </a:cubicBezTo>
                  <a:cubicBezTo>
                    <a:pt x="65" y="98"/>
                    <a:pt x="65" y="100"/>
                    <a:pt x="64" y="100"/>
                  </a:cubicBezTo>
                  <a:cubicBezTo>
                    <a:pt x="62" y="103"/>
                    <a:pt x="59" y="105"/>
                    <a:pt x="56" y="108"/>
                  </a:cubicBezTo>
                  <a:close/>
                  <a:moveTo>
                    <a:pt x="161" y="166"/>
                  </a:moveTo>
                  <a:cubicBezTo>
                    <a:pt x="161" y="161"/>
                    <a:pt x="161" y="157"/>
                    <a:pt x="161" y="153"/>
                  </a:cubicBezTo>
                  <a:cubicBezTo>
                    <a:pt x="160" y="144"/>
                    <a:pt x="158" y="136"/>
                    <a:pt x="153" y="129"/>
                  </a:cubicBezTo>
                  <a:cubicBezTo>
                    <a:pt x="150" y="123"/>
                    <a:pt x="145" y="119"/>
                    <a:pt x="138" y="119"/>
                  </a:cubicBezTo>
                  <a:cubicBezTo>
                    <a:pt x="131" y="118"/>
                    <a:pt x="124" y="120"/>
                    <a:pt x="119" y="124"/>
                  </a:cubicBezTo>
                  <a:cubicBezTo>
                    <a:pt x="117" y="125"/>
                    <a:pt x="115" y="127"/>
                    <a:pt x="113" y="128"/>
                  </a:cubicBezTo>
                  <a:cubicBezTo>
                    <a:pt x="101" y="134"/>
                    <a:pt x="89" y="134"/>
                    <a:pt x="76" y="131"/>
                  </a:cubicBezTo>
                  <a:cubicBezTo>
                    <a:pt x="60" y="126"/>
                    <a:pt x="51" y="113"/>
                    <a:pt x="45" y="98"/>
                  </a:cubicBezTo>
                  <a:cubicBezTo>
                    <a:pt x="42" y="91"/>
                    <a:pt x="41" y="84"/>
                    <a:pt x="42" y="77"/>
                  </a:cubicBezTo>
                  <a:cubicBezTo>
                    <a:pt x="43" y="66"/>
                    <a:pt x="45" y="56"/>
                    <a:pt x="47" y="46"/>
                  </a:cubicBezTo>
                  <a:cubicBezTo>
                    <a:pt x="47" y="43"/>
                    <a:pt x="47" y="40"/>
                    <a:pt x="45" y="38"/>
                  </a:cubicBezTo>
                  <a:cubicBezTo>
                    <a:pt x="40" y="32"/>
                    <a:pt x="25" y="30"/>
                    <a:pt x="18" y="34"/>
                  </a:cubicBezTo>
                  <a:cubicBezTo>
                    <a:pt x="16" y="35"/>
                    <a:pt x="15" y="37"/>
                    <a:pt x="14" y="39"/>
                  </a:cubicBezTo>
                  <a:cubicBezTo>
                    <a:pt x="12" y="49"/>
                    <a:pt x="11" y="59"/>
                    <a:pt x="9" y="70"/>
                  </a:cubicBezTo>
                  <a:cubicBezTo>
                    <a:pt x="7" y="78"/>
                    <a:pt x="6" y="86"/>
                    <a:pt x="6" y="95"/>
                  </a:cubicBezTo>
                  <a:cubicBezTo>
                    <a:pt x="7" y="115"/>
                    <a:pt x="15" y="132"/>
                    <a:pt x="28" y="146"/>
                  </a:cubicBezTo>
                  <a:cubicBezTo>
                    <a:pt x="46" y="166"/>
                    <a:pt x="70" y="170"/>
                    <a:pt x="95" y="164"/>
                  </a:cubicBezTo>
                  <a:cubicBezTo>
                    <a:pt x="105" y="162"/>
                    <a:pt x="114" y="156"/>
                    <a:pt x="122" y="150"/>
                  </a:cubicBezTo>
                  <a:cubicBezTo>
                    <a:pt x="121" y="150"/>
                    <a:pt x="120" y="150"/>
                    <a:pt x="119" y="150"/>
                  </a:cubicBezTo>
                  <a:cubicBezTo>
                    <a:pt x="117" y="150"/>
                    <a:pt x="116" y="151"/>
                    <a:pt x="114" y="151"/>
                  </a:cubicBezTo>
                  <a:cubicBezTo>
                    <a:pt x="112" y="152"/>
                    <a:pt x="111" y="151"/>
                    <a:pt x="111" y="149"/>
                  </a:cubicBezTo>
                  <a:cubicBezTo>
                    <a:pt x="111" y="148"/>
                    <a:pt x="112" y="147"/>
                    <a:pt x="112" y="146"/>
                  </a:cubicBezTo>
                  <a:cubicBezTo>
                    <a:pt x="126" y="140"/>
                    <a:pt x="136" y="147"/>
                    <a:pt x="138" y="159"/>
                  </a:cubicBezTo>
                  <a:cubicBezTo>
                    <a:pt x="139" y="161"/>
                    <a:pt x="140" y="164"/>
                    <a:pt x="140" y="167"/>
                  </a:cubicBezTo>
                  <a:cubicBezTo>
                    <a:pt x="147" y="164"/>
                    <a:pt x="154" y="163"/>
                    <a:pt x="161" y="166"/>
                  </a:cubicBezTo>
                  <a:close/>
                  <a:moveTo>
                    <a:pt x="152" y="166"/>
                  </a:moveTo>
                  <a:cubicBezTo>
                    <a:pt x="149" y="167"/>
                    <a:pt x="145" y="168"/>
                    <a:pt x="142" y="169"/>
                  </a:cubicBezTo>
                  <a:cubicBezTo>
                    <a:pt x="141" y="169"/>
                    <a:pt x="140" y="171"/>
                    <a:pt x="140" y="172"/>
                  </a:cubicBezTo>
                  <a:cubicBezTo>
                    <a:pt x="140" y="173"/>
                    <a:pt x="142" y="174"/>
                    <a:pt x="143" y="174"/>
                  </a:cubicBezTo>
                  <a:cubicBezTo>
                    <a:pt x="148" y="176"/>
                    <a:pt x="154" y="175"/>
                    <a:pt x="159" y="172"/>
                  </a:cubicBezTo>
                  <a:cubicBezTo>
                    <a:pt x="162" y="171"/>
                    <a:pt x="162" y="169"/>
                    <a:pt x="159" y="168"/>
                  </a:cubicBezTo>
                  <a:cubicBezTo>
                    <a:pt x="157" y="167"/>
                    <a:pt x="155" y="167"/>
                    <a:pt x="152" y="16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9486679" y="5533550"/>
            <a:ext cx="1174931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GI tract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8717141" y="5450732"/>
            <a:ext cx="576000" cy="576000"/>
            <a:chOff x="4563803" y="3193743"/>
            <a:chExt cx="820800" cy="824400"/>
          </a:xfrm>
        </p:grpSpPr>
        <p:sp>
          <p:nvSpPr>
            <p:cNvPr id="39" name="Freeform 198"/>
            <p:cNvSpPr>
              <a:spLocks/>
            </p:cNvSpPr>
            <p:nvPr/>
          </p:nvSpPr>
          <p:spPr bwMode="auto">
            <a:xfrm>
              <a:off x="4563803" y="3193743"/>
              <a:ext cx="820800" cy="824400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1" name="Freeform 313"/>
            <p:cNvSpPr>
              <a:spLocks noEditPoints="1"/>
            </p:cNvSpPr>
            <p:nvPr/>
          </p:nvSpPr>
          <p:spPr bwMode="auto">
            <a:xfrm>
              <a:off x="4667500" y="3274159"/>
              <a:ext cx="613406" cy="663568"/>
            </a:xfrm>
            <a:custGeom>
              <a:avLst/>
              <a:gdLst>
                <a:gd name="T0" fmla="*/ 117 w 344"/>
                <a:gd name="T1" fmla="*/ 85 h 371"/>
                <a:gd name="T2" fmla="*/ 107 w 344"/>
                <a:gd name="T3" fmla="*/ 25 h 371"/>
                <a:gd name="T4" fmla="*/ 297 w 344"/>
                <a:gd name="T5" fmla="*/ 55 h 371"/>
                <a:gd name="T6" fmla="*/ 331 w 344"/>
                <a:gd name="T7" fmla="*/ 192 h 371"/>
                <a:gd name="T8" fmla="*/ 289 w 344"/>
                <a:gd name="T9" fmla="*/ 302 h 371"/>
                <a:gd name="T10" fmla="*/ 187 w 344"/>
                <a:gd name="T11" fmla="*/ 348 h 371"/>
                <a:gd name="T12" fmla="*/ 43 w 344"/>
                <a:gd name="T13" fmla="*/ 296 h 371"/>
                <a:gd name="T14" fmla="*/ 2 w 344"/>
                <a:gd name="T15" fmla="*/ 197 h 371"/>
                <a:gd name="T16" fmla="*/ 5 w 344"/>
                <a:gd name="T17" fmla="*/ 100 h 371"/>
                <a:gd name="T18" fmla="*/ 147 w 344"/>
                <a:gd name="T19" fmla="*/ 105 h 371"/>
                <a:gd name="T20" fmla="*/ 119 w 344"/>
                <a:gd name="T21" fmla="*/ 250 h 371"/>
                <a:gd name="T22" fmla="*/ 136 w 344"/>
                <a:gd name="T23" fmla="*/ 283 h 371"/>
                <a:gd name="T24" fmla="*/ 81 w 344"/>
                <a:gd name="T25" fmla="*/ 259 h 371"/>
                <a:gd name="T26" fmla="*/ 72 w 344"/>
                <a:gd name="T27" fmla="*/ 200 h 371"/>
                <a:gd name="T28" fmla="*/ 142 w 344"/>
                <a:gd name="T29" fmla="*/ 234 h 371"/>
                <a:gd name="T30" fmla="*/ 153 w 344"/>
                <a:gd name="T31" fmla="*/ 271 h 371"/>
                <a:gd name="T32" fmla="*/ 96 w 344"/>
                <a:gd name="T33" fmla="*/ 302 h 371"/>
                <a:gd name="T34" fmla="*/ 78 w 344"/>
                <a:gd name="T35" fmla="*/ 316 h 371"/>
                <a:gd name="T36" fmla="*/ 170 w 344"/>
                <a:gd name="T37" fmla="*/ 276 h 371"/>
                <a:gd name="T38" fmla="*/ 80 w 344"/>
                <a:gd name="T39" fmla="*/ 184 h 371"/>
                <a:gd name="T40" fmla="*/ 53 w 344"/>
                <a:gd name="T41" fmla="*/ 251 h 371"/>
                <a:gd name="T42" fmla="*/ 181 w 344"/>
                <a:gd name="T43" fmla="*/ 256 h 371"/>
                <a:gd name="T44" fmla="*/ 220 w 344"/>
                <a:gd name="T45" fmla="*/ 307 h 371"/>
                <a:gd name="T46" fmla="*/ 281 w 344"/>
                <a:gd name="T47" fmla="*/ 259 h 371"/>
                <a:gd name="T48" fmla="*/ 315 w 344"/>
                <a:gd name="T49" fmla="*/ 191 h 371"/>
                <a:gd name="T50" fmla="*/ 218 w 344"/>
                <a:gd name="T51" fmla="*/ 251 h 371"/>
                <a:gd name="T52" fmla="*/ 274 w 344"/>
                <a:gd name="T53" fmla="*/ 221 h 371"/>
                <a:gd name="T54" fmla="*/ 270 w 344"/>
                <a:gd name="T55" fmla="*/ 241 h 371"/>
                <a:gd name="T56" fmla="*/ 239 w 344"/>
                <a:gd name="T57" fmla="*/ 288 h 371"/>
                <a:gd name="T58" fmla="*/ 192 w 344"/>
                <a:gd name="T59" fmla="*/ 280 h 371"/>
                <a:gd name="T60" fmla="*/ 195 w 344"/>
                <a:gd name="T61" fmla="*/ 248 h 371"/>
                <a:gd name="T62" fmla="*/ 196 w 344"/>
                <a:gd name="T63" fmla="*/ 194 h 371"/>
                <a:gd name="T64" fmla="*/ 268 w 344"/>
                <a:gd name="T65" fmla="*/ 136 h 371"/>
                <a:gd name="T66" fmla="*/ 211 w 344"/>
                <a:gd name="T67" fmla="*/ 104 h 371"/>
                <a:gd name="T68" fmla="*/ 237 w 344"/>
                <a:gd name="T69" fmla="*/ 169 h 371"/>
                <a:gd name="T70" fmla="*/ 191 w 344"/>
                <a:gd name="T71" fmla="*/ 105 h 371"/>
                <a:gd name="T72" fmla="*/ 157 w 344"/>
                <a:gd name="T73" fmla="*/ 170 h 371"/>
                <a:gd name="T74" fmla="*/ 121 w 344"/>
                <a:gd name="T75" fmla="*/ 170 h 371"/>
                <a:gd name="T76" fmla="*/ 184 w 344"/>
                <a:gd name="T77" fmla="*/ 160 h 371"/>
                <a:gd name="T78" fmla="*/ 180 w 344"/>
                <a:gd name="T79" fmla="*/ 115 h 371"/>
                <a:gd name="T80" fmla="*/ 206 w 344"/>
                <a:gd name="T81" fmla="*/ 187 h 371"/>
                <a:gd name="T82" fmla="*/ 241 w 344"/>
                <a:gd name="T83" fmla="*/ 123 h 371"/>
                <a:gd name="T84" fmla="*/ 253 w 344"/>
                <a:gd name="T85" fmla="*/ 133 h 371"/>
                <a:gd name="T86" fmla="*/ 148 w 344"/>
                <a:gd name="T87" fmla="*/ 70 h 371"/>
                <a:gd name="T88" fmla="*/ 273 w 344"/>
                <a:gd name="T89" fmla="*/ 80 h 371"/>
                <a:gd name="T90" fmla="*/ 289 w 344"/>
                <a:gd name="T91" fmla="*/ 176 h 371"/>
                <a:gd name="T92" fmla="*/ 295 w 344"/>
                <a:gd name="T93" fmla="*/ 106 h 371"/>
                <a:gd name="T94" fmla="*/ 264 w 344"/>
                <a:gd name="T95" fmla="*/ 178 h 371"/>
                <a:gd name="T96" fmla="*/ 312 w 344"/>
                <a:gd name="T97" fmla="*/ 155 h 371"/>
                <a:gd name="T98" fmla="*/ 267 w 344"/>
                <a:gd name="T99" fmla="*/ 69 h 371"/>
                <a:gd name="T100" fmla="*/ 96 w 344"/>
                <a:gd name="T101" fmla="*/ 14 h 371"/>
                <a:gd name="T102" fmla="*/ 46 w 344"/>
                <a:gd name="T103" fmla="*/ 167 h 371"/>
                <a:gd name="T104" fmla="*/ 141 w 344"/>
                <a:gd name="T105" fmla="*/ 128 h 371"/>
                <a:gd name="T106" fmla="*/ 30 w 344"/>
                <a:gd name="T107" fmla="*/ 87 h 371"/>
                <a:gd name="T108" fmla="*/ 58 w 344"/>
                <a:gd name="T109" fmla="*/ 286 h 371"/>
                <a:gd name="T110" fmla="*/ 40 w 344"/>
                <a:gd name="T111" fmla="*/ 181 h 371"/>
                <a:gd name="T112" fmla="*/ 26 w 344"/>
                <a:gd name="T113" fmla="*/ 256 h 371"/>
                <a:gd name="T114" fmla="*/ 195 w 344"/>
                <a:gd name="T115" fmla="*/ 321 h 371"/>
                <a:gd name="T116" fmla="*/ 240 w 344"/>
                <a:gd name="T117" fmla="*/ 310 h 371"/>
                <a:gd name="T118" fmla="*/ 85 w 344"/>
                <a:gd name="T119" fmla="*/ 173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4" h="371">
                  <a:moveTo>
                    <a:pt x="147" y="105"/>
                  </a:moveTo>
                  <a:cubicBezTo>
                    <a:pt x="161" y="92"/>
                    <a:pt x="178" y="89"/>
                    <a:pt x="196" y="93"/>
                  </a:cubicBezTo>
                  <a:cubicBezTo>
                    <a:pt x="186" y="86"/>
                    <a:pt x="176" y="79"/>
                    <a:pt x="164" y="77"/>
                  </a:cubicBezTo>
                  <a:cubicBezTo>
                    <a:pt x="161" y="77"/>
                    <a:pt x="157" y="78"/>
                    <a:pt x="154" y="80"/>
                  </a:cubicBezTo>
                  <a:cubicBezTo>
                    <a:pt x="142" y="87"/>
                    <a:pt x="130" y="88"/>
                    <a:pt x="117" y="85"/>
                  </a:cubicBezTo>
                  <a:cubicBezTo>
                    <a:pt x="82" y="76"/>
                    <a:pt x="70" y="62"/>
                    <a:pt x="65" y="26"/>
                  </a:cubicBezTo>
                  <a:cubicBezTo>
                    <a:pt x="63" y="8"/>
                    <a:pt x="66" y="0"/>
                    <a:pt x="87" y="2"/>
                  </a:cubicBezTo>
                  <a:cubicBezTo>
                    <a:pt x="89" y="2"/>
                    <a:pt x="92" y="2"/>
                    <a:pt x="95" y="2"/>
                  </a:cubicBezTo>
                  <a:cubicBezTo>
                    <a:pt x="103" y="2"/>
                    <a:pt x="108" y="8"/>
                    <a:pt x="108" y="16"/>
                  </a:cubicBezTo>
                  <a:cubicBezTo>
                    <a:pt x="107" y="19"/>
                    <a:pt x="107" y="22"/>
                    <a:pt x="107" y="25"/>
                  </a:cubicBezTo>
                  <a:cubicBezTo>
                    <a:pt x="108" y="35"/>
                    <a:pt x="115" y="42"/>
                    <a:pt x="125" y="43"/>
                  </a:cubicBezTo>
                  <a:cubicBezTo>
                    <a:pt x="131" y="43"/>
                    <a:pt x="138" y="42"/>
                    <a:pt x="144" y="41"/>
                  </a:cubicBezTo>
                  <a:cubicBezTo>
                    <a:pt x="166" y="36"/>
                    <a:pt x="187" y="40"/>
                    <a:pt x="207" y="51"/>
                  </a:cubicBezTo>
                  <a:cubicBezTo>
                    <a:pt x="225" y="60"/>
                    <a:pt x="244" y="62"/>
                    <a:pt x="264" y="57"/>
                  </a:cubicBezTo>
                  <a:cubicBezTo>
                    <a:pt x="275" y="54"/>
                    <a:pt x="286" y="53"/>
                    <a:pt x="297" y="55"/>
                  </a:cubicBezTo>
                  <a:cubicBezTo>
                    <a:pt x="311" y="58"/>
                    <a:pt x="321" y="66"/>
                    <a:pt x="327" y="79"/>
                  </a:cubicBezTo>
                  <a:cubicBezTo>
                    <a:pt x="334" y="95"/>
                    <a:pt x="334" y="111"/>
                    <a:pt x="330" y="128"/>
                  </a:cubicBezTo>
                  <a:cubicBezTo>
                    <a:pt x="329" y="136"/>
                    <a:pt x="325" y="144"/>
                    <a:pt x="323" y="152"/>
                  </a:cubicBezTo>
                  <a:cubicBezTo>
                    <a:pt x="323" y="156"/>
                    <a:pt x="324" y="160"/>
                    <a:pt x="323" y="164"/>
                  </a:cubicBezTo>
                  <a:cubicBezTo>
                    <a:pt x="321" y="175"/>
                    <a:pt x="321" y="184"/>
                    <a:pt x="331" y="192"/>
                  </a:cubicBezTo>
                  <a:cubicBezTo>
                    <a:pt x="332" y="192"/>
                    <a:pt x="333" y="193"/>
                    <a:pt x="333" y="194"/>
                  </a:cubicBezTo>
                  <a:cubicBezTo>
                    <a:pt x="340" y="215"/>
                    <a:pt x="344" y="235"/>
                    <a:pt x="330" y="254"/>
                  </a:cubicBezTo>
                  <a:cubicBezTo>
                    <a:pt x="325" y="259"/>
                    <a:pt x="318" y="263"/>
                    <a:pt x="311" y="267"/>
                  </a:cubicBezTo>
                  <a:cubicBezTo>
                    <a:pt x="306" y="270"/>
                    <a:pt x="302" y="272"/>
                    <a:pt x="300" y="278"/>
                  </a:cubicBezTo>
                  <a:cubicBezTo>
                    <a:pt x="298" y="287"/>
                    <a:pt x="293" y="295"/>
                    <a:pt x="289" y="302"/>
                  </a:cubicBezTo>
                  <a:cubicBezTo>
                    <a:pt x="283" y="311"/>
                    <a:pt x="275" y="317"/>
                    <a:pt x="265" y="320"/>
                  </a:cubicBezTo>
                  <a:cubicBezTo>
                    <a:pt x="255" y="322"/>
                    <a:pt x="248" y="327"/>
                    <a:pt x="240" y="333"/>
                  </a:cubicBezTo>
                  <a:cubicBezTo>
                    <a:pt x="234" y="337"/>
                    <a:pt x="227" y="340"/>
                    <a:pt x="220" y="343"/>
                  </a:cubicBezTo>
                  <a:cubicBezTo>
                    <a:pt x="216" y="344"/>
                    <a:pt x="210" y="345"/>
                    <a:pt x="206" y="343"/>
                  </a:cubicBezTo>
                  <a:cubicBezTo>
                    <a:pt x="198" y="339"/>
                    <a:pt x="193" y="343"/>
                    <a:pt x="187" y="348"/>
                  </a:cubicBezTo>
                  <a:cubicBezTo>
                    <a:pt x="161" y="371"/>
                    <a:pt x="120" y="367"/>
                    <a:pt x="96" y="343"/>
                  </a:cubicBezTo>
                  <a:cubicBezTo>
                    <a:pt x="88" y="336"/>
                    <a:pt x="79" y="330"/>
                    <a:pt x="69" y="325"/>
                  </a:cubicBezTo>
                  <a:cubicBezTo>
                    <a:pt x="62" y="322"/>
                    <a:pt x="54" y="322"/>
                    <a:pt x="47" y="327"/>
                  </a:cubicBezTo>
                  <a:cubicBezTo>
                    <a:pt x="42" y="330"/>
                    <a:pt x="39" y="328"/>
                    <a:pt x="36" y="323"/>
                  </a:cubicBezTo>
                  <a:cubicBezTo>
                    <a:pt x="28" y="307"/>
                    <a:pt x="28" y="307"/>
                    <a:pt x="43" y="296"/>
                  </a:cubicBezTo>
                  <a:cubicBezTo>
                    <a:pt x="37" y="290"/>
                    <a:pt x="32" y="284"/>
                    <a:pt x="26" y="278"/>
                  </a:cubicBezTo>
                  <a:cubicBezTo>
                    <a:pt x="22" y="273"/>
                    <a:pt x="19" y="267"/>
                    <a:pt x="15" y="262"/>
                  </a:cubicBezTo>
                  <a:cubicBezTo>
                    <a:pt x="10" y="257"/>
                    <a:pt x="9" y="250"/>
                    <a:pt x="12" y="244"/>
                  </a:cubicBezTo>
                  <a:cubicBezTo>
                    <a:pt x="15" y="236"/>
                    <a:pt x="14" y="230"/>
                    <a:pt x="8" y="224"/>
                  </a:cubicBezTo>
                  <a:cubicBezTo>
                    <a:pt x="0" y="216"/>
                    <a:pt x="0" y="206"/>
                    <a:pt x="2" y="197"/>
                  </a:cubicBezTo>
                  <a:cubicBezTo>
                    <a:pt x="5" y="187"/>
                    <a:pt x="9" y="178"/>
                    <a:pt x="13" y="169"/>
                  </a:cubicBezTo>
                  <a:cubicBezTo>
                    <a:pt x="14" y="166"/>
                    <a:pt x="14" y="163"/>
                    <a:pt x="14" y="161"/>
                  </a:cubicBezTo>
                  <a:cubicBezTo>
                    <a:pt x="14" y="153"/>
                    <a:pt x="13" y="145"/>
                    <a:pt x="13" y="137"/>
                  </a:cubicBezTo>
                  <a:cubicBezTo>
                    <a:pt x="14" y="131"/>
                    <a:pt x="13" y="126"/>
                    <a:pt x="10" y="120"/>
                  </a:cubicBezTo>
                  <a:cubicBezTo>
                    <a:pt x="8" y="114"/>
                    <a:pt x="6" y="107"/>
                    <a:pt x="5" y="100"/>
                  </a:cubicBezTo>
                  <a:cubicBezTo>
                    <a:pt x="5" y="93"/>
                    <a:pt x="8" y="86"/>
                    <a:pt x="14" y="83"/>
                  </a:cubicBezTo>
                  <a:cubicBezTo>
                    <a:pt x="21" y="79"/>
                    <a:pt x="28" y="75"/>
                    <a:pt x="35" y="74"/>
                  </a:cubicBezTo>
                  <a:cubicBezTo>
                    <a:pt x="39" y="73"/>
                    <a:pt x="45" y="77"/>
                    <a:pt x="50" y="78"/>
                  </a:cubicBezTo>
                  <a:cubicBezTo>
                    <a:pt x="54" y="80"/>
                    <a:pt x="59" y="83"/>
                    <a:pt x="63" y="82"/>
                  </a:cubicBezTo>
                  <a:cubicBezTo>
                    <a:pt x="97" y="81"/>
                    <a:pt x="120" y="87"/>
                    <a:pt x="147" y="105"/>
                  </a:cubicBezTo>
                  <a:close/>
                  <a:moveTo>
                    <a:pt x="98" y="287"/>
                  </a:moveTo>
                  <a:cubicBezTo>
                    <a:pt x="98" y="281"/>
                    <a:pt x="96" y="274"/>
                    <a:pt x="96" y="268"/>
                  </a:cubicBezTo>
                  <a:cubicBezTo>
                    <a:pt x="96" y="255"/>
                    <a:pt x="102" y="246"/>
                    <a:pt x="114" y="240"/>
                  </a:cubicBezTo>
                  <a:cubicBezTo>
                    <a:pt x="117" y="238"/>
                    <a:pt x="121" y="239"/>
                    <a:pt x="122" y="243"/>
                  </a:cubicBezTo>
                  <a:cubicBezTo>
                    <a:pt x="123" y="245"/>
                    <a:pt x="121" y="249"/>
                    <a:pt x="119" y="250"/>
                  </a:cubicBezTo>
                  <a:cubicBezTo>
                    <a:pt x="110" y="255"/>
                    <a:pt x="107" y="262"/>
                    <a:pt x="108" y="271"/>
                  </a:cubicBezTo>
                  <a:cubicBezTo>
                    <a:pt x="110" y="280"/>
                    <a:pt x="113" y="289"/>
                    <a:pt x="116" y="298"/>
                  </a:cubicBezTo>
                  <a:cubicBezTo>
                    <a:pt x="116" y="299"/>
                    <a:pt x="118" y="301"/>
                    <a:pt x="119" y="300"/>
                  </a:cubicBezTo>
                  <a:cubicBezTo>
                    <a:pt x="123" y="299"/>
                    <a:pt x="128" y="298"/>
                    <a:pt x="131" y="295"/>
                  </a:cubicBezTo>
                  <a:cubicBezTo>
                    <a:pt x="134" y="293"/>
                    <a:pt x="137" y="287"/>
                    <a:pt x="136" y="283"/>
                  </a:cubicBezTo>
                  <a:cubicBezTo>
                    <a:pt x="132" y="270"/>
                    <a:pt x="129" y="257"/>
                    <a:pt x="137" y="244"/>
                  </a:cubicBezTo>
                  <a:cubicBezTo>
                    <a:pt x="134" y="242"/>
                    <a:pt x="132" y="241"/>
                    <a:pt x="129" y="239"/>
                  </a:cubicBezTo>
                  <a:cubicBezTo>
                    <a:pt x="113" y="230"/>
                    <a:pt x="101" y="234"/>
                    <a:pt x="93" y="250"/>
                  </a:cubicBezTo>
                  <a:cubicBezTo>
                    <a:pt x="92" y="253"/>
                    <a:pt x="91" y="256"/>
                    <a:pt x="89" y="257"/>
                  </a:cubicBezTo>
                  <a:cubicBezTo>
                    <a:pt x="87" y="258"/>
                    <a:pt x="83" y="260"/>
                    <a:pt x="81" y="259"/>
                  </a:cubicBezTo>
                  <a:cubicBezTo>
                    <a:pt x="80" y="258"/>
                    <a:pt x="79" y="254"/>
                    <a:pt x="79" y="252"/>
                  </a:cubicBezTo>
                  <a:cubicBezTo>
                    <a:pt x="79" y="249"/>
                    <a:pt x="81" y="247"/>
                    <a:pt x="82" y="245"/>
                  </a:cubicBezTo>
                  <a:cubicBezTo>
                    <a:pt x="88" y="234"/>
                    <a:pt x="86" y="224"/>
                    <a:pt x="79" y="215"/>
                  </a:cubicBezTo>
                  <a:cubicBezTo>
                    <a:pt x="77" y="213"/>
                    <a:pt x="74" y="211"/>
                    <a:pt x="73" y="209"/>
                  </a:cubicBezTo>
                  <a:cubicBezTo>
                    <a:pt x="72" y="206"/>
                    <a:pt x="72" y="203"/>
                    <a:pt x="72" y="200"/>
                  </a:cubicBezTo>
                  <a:cubicBezTo>
                    <a:pt x="74" y="200"/>
                    <a:pt x="78" y="199"/>
                    <a:pt x="80" y="200"/>
                  </a:cubicBezTo>
                  <a:cubicBezTo>
                    <a:pt x="84" y="203"/>
                    <a:pt x="88" y="207"/>
                    <a:pt x="90" y="211"/>
                  </a:cubicBezTo>
                  <a:cubicBezTo>
                    <a:pt x="93" y="216"/>
                    <a:pt x="95" y="221"/>
                    <a:pt x="97" y="225"/>
                  </a:cubicBezTo>
                  <a:cubicBezTo>
                    <a:pt x="104" y="224"/>
                    <a:pt x="110" y="222"/>
                    <a:pt x="116" y="223"/>
                  </a:cubicBezTo>
                  <a:cubicBezTo>
                    <a:pt x="125" y="225"/>
                    <a:pt x="133" y="230"/>
                    <a:pt x="142" y="234"/>
                  </a:cubicBezTo>
                  <a:cubicBezTo>
                    <a:pt x="145" y="235"/>
                    <a:pt x="147" y="237"/>
                    <a:pt x="150" y="235"/>
                  </a:cubicBezTo>
                  <a:cubicBezTo>
                    <a:pt x="154" y="233"/>
                    <a:pt x="157" y="234"/>
                    <a:pt x="159" y="238"/>
                  </a:cubicBezTo>
                  <a:cubicBezTo>
                    <a:pt x="160" y="242"/>
                    <a:pt x="158" y="244"/>
                    <a:pt x="155" y="246"/>
                  </a:cubicBezTo>
                  <a:cubicBezTo>
                    <a:pt x="144" y="251"/>
                    <a:pt x="141" y="261"/>
                    <a:pt x="146" y="273"/>
                  </a:cubicBezTo>
                  <a:cubicBezTo>
                    <a:pt x="148" y="272"/>
                    <a:pt x="151" y="271"/>
                    <a:pt x="153" y="271"/>
                  </a:cubicBezTo>
                  <a:cubicBezTo>
                    <a:pt x="155" y="271"/>
                    <a:pt x="158" y="273"/>
                    <a:pt x="159" y="274"/>
                  </a:cubicBezTo>
                  <a:cubicBezTo>
                    <a:pt x="159" y="276"/>
                    <a:pt x="158" y="280"/>
                    <a:pt x="156" y="281"/>
                  </a:cubicBezTo>
                  <a:cubicBezTo>
                    <a:pt x="150" y="284"/>
                    <a:pt x="148" y="289"/>
                    <a:pt x="146" y="294"/>
                  </a:cubicBezTo>
                  <a:cubicBezTo>
                    <a:pt x="140" y="308"/>
                    <a:pt x="127" y="315"/>
                    <a:pt x="113" y="311"/>
                  </a:cubicBezTo>
                  <a:cubicBezTo>
                    <a:pt x="107" y="310"/>
                    <a:pt x="101" y="306"/>
                    <a:pt x="96" y="302"/>
                  </a:cubicBezTo>
                  <a:cubicBezTo>
                    <a:pt x="88" y="295"/>
                    <a:pt x="80" y="292"/>
                    <a:pt x="70" y="296"/>
                  </a:cubicBezTo>
                  <a:cubicBezTo>
                    <a:pt x="61" y="299"/>
                    <a:pt x="53" y="304"/>
                    <a:pt x="45" y="309"/>
                  </a:cubicBezTo>
                  <a:cubicBezTo>
                    <a:pt x="45" y="309"/>
                    <a:pt x="45" y="311"/>
                    <a:pt x="44" y="312"/>
                  </a:cubicBezTo>
                  <a:cubicBezTo>
                    <a:pt x="46" y="312"/>
                    <a:pt x="47" y="313"/>
                    <a:pt x="49" y="313"/>
                  </a:cubicBezTo>
                  <a:cubicBezTo>
                    <a:pt x="59" y="310"/>
                    <a:pt x="69" y="312"/>
                    <a:pt x="78" y="316"/>
                  </a:cubicBezTo>
                  <a:cubicBezTo>
                    <a:pt x="84" y="319"/>
                    <a:pt x="90" y="322"/>
                    <a:pt x="95" y="326"/>
                  </a:cubicBezTo>
                  <a:cubicBezTo>
                    <a:pt x="101" y="331"/>
                    <a:pt x="107" y="333"/>
                    <a:pt x="115" y="334"/>
                  </a:cubicBezTo>
                  <a:cubicBezTo>
                    <a:pt x="127" y="336"/>
                    <a:pt x="139" y="334"/>
                    <a:pt x="149" y="329"/>
                  </a:cubicBezTo>
                  <a:cubicBezTo>
                    <a:pt x="160" y="324"/>
                    <a:pt x="170" y="315"/>
                    <a:pt x="170" y="301"/>
                  </a:cubicBezTo>
                  <a:cubicBezTo>
                    <a:pt x="170" y="293"/>
                    <a:pt x="170" y="284"/>
                    <a:pt x="170" y="276"/>
                  </a:cubicBezTo>
                  <a:cubicBezTo>
                    <a:pt x="170" y="265"/>
                    <a:pt x="168" y="255"/>
                    <a:pt x="172" y="244"/>
                  </a:cubicBezTo>
                  <a:cubicBezTo>
                    <a:pt x="175" y="230"/>
                    <a:pt x="164" y="215"/>
                    <a:pt x="149" y="214"/>
                  </a:cubicBezTo>
                  <a:cubicBezTo>
                    <a:pt x="137" y="212"/>
                    <a:pt x="125" y="209"/>
                    <a:pt x="116" y="198"/>
                  </a:cubicBezTo>
                  <a:cubicBezTo>
                    <a:pt x="113" y="205"/>
                    <a:pt x="109" y="205"/>
                    <a:pt x="103" y="202"/>
                  </a:cubicBezTo>
                  <a:cubicBezTo>
                    <a:pt x="94" y="198"/>
                    <a:pt x="86" y="193"/>
                    <a:pt x="80" y="184"/>
                  </a:cubicBezTo>
                  <a:cubicBezTo>
                    <a:pt x="77" y="180"/>
                    <a:pt x="74" y="176"/>
                    <a:pt x="70" y="171"/>
                  </a:cubicBezTo>
                  <a:cubicBezTo>
                    <a:pt x="64" y="176"/>
                    <a:pt x="59" y="180"/>
                    <a:pt x="54" y="185"/>
                  </a:cubicBezTo>
                  <a:cubicBezTo>
                    <a:pt x="41" y="195"/>
                    <a:pt x="40" y="205"/>
                    <a:pt x="50" y="218"/>
                  </a:cubicBezTo>
                  <a:cubicBezTo>
                    <a:pt x="54" y="224"/>
                    <a:pt x="55" y="231"/>
                    <a:pt x="54" y="238"/>
                  </a:cubicBezTo>
                  <a:cubicBezTo>
                    <a:pt x="53" y="243"/>
                    <a:pt x="52" y="247"/>
                    <a:pt x="53" y="251"/>
                  </a:cubicBezTo>
                  <a:cubicBezTo>
                    <a:pt x="55" y="263"/>
                    <a:pt x="62" y="273"/>
                    <a:pt x="70" y="281"/>
                  </a:cubicBezTo>
                  <a:cubicBezTo>
                    <a:pt x="71" y="282"/>
                    <a:pt x="72" y="283"/>
                    <a:pt x="74" y="283"/>
                  </a:cubicBezTo>
                  <a:cubicBezTo>
                    <a:pt x="82" y="284"/>
                    <a:pt x="90" y="286"/>
                    <a:pt x="98" y="287"/>
                  </a:cubicBezTo>
                  <a:close/>
                  <a:moveTo>
                    <a:pt x="171" y="211"/>
                  </a:moveTo>
                  <a:cubicBezTo>
                    <a:pt x="185" y="225"/>
                    <a:pt x="187" y="240"/>
                    <a:pt x="181" y="256"/>
                  </a:cubicBezTo>
                  <a:cubicBezTo>
                    <a:pt x="180" y="257"/>
                    <a:pt x="180" y="259"/>
                    <a:pt x="180" y="260"/>
                  </a:cubicBezTo>
                  <a:cubicBezTo>
                    <a:pt x="181" y="272"/>
                    <a:pt x="182" y="283"/>
                    <a:pt x="182" y="295"/>
                  </a:cubicBezTo>
                  <a:cubicBezTo>
                    <a:pt x="182" y="296"/>
                    <a:pt x="182" y="298"/>
                    <a:pt x="183" y="299"/>
                  </a:cubicBezTo>
                  <a:cubicBezTo>
                    <a:pt x="190" y="303"/>
                    <a:pt x="197" y="308"/>
                    <a:pt x="204" y="311"/>
                  </a:cubicBezTo>
                  <a:cubicBezTo>
                    <a:pt x="210" y="313"/>
                    <a:pt x="215" y="311"/>
                    <a:pt x="220" y="307"/>
                  </a:cubicBezTo>
                  <a:cubicBezTo>
                    <a:pt x="222" y="305"/>
                    <a:pt x="224" y="303"/>
                    <a:pt x="227" y="302"/>
                  </a:cubicBezTo>
                  <a:cubicBezTo>
                    <a:pt x="241" y="298"/>
                    <a:pt x="251" y="286"/>
                    <a:pt x="262" y="278"/>
                  </a:cubicBezTo>
                  <a:cubicBezTo>
                    <a:pt x="267" y="274"/>
                    <a:pt x="272" y="269"/>
                    <a:pt x="271" y="261"/>
                  </a:cubicBezTo>
                  <a:cubicBezTo>
                    <a:pt x="271" y="259"/>
                    <a:pt x="273" y="256"/>
                    <a:pt x="275" y="256"/>
                  </a:cubicBezTo>
                  <a:cubicBezTo>
                    <a:pt x="277" y="255"/>
                    <a:pt x="281" y="257"/>
                    <a:pt x="281" y="259"/>
                  </a:cubicBezTo>
                  <a:cubicBezTo>
                    <a:pt x="283" y="264"/>
                    <a:pt x="287" y="264"/>
                    <a:pt x="291" y="262"/>
                  </a:cubicBezTo>
                  <a:cubicBezTo>
                    <a:pt x="296" y="260"/>
                    <a:pt x="302" y="258"/>
                    <a:pt x="307" y="256"/>
                  </a:cubicBezTo>
                  <a:cubicBezTo>
                    <a:pt x="323" y="249"/>
                    <a:pt x="329" y="238"/>
                    <a:pt x="327" y="221"/>
                  </a:cubicBezTo>
                  <a:cubicBezTo>
                    <a:pt x="326" y="217"/>
                    <a:pt x="326" y="214"/>
                    <a:pt x="326" y="210"/>
                  </a:cubicBezTo>
                  <a:cubicBezTo>
                    <a:pt x="325" y="202"/>
                    <a:pt x="321" y="196"/>
                    <a:pt x="315" y="191"/>
                  </a:cubicBezTo>
                  <a:cubicBezTo>
                    <a:pt x="292" y="208"/>
                    <a:pt x="276" y="207"/>
                    <a:pt x="252" y="188"/>
                  </a:cubicBezTo>
                  <a:cubicBezTo>
                    <a:pt x="247" y="192"/>
                    <a:pt x="241" y="196"/>
                    <a:pt x="235" y="199"/>
                  </a:cubicBezTo>
                  <a:cubicBezTo>
                    <a:pt x="232" y="200"/>
                    <a:pt x="231" y="202"/>
                    <a:pt x="232" y="206"/>
                  </a:cubicBezTo>
                  <a:cubicBezTo>
                    <a:pt x="233" y="221"/>
                    <a:pt x="230" y="235"/>
                    <a:pt x="220" y="247"/>
                  </a:cubicBezTo>
                  <a:cubicBezTo>
                    <a:pt x="219" y="249"/>
                    <a:pt x="218" y="250"/>
                    <a:pt x="218" y="251"/>
                  </a:cubicBezTo>
                  <a:cubicBezTo>
                    <a:pt x="240" y="261"/>
                    <a:pt x="256" y="253"/>
                    <a:pt x="260" y="230"/>
                  </a:cubicBezTo>
                  <a:cubicBezTo>
                    <a:pt x="261" y="227"/>
                    <a:pt x="260" y="224"/>
                    <a:pt x="261" y="221"/>
                  </a:cubicBezTo>
                  <a:cubicBezTo>
                    <a:pt x="262" y="219"/>
                    <a:pt x="264" y="216"/>
                    <a:pt x="266" y="215"/>
                  </a:cubicBezTo>
                  <a:cubicBezTo>
                    <a:pt x="268" y="215"/>
                    <a:pt x="270" y="217"/>
                    <a:pt x="272" y="219"/>
                  </a:cubicBezTo>
                  <a:cubicBezTo>
                    <a:pt x="273" y="219"/>
                    <a:pt x="273" y="220"/>
                    <a:pt x="274" y="221"/>
                  </a:cubicBezTo>
                  <a:cubicBezTo>
                    <a:pt x="276" y="221"/>
                    <a:pt x="277" y="220"/>
                    <a:pt x="279" y="219"/>
                  </a:cubicBezTo>
                  <a:cubicBezTo>
                    <a:pt x="292" y="214"/>
                    <a:pt x="304" y="219"/>
                    <a:pt x="312" y="231"/>
                  </a:cubicBezTo>
                  <a:cubicBezTo>
                    <a:pt x="314" y="235"/>
                    <a:pt x="315" y="238"/>
                    <a:pt x="311" y="241"/>
                  </a:cubicBezTo>
                  <a:cubicBezTo>
                    <a:pt x="307" y="243"/>
                    <a:pt x="304" y="241"/>
                    <a:pt x="302" y="237"/>
                  </a:cubicBezTo>
                  <a:cubicBezTo>
                    <a:pt x="293" y="226"/>
                    <a:pt x="275" y="227"/>
                    <a:pt x="270" y="241"/>
                  </a:cubicBezTo>
                  <a:cubicBezTo>
                    <a:pt x="263" y="260"/>
                    <a:pt x="249" y="269"/>
                    <a:pt x="229" y="267"/>
                  </a:cubicBezTo>
                  <a:cubicBezTo>
                    <a:pt x="229" y="267"/>
                    <a:pt x="228" y="267"/>
                    <a:pt x="228" y="268"/>
                  </a:cubicBezTo>
                  <a:cubicBezTo>
                    <a:pt x="227" y="270"/>
                    <a:pt x="227" y="272"/>
                    <a:pt x="226" y="274"/>
                  </a:cubicBezTo>
                  <a:cubicBezTo>
                    <a:pt x="230" y="277"/>
                    <a:pt x="234" y="278"/>
                    <a:pt x="237" y="281"/>
                  </a:cubicBezTo>
                  <a:cubicBezTo>
                    <a:pt x="239" y="283"/>
                    <a:pt x="240" y="287"/>
                    <a:pt x="239" y="288"/>
                  </a:cubicBezTo>
                  <a:cubicBezTo>
                    <a:pt x="237" y="290"/>
                    <a:pt x="234" y="290"/>
                    <a:pt x="231" y="290"/>
                  </a:cubicBezTo>
                  <a:cubicBezTo>
                    <a:pt x="230" y="290"/>
                    <a:pt x="229" y="289"/>
                    <a:pt x="227" y="288"/>
                  </a:cubicBezTo>
                  <a:cubicBezTo>
                    <a:pt x="218" y="283"/>
                    <a:pt x="208" y="282"/>
                    <a:pt x="199" y="289"/>
                  </a:cubicBezTo>
                  <a:cubicBezTo>
                    <a:pt x="196" y="292"/>
                    <a:pt x="193" y="292"/>
                    <a:pt x="190" y="289"/>
                  </a:cubicBezTo>
                  <a:cubicBezTo>
                    <a:pt x="187" y="286"/>
                    <a:pt x="189" y="282"/>
                    <a:pt x="192" y="280"/>
                  </a:cubicBezTo>
                  <a:cubicBezTo>
                    <a:pt x="198" y="277"/>
                    <a:pt x="203" y="275"/>
                    <a:pt x="209" y="272"/>
                  </a:cubicBezTo>
                  <a:cubicBezTo>
                    <a:pt x="211" y="271"/>
                    <a:pt x="213" y="270"/>
                    <a:pt x="215" y="268"/>
                  </a:cubicBezTo>
                  <a:cubicBezTo>
                    <a:pt x="214" y="266"/>
                    <a:pt x="212" y="263"/>
                    <a:pt x="210" y="262"/>
                  </a:cubicBezTo>
                  <a:cubicBezTo>
                    <a:pt x="206" y="259"/>
                    <a:pt x="201" y="258"/>
                    <a:pt x="197" y="255"/>
                  </a:cubicBezTo>
                  <a:cubicBezTo>
                    <a:pt x="196" y="254"/>
                    <a:pt x="194" y="250"/>
                    <a:pt x="195" y="248"/>
                  </a:cubicBezTo>
                  <a:cubicBezTo>
                    <a:pt x="195" y="246"/>
                    <a:pt x="199" y="246"/>
                    <a:pt x="201" y="245"/>
                  </a:cubicBezTo>
                  <a:cubicBezTo>
                    <a:pt x="204" y="244"/>
                    <a:pt x="207" y="245"/>
                    <a:pt x="208" y="243"/>
                  </a:cubicBezTo>
                  <a:cubicBezTo>
                    <a:pt x="218" y="233"/>
                    <a:pt x="221" y="221"/>
                    <a:pt x="220" y="207"/>
                  </a:cubicBezTo>
                  <a:cubicBezTo>
                    <a:pt x="220" y="206"/>
                    <a:pt x="218" y="204"/>
                    <a:pt x="217" y="204"/>
                  </a:cubicBezTo>
                  <a:cubicBezTo>
                    <a:pt x="208" y="204"/>
                    <a:pt x="202" y="200"/>
                    <a:pt x="196" y="194"/>
                  </a:cubicBezTo>
                  <a:cubicBezTo>
                    <a:pt x="188" y="200"/>
                    <a:pt x="184" y="211"/>
                    <a:pt x="171" y="211"/>
                  </a:cubicBezTo>
                  <a:close/>
                  <a:moveTo>
                    <a:pt x="264" y="163"/>
                  </a:moveTo>
                  <a:cubicBezTo>
                    <a:pt x="265" y="163"/>
                    <a:pt x="266" y="163"/>
                    <a:pt x="267" y="163"/>
                  </a:cubicBezTo>
                  <a:cubicBezTo>
                    <a:pt x="268" y="159"/>
                    <a:pt x="270" y="155"/>
                    <a:pt x="270" y="151"/>
                  </a:cubicBezTo>
                  <a:cubicBezTo>
                    <a:pt x="270" y="146"/>
                    <a:pt x="268" y="141"/>
                    <a:pt x="268" y="136"/>
                  </a:cubicBezTo>
                  <a:cubicBezTo>
                    <a:pt x="268" y="129"/>
                    <a:pt x="267" y="122"/>
                    <a:pt x="268" y="115"/>
                  </a:cubicBezTo>
                  <a:cubicBezTo>
                    <a:pt x="269" y="108"/>
                    <a:pt x="267" y="102"/>
                    <a:pt x="261" y="98"/>
                  </a:cubicBezTo>
                  <a:cubicBezTo>
                    <a:pt x="250" y="91"/>
                    <a:pt x="237" y="87"/>
                    <a:pt x="223" y="88"/>
                  </a:cubicBezTo>
                  <a:cubicBezTo>
                    <a:pt x="219" y="88"/>
                    <a:pt x="214" y="92"/>
                    <a:pt x="210" y="95"/>
                  </a:cubicBezTo>
                  <a:cubicBezTo>
                    <a:pt x="208" y="97"/>
                    <a:pt x="208" y="100"/>
                    <a:pt x="211" y="104"/>
                  </a:cubicBezTo>
                  <a:cubicBezTo>
                    <a:pt x="214" y="108"/>
                    <a:pt x="215" y="113"/>
                    <a:pt x="217" y="118"/>
                  </a:cubicBezTo>
                  <a:cubicBezTo>
                    <a:pt x="219" y="122"/>
                    <a:pt x="220" y="126"/>
                    <a:pt x="221" y="130"/>
                  </a:cubicBezTo>
                  <a:cubicBezTo>
                    <a:pt x="223" y="135"/>
                    <a:pt x="225" y="140"/>
                    <a:pt x="226" y="145"/>
                  </a:cubicBezTo>
                  <a:cubicBezTo>
                    <a:pt x="228" y="151"/>
                    <a:pt x="230" y="157"/>
                    <a:pt x="235" y="161"/>
                  </a:cubicBezTo>
                  <a:cubicBezTo>
                    <a:pt x="237" y="162"/>
                    <a:pt x="236" y="166"/>
                    <a:pt x="237" y="169"/>
                  </a:cubicBezTo>
                  <a:cubicBezTo>
                    <a:pt x="234" y="169"/>
                    <a:pt x="230" y="171"/>
                    <a:pt x="228" y="170"/>
                  </a:cubicBezTo>
                  <a:cubicBezTo>
                    <a:pt x="221" y="166"/>
                    <a:pt x="217" y="159"/>
                    <a:pt x="216" y="151"/>
                  </a:cubicBezTo>
                  <a:cubicBezTo>
                    <a:pt x="214" y="145"/>
                    <a:pt x="211" y="139"/>
                    <a:pt x="209" y="133"/>
                  </a:cubicBezTo>
                  <a:cubicBezTo>
                    <a:pt x="208" y="129"/>
                    <a:pt x="206" y="126"/>
                    <a:pt x="206" y="122"/>
                  </a:cubicBezTo>
                  <a:cubicBezTo>
                    <a:pt x="205" y="112"/>
                    <a:pt x="200" y="108"/>
                    <a:pt x="191" y="105"/>
                  </a:cubicBezTo>
                  <a:cubicBezTo>
                    <a:pt x="183" y="102"/>
                    <a:pt x="174" y="103"/>
                    <a:pt x="166" y="106"/>
                  </a:cubicBezTo>
                  <a:cubicBezTo>
                    <a:pt x="156" y="110"/>
                    <a:pt x="152" y="116"/>
                    <a:pt x="153" y="126"/>
                  </a:cubicBezTo>
                  <a:cubicBezTo>
                    <a:pt x="153" y="139"/>
                    <a:pt x="155" y="151"/>
                    <a:pt x="165" y="162"/>
                  </a:cubicBezTo>
                  <a:cubicBezTo>
                    <a:pt x="166" y="163"/>
                    <a:pt x="166" y="168"/>
                    <a:pt x="165" y="169"/>
                  </a:cubicBezTo>
                  <a:cubicBezTo>
                    <a:pt x="163" y="171"/>
                    <a:pt x="158" y="171"/>
                    <a:pt x="157" y="170"/>
                  </a:cubicBezTo>
                  <a:cubicBezTo>
                    <a:pt x="153" y="166"/>
                    <a:pt x="150" y="161"/>
                    <a:pt x="147" y="156"/>
                  </a:cubicBezTo>
                  <a:cubicBezTo>
                    <a:pt x="145" y="153"/>
                    <a:pt x="144" y="149"/>
                    <a:pt x="143" y="145"/>
                  </a:cubicBezTo>
                  <a:cubicBezTo>
                    <a:pt x="141" y="148"/>
                    <a:pt x="139" y="151"/>
                    <a:pt x="137" y="153"/>
                  </a:cubicBezTo>
                  <a:cubicBezTo>
                    <a:pt x="134" y="155"/>
                    <a:pt x="131" y="158"/>
                    <a:pt x="128" y="159"/>
                  </a:cubicBezTo>
                  <a:cubicBezTo>
                    <a:pt x="122" y="161"/>
                    <a:pt x="121" y="164"/>
                    <a:pt x="121" y="170"/>
                  </a:cubicBezTo>
                  <a:cubicBezTo>
                    <a:pt x="121" y="172"/>
                    <a:pt x="121" y="175"/>
                    <a:pt x="122" y="178"/>
                  </a:cubicBezTo>
                  <a:cubicBezTo>
                    <a:pt x="123" y="190"/>
                    <a:pt x="130" y="199"/>
                    <a:pt x="141" y="201"/>
                  </a:cubicBezTo>
                  <a:cubicBezTo>
                    <a:pt x="158" y="203"/>
                    <a:pt x="173" y="204"/>
                    <a:pt x="186" y="188"/>
                  </a:cubicBezTo>
                  <a:cubicBezTo>
                    <a:pt x="195" y="175"/>
                    <a:pt x="196" y="174"/>
                    <a:pt x="186" y="162"/>
                  </a:cubicBezTo>
                  <a:cubicBezTo>
                    <a:pt x="185" y="162"/>
                    <a:pt x="184" y="161"/>
                    <a:pt x="184" y="160"/>
                  </a:cubicBezTo>
                  <a:cubicBezTo>
                    <a:pt x="181" y="155"/>
                    <a:pt x="179" y="149"/>
                    <a:pt x="176" y="143"/>
                  </a:cubicBezTo>
                  <a:cubicBezTo>
                    <a:pt x="175" y="139"/>
                    <a:pt x="173" y="134"/>
                    <a:pt x="172" y="130"/>
                  </a:cubicBezTo>
                  <a:cubicBezTo>
                    <a:pt x="171" y="125"/>
                    <a:pt x="169" y="120"/>
                    <a:pt x="169" y="115"/>
                  </a:cubicBezTo>
                  <a:cubicBezTo>
                    <a:pt x="169" y="113"/>
                    <a:pt x="172" y="110"/>
                    <a:pt x="174" y="110"/>
                  </a:cubicBezTo>
                  <a:cubicBezTo>
                    <a:pt x="176" y="110"/>
                    <a:pt x="179" y="113"/>
                    <a:pt x="180" y="115"/>
                  </a:cubicBezTo>
                  <a:cubicBezTo>
                    <a:pt x="182" y="119"/>
                    <a:pt x="183" y="123"/>
                    <a:pt x="184" y="127"/>
                  </a:cubicBezTo>
                  <a:cubicBezTo>
                    <a:pt x="185" y="130"/>
                    <a:pt x="188" y="133"/>
                    <a:pt x="187" y="136"/>
                  </a:cubicBezTo>
                  <a:cubicBezTo>
                    <a:pt x="187" y="145"/>
                    <a:pt x="191" y="151"/>
                    <a:pt x="197" y="158"/>
                  </a:cubicBezTo>
                  <a:cubicBezTo>
                    <a:pt x="203" y="165"/>
                    <a:pt x="208" y="172"/>
                    <a:pt x="205" y="183"/>
                  </a:cubicBezTo>
                  <a:cubicBezTo>
                    <a:pt x="204" y="184"/>
                    <a:pt x="205" y="186"/>
                    <a:pt x="206" y="187"/>
                  </a:cubicBezTo>
                  <a:cubicBezTo>
                    <a:pt x="211" y="193"/>
                    <a:pt x="217" y="194"/>
                    <a:pt x="223" y="191"/>
                  </a:cubicBezTo>
                  <a:cubicBezTo>
                    <a:pt x="230" y="188"/>
                    <a:pt x="238" y="184"/>
                    <a:pt x="244" y="179"/>
                  </a:cubicBezTo>
                  <a:cubicBezTo>
                    <a:pt x="253" y="171"/>
                    <a:pt x="254" y="161"/>
                    <a:pt x="249" y="150"/>
                  </a:cubicBezTo>
                  <a:cubicBezTo>
                    <a:pt x="248" y="147"/>
                    <a:pt x="246" y="144"/>
                    <a:pt x="244" y="141"/>
                  </a:cubicBezTo>
                  <a:cubicBezTo>
                    <a:pt x="240" y="136"/>
                    <a:pt x="239" y="129"/>
                    <a:pt x="241" y="123"/>
                  </a:cubicBezTo>
                  <a:cubicBezTo>
                    <a:pt x="242" y="117"/>
                    <a:pt x="242" y="112"/>
                    <a:pt x="238" y="107"/>
                  </a:cubicBezTo>
                  <a:cubicBezTo>
                    <a:pt x="236" y="103"/>
                    <a:pt x="235" y="100"/>
                    <a:pt x="239" y="98"/>
                  </a:cubicBezTo>
                  <a:cubicBezTo>
                    <a:pt x="242" y="95"/>
                    <a:pt x="245" y="97"/>
                    <a:pt x="248" y="100"/>
                  </a:cubicBezTo>
                  <a:cubicBezTo>
                    <a:pt x="253" y="107"/>
                    <a:pt x="255" y="115"/>
                    <a:pt x="253" y="124"/>
                  </a:cubicBezTo>
                  <a:cubicBezTo>
                    <a:pt x="252" y="127"/>
                    <a:pt x="252" y="131"/>
                    <a:pt x="253" y="133"/>
                  </a:cubicBezTo>
                  <a:cubicBezTo>
                    <a:pt x="259" y="142"/>
                    <a:pt x="264" y="152"/>
                    <a:pt x="264" y="163"/>
                  </a:cubicBezTo>
                  <a:close/>
                  <a:moveTo>
                    <a:pt x="76" y="14"/>
                  </a:moveTo>
                  <a:cubicBezTo>
                    <a:pt x="76" y="17"/>
                    <a:pt x="76" y="20"/>
                    <a:pt x="77" y="24"/>
                  </a:cubicBezTo>
                  <a:cubicBezTo>
                    <a:pt x="80" y="55"/>
                    <a:pt x="90" y="66"/>
                    <a:pt x="121" y="74"/>
                  </a:cubicBezTo>
                  <a:cubicBezTo>
                    <a:pt x="130" y="77"/>
                    <a:pt x="139" y="76"/>
                    <a:pt x="148" y="70"/>
                  </a:cubicBezTo>
                  <a:cubicBezTo>
                    <a:pt x="156" y="65"/>
                    <a:pt x="166" y="64"/>
                    <a:pt x="175" y="68"/>
                  </a:cubicBezTo>
                  <a:cubicBezTo>
                    <a:pt x="183" y="72"/>
                    <a:pt x="192" y="77"/>
                    <a:pt x="200" y="81"/>
                  </a:cubicBezTo>
                  <a:cubicBezTo>
                    <a:pt x="202" y="82"/>
                    <a:pt x="205" y="83"/>
                    <a:pt x="206" y="82"/>
                  </a:cubicBezTo>
                  <a:cubicBezTo>
                    <a:pt x="217" y="74"/>
                    <a:pt x="230" y="74"/>
                    <a:pt x="242" y="78"/>
                  </a:cubicBezTo>
                  <a:cubicBezTo>
                    <a:pt x="252" y="81"/>
                    <a:pt x="262" y="83"/>
                    <a:pt x="273" y="80"/>
                  </a:cubicBezTo>
                  <a:cubicBezTo>
                    <a:pt x="277" y="79"/>
                    <a:pt x="281" y="79"/>
                    <a:pt x="285" y="80"/>
                  </a:cubicBezTo>
                  <a:cubicBezTo>
                    <a:pt x="294" y="81"/>
                    <a:pt x="301" y="86"/>
                    <a:pt x="305" y="94"/>
                  </a:cubicBezTo>
                  <a:cubicBezTo>
                    <a:pt x="307" y="100"/>
                    <a:pt x="310" y="137"/>
                    <a:pt x="308" y="143"/>
                  </a:cubicBezTo>
                  <a:cubicBezTo>
                    <a:pt x="308" y="145"/>
                    <a:pt x="307" y="146"/>
                    <a:pt x="307" y="147"/>
                  </a:cubicBezTo>
                  <a:cubicBezTo>
                    <a:pt x="301" y="157"/>
                    <a:pt x="295" y="167"/>
                    <a:pt x="289" y="176"/>
                  </a:cubicBezTo>
                  <a:cubicBezTo>
                    <a:pt x="287" y="180"/>
                    <a:pt x="283" y="181"/>
                    <a:pt x="280" y="178"/>
                  </a:cubicBezTo>
                  <a:cubicBezTo>
                    <a:pt x="277" y="175"/>
                    <a:pt x="278" y="172"/>
                    <a:pt x="280" y="169"/>
                  </a:cubicBezTo>
                  <a:cubicBezTo>
                    <a:pt x="285" y="162"/>
                    <a:pt x="290" y="156"/>
                    <a:pt x="293" y="149"/>
                  </a:cubicBezTo>
                  <a:cubicBezTo>
                    <a:pt x="296" y="144"/>
                    <a:pt x="297" y="138"/>
                    <a:pt x="297" y="132"/>
                  </a:cubicBezTo>
                  <a:cubicBezTo>
                    <a:pt x="298" y="124"/>
                    <a:pt x="296" y="115"/>
                    <a:pt x="295" y="106"/>
                  </a:cubicBezTo>
                  <a:cubicBezTo>
                    <a:pt x="294" y="94"/>
                    <a:pt x="285" y="88"/>
                    <a:pt x="273" y="92"/>
                  </a:cubicBezTo>
                  <a:cubicBezTo>
                    <a:pt x="280" y="101"/>
                    <a:pt x="281" y="110"/>
                    <a:pt x="278" y="120"/>
                  </a:cubicBezTo>
                  <a:cubicBezTo>
                    <a:pt x="278" y="124"/>
                    <a:pt x="278" y="128"/>
                    <a:pt x="279" y="132"/>
                  </a:cubicBezTo>
                  <a:cubicBezTo>
                    <a:pt x="280" y="136"/>
                    <a:pt x="281" y="140"/>
                    <a:pt x="282" y="144"/>
                  </a:cubicBezTo>
                  <a:cubicBezTo>
                    <a:pt x="284" y="160"/>
                    <a:pt x="278" y="170"/>
                    <a:pt x="264" y="178"/>
                  </a:cubicBezTo>
                  <a:cubicBezTo>
                    <a:pt x="263" y="178"/>
                    <a:pt x="262" y="178"/>
                    <a:pt x="261" y="179"/>
                  </a:cubicBezTo>
                  <a:cubicBezTo>
                    <a:pt x="263" y="181"/>
                    <a:pt x="263" y="182"/>
                    <a:pt x="264" y="183"/>
                  </a:cubicBezTo>
                  <a:cubicBezTo>
                    <a:pt x="273" y="192"/>
                    <a:pt x="284" y="193"/>
                    <a:pt x="295" y="190"/>
                  </a:cubicBezTo>
                  <a:cubicBezTo>
                    <a:pt x="305" y="188"/>
                    <a:pt x="310" y="179"/>
                    <a:pt x="311" y="169"/>
                  </a:cubicBezTo>
                  <a:cubicBezTo>
                    <a:pt x="312" y="165"/>
                    <a:pt x="312" y="160"/>
                    <a:pt x="312" y="155"/>
                  </a:cubicBezTo>
                  <a:cubicBezTo>
                    <a:pt x="312" y="153"/>
                    <a:pt x="312" y="150"/>
                    <a:pt x="313" y="148"/>
                  </a:cubicBezTo>
                  <a:cubicBezTo>
                    <a:pt x="318" y="139"/>
                    <a:pt x="320" y="130"/>
                    <a:pt x="320" y="120"/>
                  </a:cubicBezTo>
                  <a:cubicBezTo>
                    <a:pt x="321" y="108"/>
                    <a:pt x="321" y="97"/>
                    <a:pt x="317" y="86"/>
                  </a:cubicBezTo>
                  <a:cubicBezTo>
                    <a:pt x="312" y="73"/>
                    <a:pt x="303" y="66"/>
                    <a:pt x="289" y="66"/>
                  </a:cubicBezTo>
                  <a:cubicBezTo>
                    <a:pt x="282" y="66"/>
                    <a:pt x="274" y="67"/>
                    <a:pt x="267" y="69"/>
                  </a:cubicBezTo>
                  <a:cubicBezTo>
                    <a:pt x="244" y="74"/>
                    <a:pt x="222" y="72"/>
                    <a:pt x="201" y="61"/>
                  </a:cubicBezTo>
                  <a:cubicBezTo>
                    <a:pt x="184" y="51"/>
                    <a:pt x="166" y="48"/>
                    <a:pt x="147" y="52"/>
                  </a:cubicBezTo>
                  <a:cubicBezTo>
                    <a:pt x="139" y="53"/>
                    <a:pt x="132" y="54"/>
                    <a:pt x="124" y="54"/>
                  </a:cubicBezTo>
                  <a:cubicBezTo>
                    <a:pt x="109" y="54"/>
                    <a:pt x="97" y="43"/>
                    <a:pt x="96" y="29"/>
                  </a:cubicBezTo>
                  <a:cubicBezTo>
                    <a:pt x="95" y="24"/>
                    <a:pt x="96" y="19"/>
                    <a:pt x="96" y="14"/>
                  </a:cubicBezTo>
                  <a:cubicBezTo>
                    <a:pt x="89" y="14"/>
                    <a:pt x="83" y="14"/>
                    <a:pt x="76" y="14"/>
                  </a:cubicBezTo>
                  <a:close/>
                  <a:moveTo>
                    <a:pt x="24" y="146"/>
                  </a:moveTo>
                  <a:cubicBezTo>
                    <a:pt x="25" y="149"/>
                    <a:pt x="25" y="153"/>
                    <a:pt x="26" y="157"/>
                  </a:cubicBezTo>
                  <a:cubicBezTo>
                    <a:pt x="27" y="165"/>
                    <a:pt x="31" y="168"/>
                    <a:pt x="38" y="168"/>
                  </a:cubicBezTo>
                  <a:cubicBezTo>
                    <a:pt x="41" y="168"/>
                    <a:pt x="43" y="168"/>
                    <a:pt x="46" y="167"/>
                  </a:cubicBezTo>
                  <a:cubicBezTo>
                    <a:pt x="57" y="163"/>
                    <a:pt x="69" y="160"/>
                    <a:pt x="82" y="162"/>
                  </a:cubicBezTo>
                  <a:cubicBezTo>
                    <a:pt x="83" y="162"/>
                    <a:pt x="84" y="161"/>
                    <a:pt x="85" y="161"/>
                  </a:cubicBezTo>
                  <a:cubicBezTo>
                    <a:pt x="93" y="158"/>
                    <a:pt x="100" y="155"/>
                    <a:pt x="108" y="152"/>
                  </a:cubicBezTo>
                  <a:cubicBezTo>
                    <a:pt x="111" y="151"/>
                    <a:pt x="115" y="151"/>
                    <a:pt x="119" y="151"/>
                  </a:cubicBezTo>
                  <a:cubicBezTo>
                    <a:pt x="131" y="148"/>
                    <a:pt x="133" y="135"/>
                    <a:pt x="141" y="128"/>
                  </a:cubicBezTo>
                  <a:cubicBezTo>
                    <a:pt x="141" y="128"/>
                    <a:pt x="141" y="127"/>
                    <a:pt x="141" y="126"/>
                  </a:cubicBezTo>
                  <a:cubicBezTo>
                    <a:pt x="143" y="117"/>
                    <a:pt x="138" y="111"/>
                    <a:pt x="131" y="108"/>
                  </a:cubicBezTo>
                  <a:cubicBezTo>
                    <a:pt x="110" y="98"/>
                    <a:pt x="89" y="89"/>
                    <a:pt x="66" y="94"/>
                  </a:cubicBezTo>
                  <a:cubicBezTo>
                    <a:pt x="59" y="95"/>
                    <a:pt x="51" y="94"/>
                    <a:pt x="46" y="89"/>
                  </a:cubicBezTo>
                  <a:cubicBezTo>
                    <a:pt x="41" y="85"/>
                    <a:pt x="36" y="85"/>
                    <a:pt x="30" y="87"/>
                  </a:cubicBezTo>
                  <a:cubicBezTo>
                    <a:pt x="17" y="92"/>
                    <a:pt x="14" y="98"/>
                    <a:pt x="19" y="111"/>
                  </a:cubicBezTo>
                  <a:cubicBezTo>
                    <a:pt x="20" y="113"/>
                    <a:pt x="22" y="115"/>
                    <a:pt x="22" y="117"/>
                  </a:cubicBezTo>
                  <a:cubicBezTo>
                    <a:pt x="23" y="124"/>
                    <a:pt x="24" y="130"/>
                    <a:pt x="25" y="137"/>
                  </a:cubicBezTo>
                  <a:cubicBezTo>
                    <a:pt x="25" y="139"/>
                    <a:pt x="24" y="142"/>
                    <a:pt x="24" y="146"/>
                  </a:cubicBezTo>
                  <a:close/>
                  <a:moveTo>
                    <a:pt x="58" y="286"/>
                  </a:moveTo>
                  <a:cubicBezTo>
                    <a:pt x="56" y="283"/>
                    <a:pt x="53" y="280"/>
                    <a:pt x="51" y="277"/>
                  </a:cubicBezTo>
                  <a:cubicBezTo>
                    <a:pt x="43" y="265"/>
                    <a:pt x="37" y="252"/>
                    <a:pt x="42" y="236"/>
                  </a:cubicBezTo>
                  <a:cubicBezTo>
                    <a:pt x="43" y="231"/>
                    <a:pt x="42" y="227"/>
                    <a:pt x="39" y="223"/>
                  </a:cubicBezTo>
                  <a:cubicBezTo>
                    <a:pt x="33" y="214"/>
                    <a:pt x="30" y="205"/>
                    <a:pt x="34" y="195"/>
                  </a:cubicBezTo>
                  <a:cubicBezTo>
                    <a:pt x="36" y="190"/>
                    <a:pt x="38" y="185"/>
                    <a:pt x="40" y="181"/>
                  </a:cubicBezTo>
                  <a:cubicBezTo>
                    <a:pt x="35" y="179"/>
                    <a:pt x="29" y="178"/>
                    <a:pt x="22" y="176"/>
                  </a:cubicBezTo>
                  <a:cubicBezTo>
                    <a:pt x="18" y="185"/>
                    <a:pt x="13" y="194"/>
                    <a:pt x="13" y="204"/>
                  </a:cubicBezTo>
                  <a:cubicBezTo>
                    <a:pt x="13" y="209"/>
                    <a:pt x="15" y="216"/>
                    <a:pt x="18" y="220"/>
                  </a:cubicBezTo>
                  <a:cubicBezTo>
                    <a:pt x="24" y="228"/>
                    <a:pt x="28" y="235"/>
                    <a:pt x="24" y="245"/>
                  </a:cubicBezTo>
                  <a:cubicBezTo>
                    <a:pt x="23" y="248"/>
                    <a:pt x="24" y="253"/>
                    <a:pt x="26" y="256"/>
                  </a:cubicBezTo>
                  <a:cubicBezTo>
                    <a:pt x="28" y="260"/>
                    <a:pt x="32" y="264"/>
                    <a:pt x="34" y="268"/>
                  </a:cubicBezTo>
                  <a:cubicBezTo>
                    <a:pt x="39" y="277"/>
                    <a:pt x="46" y="284"/>
                    <a:pt x="58" y="286"/>
                  </a:cubicBezTo>
                  <a:close/>
                  <a:moveTo>
                    <a:pt x="181" y="312"/>
                  </a:moveTo>
                  <a:cubicBezTo>
                    <a:pt x="165" y="338"/>
                    <a:pt x="160" y="342"/>
                    <a:pt x="125" y="347"/>
                  </a:cubicBezTo>
                  <a:cubicBezTo>
                    <a:pt x="152" y="360"/>
                    <a:pt x="179" y="348"/>
                    <a:pt x="195" y="321"/>
                  </a:cubicBezTo>
                  <a:cubicBezTo>
                    <a:pt x="191" y="318"/>
                    <a:pt x="186" y="315"/>
                    <a:pt x="181" y="312"/>
                  </a:cubicBezTo>
                  <a:close/>
                  <a:moveTo>
                    <a:pt x="289" y="275"/>
                  </a:moveTo>
                  <a:cubicBezTo>
                    <a:pt x="283" y="274"/>
                    <a:pt x="280" y="275"/>
                    <a:pt x="276" y="280"/>
                  </a:cubicBezTo>
                  <a:cubicBezTo>
                    <a:pt x="273" y="284"/>
                    <a:pt x="269" y="287"/>
                    <a:pt x="265" y="290"/>
                  </a:cubicBezTo>
                  <a:cubicBezTo>
                    <a:pt x="257" y="297"/>
                    <a:pt x="248" y="304"/>
                    <a:pt x="240" y="310"/>
                  </a:cubicBezTo>
                  <a:cubicBezTo>
                    <a:pt x="263" y="315"/>
                    <a:pt x="284" y="300"/>
                    <a:pt x="289" y="275"/>
                  </a:cubicBezTo>
                  <a:close/>
                  <a:moveTo>
                    <a:pt x="85" y="173"/>
                  </a:moveTo>
                  <a:cubicBezTo>
                    <a:pt x="92" y="183"/>
                    <a:pt x="101" y="189"/>
                    <a:pt x="112" y="193"/>
                  </a:cubicBezTo>
                  <a:cubicBezTo>
                    <a:pt x="111" y="183"/>
                    <a:pt x="110" y="174"/>
                    <a:pt x="108" y="163"/>
                  </a:cubicBezTo>
                  <a:cubicBezTo>
                    <a:pt x="101" y="166"/>
                    <a:pt x="94" y="169"/>
                    <a:pt x="85" y="173"/>
                  </a:cubicBezTo>
                  <a:close/>
                  <a:moveTo>
                    <a:pt x="233" y="322"/>
                  </a:moveTo>
                  <a:cubicBezTo>
                    <a:pt x="222" y="317"/>
                    <a:pt x="208" y="322"/>
                    <a:pt x="205" y="331"/>
                  </a:cubicBezTo>
                  <a:cubicBezTo>
                    <a:pt x="214" y="334"/>
                    <a:pt x="225" y="331"/>
                    <a:pt x="233" y="3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9490666" y="4844674"/>
            <a:ext cx="1062144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Kidney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101" name="Group 100"/>
          <p:cNvGrpSpPr/>
          <p:nvPr/>
        </p:nvGrpSpPr>
        <p:grpSpPr>
          <a:xfrm>
            <a:off x="8717141" y="4761856"/>
            <a:ext cx="576000" cy="576000"/>
            <a:chOff x="6129463" y="1852042"/>
            <a:chExt cx="820800" cy="824400"/>
          </a:xfrm>
        </p:grpSpPr>
        <p:sp>
          <p:nvSpPr>
            <p:cNvPr id="102" name="Freeform 198"/>
            <p:cNvSpPr>
              <a:spLocks/>
            </p:cNvSpPr>
            <p:nvPr/>
          </p:nvSpPr>
          <p:spPr bwMode="auto">
            <a:xfrm>
              <a:off x="6129463" y="1852042"/>
              <a:ext cx="820800" cy="824400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03" name="Freeform 272"/>
            <p:cNvSpPr>
              <a:spLocks/>
            </p:cNvSpPr>
            <p:nvPr/>
          </p:nvSpPr>
          <p:spPr bwMode="auto">
            <a:xfrm>
              <a:off x="6236658" y="1909813"/>
              <a:ext cx="606411" cy="708858"/>
            </a:xfrm>
            <a:custGeom>
              <a:avLst/>
              <a:gdLst>
                <a:gd name="T0" fmla="*/ 106 w 294"/>
                <a:gd name="T1" fmla="*/ 312 h 344"/>
                <a:gd name="T2" fmla="*/ 46 w 294"/>
                <a:gd name="T3" fmla="*/ 265 h 344"/>
                <a:gd name="T4" fmla="*/ 45 w 294"/>
                <a:gd name="T5" fmla="*/ 217 h 344"/>
                <a:gd name="T6" fmla="*/ 55 w 294"/>
                <a:gd name="T7" fmla="*/ 142 h 344"/>
                <a:gd name="T8" fmla="*/ 55 w 294"/>
                <a:gd name="T9" fmla="*/ 87 h 344"/>
                <a:gd name="T10" fmla="*/ 87 w 294"/>
                <a:gd name="T11" fmla="*/ 58 h 344"/>
                <a:gd name="T12" fmla="*/ 158 w 294"/>
                <a:gd name="T13" fmla="*/ 58 h 344"/>
                <a:gd name="T14" fmla="*/ 190 w 294"/>
                <a:gd name="T15" fmla="*/ 93 h 344"/>
                <a:gd name="T16" fmla="*/ 195 w 294"/>
                <a:gd name="T17" fmla="*/ 149 h 344"/>
                <a:gd name="T18" fmla="*/ 99 w 294"/>
                <a:gd name="T19" fmla="*/ 31 h 344"/>
                <a:gd name="T20" fmla="*/ 19 w 294"/>
                <a:gd name="T21" fmla="*/ 198 h 344"/>
                <a:gd name="T22" fmla="*/ 92 w 294"/>
                <a:gd name="T23" fmla="*/ 325 h 344"/>
                <a:gd name="T24" fmla="*/ 187 w 294"/>
                <a:gd name="T25" fmla="*/ 284 h 344"/>
                <a:gd name="T26" fmla="*/ 144 w 294"/>
                <a:gd name="T27" fmla="*/ 233 h 344"/>
                <a:gd name="T28" fmla="*/ 135 w 294"/>
                <a:gd name="T29" fmla="*/ 223 h 344"/>
                <a:gd name="T30" fmla="*/ 197 w 294"/>
                <a:gd name="T31" fmla="*/ 217 h 344"/>
                <a:gd name="T32" fmla="*/ 256 w 294"/>
                <a:gd name="T33" fmla="*/ 305 h 344"/>
                <a:gd name="T34" fmla="*/ 243 w 294"/>
                <a:gd name="T35" fmla="*/ 304 h 344"/>
                <a:gd name="T36" fmla="*/ 210 w 294"/>
                <a:gd name="T37" fmla="*/ 238 h 344"/>
                <a:gd name="T38" fmla="*/ 211 w 294"/>
                <a:gd name="T39" fmla="*/ 249 h 344"/>
                <a:gd name="T40" fmla="*/ 119 w 294"/>
                <a:gd name="T41" fmla="*/ 340 h 344"/>
                <a:gd name="T42" fmla="*/ 10 w 294"/>
                <a:gd name="T43" fmla="*/ 234 h 344"/>
                <a:gd name="T44" fmla="*/ 99 w 294"/>
                <a:gd name="T45" fmla="*/ 17 h 344"/>
                <a:gd name="T46" fmla="*/ 210 w 294"/>
                <a:gd name="T47" fmla="*/ 147 h 344"/>
                <a:gd name="T48" fmla="*/ 271 w 294"/>
                <a:gd name="T49" fmla="*/ 211 h 344"/>
                <a:gd name="T50" fmla="*/ 293 w 294"/>
                <a:gd name="T51" fmla="*/ 307 h 344"/>
                <a:gd name="T52" fmla="*/ 280 w 294"/>
                <a:gd name="T53" fmla="*/ 307 h 344"/>
                <a:gd name="T54" fmla="*/ 273 w 294"/>
                <a:gd name="T55" fmla="*/ 254 h 344"/>
                <a:gd name="T56" fmla="*/ 161 w 294"/>
                <a:gd name="T57" fmla="*/ 143 h 344"/>
                <a:gd name="T58" fmla="*/ 131 w 294"/>
                <a:gd name="T59" fmla="*/ 104 h 344"/>
                <a:gd name="T60" fmla="*/ 162 w 294"/>
                <a:gd name="T61" fmla="*/ 127 h 344"/>
                <a:gd name="T62" fmla="*/ 177 w 294"/>
                <a:gd name="T63" fmla="*/ 99 h 344"/>
                <a:gd name="T64" fmla="*/ 154 w 294"/>
                <a:gd name="T65" fmla="*/ 76 h 344"/>
                <a:gd name="T66" fmla="*/ 144 w 294"/>
                <a:gd name="T67" fmla="*/ 60 h 344"/>
                <a:gd name="T68" fmla="*/ 100 w 294"/>
                <a:gd name="T69" fmla="*/ 64 h 344"/>
                <a:gd name="T70" fmla="*/ 108 w 294"/>
                <a:gd name="T71" fmla="*/ 84 h 344"/>
                <a:gd name="T72" fmla="*/ 97 w 294"/>
                <a:gd name="T73" fmla="*/ 93 h 344"/>
                <a:gd name="T74" fmla="*/ 65 w 294"/>
                <a:gd name="T75" fmla="*/ 131 h 344"/>
                <a:gd name="T76" fmla="*/ 87 w 294"/>
                <a:gd name="T77" fmla="*/ 152 h 344"/>
                <a:gd name="T78" fmla="*/ 71 w 294"/>
                <a:gd name="T79" fmla="*/ 156 h 344"/>
                <a:gd name="T80" fmla="*/ 42 w 294"/>
                <a:gd name="T81" fmla="*/ 192 h 344"/>
                <a:gd name="T82" fmla="*/ 78 w 294"/>
                <a:gd name="T83" fmla="*/ 207 h 344"/>
                <a:gd name="T84" fmla="*/ 73 w 294"/>
                <a:gd name="T85" fmla="*/ 220 h 344"/>
                <a:gd name="T86" fmla="*/ 62 w 294"/>
                <a:gd name="T87" fmla="*/ 264 h 344"/>
                <a:gd name="T88" fmla="*/ 80 w 294"/>
                <a:gd name="T89" fmla="*/ 260 h 344"/>
                <a:gd name="T90" fmla="*/ 90 w 294"/>
                <a:gd name="T91" fmla="*/ 269 h 344"/>
                <a:gd name="T92" fmla="*/ 115 w 294"/>
                <a:gd name="T93" fmla="*/ 299 h 344"/>
                <a:gd name="T94" fmla="*/ 138 w 294"/>
                <a:gd name="T95" fmla="*/ 268 h 344"/>
                <a:gd name="T96" fmla="*/ 151 w 294"/>
                <a:gd name="T97" fmla="*/ 264 h 344"/>
                <a:gd name="T98" fmla="*/ 168 w 294"/>
                <a:gd name="T99" fmla="*/ 279 h 344"/>
                <a:gd name="T100" fmla="*/ 166 w 294"/>
                <a:gd name="T101" fmla="*/ 246 h 344"/>
                <a:gd name="T102" fmla="*/ 151 w 294"/>
                <a:gd name="T103" fmla="*/ 248 h 344"/>
                <a:gd name="T104" fmla="*/ 148 w 294"/>
                <a:gd name="T105" fmla="*/ 235 h 344"/>
                <a:gd name="T106" fmla="*/ 190 w 294"/>
                <a:gd name="T107" fmla="*/ 263 h 344"/>
                <a:gd name="T108" fmla="*/ 149 w 294"/>
                <a:gd name="T109" fmla="*/ 29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4" h="344">
                  <a:moveTo>
                    <a:pt x="149" y="290"/>
                  </a:moveTo>
                  <a:cubicBezTo>
                    <a:pt x="140" y="307"/>
                    <a:pt x="125" y="315"/>
                    <a:pt x="106" y="312"/>
                  </a:cubicBezTo>
                  <a:cubicBezTo>
                    <a:pt x="89" y="309"/>
                    <a:pt x="79" y="298"/>
                    <a:pt x="74" y="281"/>
                  </a:cubicBezTo>
                  <a:cubicBezTo>
                    <a:pt x="61" y="282"/>
                    <a:pt x="53" y="275"/>
                    <a:pt x="46" y="265"/>
                  </a:cubicBezTo>
                  <a:cubicBezTo>
                    <a:pt x="39" y="254"/>
                    <a:pt x="36" y="242"/>
                    <a:pt x="40" y="228"/>
                  </a:cubicBezTo>
                  <a:cubicBezTo>
                    <a:pt x="41" y="224"/>
                    <a:pt x="43" y="221"/>
                    <a:pt x="45" y="217"/>
                  </a:cubicBezTo>
                  <a:cubicBezTo>
                    <a:pt x="30" y="208"/>
                    <a:pt x="25" y="193"/>
                    <a:pt x="27" y="177"/>
                  </a:cubicBezTo>
                  <a:cubicBezTo>
                    <a:pt x="30" y="160"/>
                    <a:pt x="38" y="148"/>
                    <a:pt x="55" y="142"/>
                  </a:cubicBezTo>
                  <a:cubicBezTo>
                    <a:pt x="49" y="132"/>
                    <a:pt x="47" y="122"/>
                    <a:pt x="48" y="111"/>
                  </a:cubicBezTo>
                  <a:cubicBezTo>
                    <a:pt x="48" y="102"/>
                    <a:pt x="50" y="94"/>
                    <a:pt x="55" y="87"/>
                  </a:cubicBezTo>
                  <a:cubicBezTo>
                    <a:pt x="62" y="76"/>
                    <a:pt x="72" y="70"/>
                    <a:pt x="86" y="71"/>
                  </a:cubicBezTo>
                  <a:cubicBezTo>
                    <a:pt x="86" y="66"/>
                    <a:pt x="86" y="62"/>
                    <a:pt x="87" y="58"/>
                  </a:cubicBezTo>
                  <a:cubicBezTo>
                    <a:pt x="90" y="42"/>
                    <a:pt x="106" y="30"/>
                    <a:pt x="123" y="29"/>
                  </a:cubicBezTo>
                  <a:cubicBezTo>
                    <a:pt x="143" y="28"/>
                    <a:pt x="155" y="39"/>
                    <a:pt x="158" y="58"/>
                  </a:cubicBezTo>
                  <a:cubicBezTo>
                    <a:pt x="158" y="59"/>
                    <a:pt x="158" y="60"/>
                    <a:pt x="158" y="61"/>
                  </a:cubicBezTo>
                  <a:cubicBezTo>
                    <a:pt x="177" y="63"/>
                    <a:pt x="186" y="76"/>
                    <a:pt x="190" y="93"/>
                  </a:cubicBezTo>
                  <a:cubicBezTo>
                    <a:pt x="194" y="110"/>
                    <a:pt x="190" y="125"/>
                    <a:pt x="176" y="137"/>
                  </a:cubicBezTo>
                  <a:cubicBezTo>
                    <a:pt x="183" y="141"/>
                    <a:pt x="189" y="145"/>
                    <a:pt x="195" y="149"/>
                  </a:cubicBezTo>
                  <a:cubicBezTo>
                    <a:pt x="200" y="122"/>
                    <a:pt x="200" y="95"/>
                    <a:pt x="190" y="69"/>
                  </a:cubicBezTo>
                  <a:cubicBezTo>
                    <a:pt x="176" y="30"/>
                    <a:pt x="138" y="14"/>
                    <a:pt x="99" y="31"/>
                  </a:cubicBezTo>
                  <a:cubicBezTo>
                    <a:pt x="78" y="40"/>
                    <a:pt x="62" y="56"/>
                    <a:pt x="51" y="76"/>
                  </a:cubicBezTo>
                  <a:cubicBezTo>
                    <a:pt x="30" y="114"/>
                    <a:pt x="19" y="155"/>
                    <a:pt x="19" y="198"/>
                  </a:cubicBezTo>
                  <a:cubicBezTo>
                    <a:pt x="20" y="230"/>
                    <a:pt x="27" y="261"/>
                    <a:pt x="44" y="288"/>
                  </a:cubicBezTo>
                  <a:cubicBezTo>
                    <a:pt x="56" y="306"/>
                    <a:pt x="71" y="320"/>
                    <a:pt x="92" y="325"/>
                  </a:cubicBezTo>
                  <a:cubicBezTo>
                    <a:pt x="107" y="329"/>
                    <a:pt x="121" y="327"/>
                    <a:pt x="136" y="322"/>
                  </a:cubicBezTo>
                  <a:cubicBezTo>
                    <a:pt x="157" y="315"/>
                    <a:pt x="174" y="303"/>
                    <a:pt x="187" y="284"/>
                  </a:cubicBezTo>
                  <a:cubicBezTo>
                    <a:pt x="195" y="273"/>
                    <a:pt x="200" y="260"/>
                    <a:pt x="195" y="245"/>
                  </a:cubicBezTo>
                  <a:cubicBezTo>
                    <a:pt x="188" y="222"/>
                    <a:pt x="161" y="215"/>
                    <a:pt x="144" y="233"/>
                  </a:cubicBezTo>
                  <a:cubicBezTo>
                    <a:pt x="141" y="235"/>
                    <a:pt x="138" y="235"/>
                    <a:pt x="135" y="233"/>
                  </a:cubicBezTo>
                  <a:cubicBezTo>
                    <a:pt x="132" y="230"/>
                    <a:pt x="132" y="226"/>
                    <a:pt x="135" y="223"/>
                  </a:cubicBezTo>
                  <a:cubicBezTo>
                    <a:pt x="143" y="216"/>
                    <a:pt x="152" y="211"/>
                    <a:pt x="163" y="210"/>
                  </a:cubicBezTo>
                  <a:cubicBezTo>
                    <a:pt x="175" y="208"/>
                    <a:pt x="186" y="213"/>
                    <a:pt x="197" y="217"/>
                  </a:cubicBezTo>
                  <a:cubicBezTo>
                    <a:pt x="213" y="222"/>
                    <a:pt x="227" y="231"/>
                    <a:pt x="238" y="244"/>
                  </a:cubicBezTo>
                  <a:cubicBezTo>
                    <a:pt x="254" y="261"/>
                    <a:pt x="259" y="282"/>
                    <a:pt x="256" y="305"/>
                  </a:cubicBezTo>
                  <a:cubicBezTo>
                    <a:pt x="256" y="310"/>
                    <a:pt x="253" y="313"/>
                    <a:pt x="249" y="312"/>
                  </a:cubicBezTo>
                  <a:cubicBezTo>
                    <a:pt x="244" y="312"/>
                    <a:pt x="243" y="309"/>
                    <a:pt x="243" y="304"/>
                  </a:cubicBezTo>
                  <a:cubicBezTo>
                    <a:pt x="242" y="295"/>
                    <a:pt x="243" y="285"/>
                    <a:pt x="240" y="276"/>
                  </a:cubicBezTo>
                  <a:cubicBezTo>
                    <a:pt x="236" y="259"/>
                    <a:pt x="225" y="247"/>
                    <a:pt x="210" y="238"/>
                  </a:cubicBezTo>
                  <a:cubicBezTo>
                    <a:pt x="209" y="238"/>
                    <a:pt x="209" y="238"/>
                    <a:pt x="208" y="237"/>
                  </a:cubicBezTo>
                  <a:cubicBezTo>
                    <a:pt x="209" y="241"/>
                    <a:pt x="210" y="245"/>
                    <a:pt x="211" y="249"/>
                  </a:cubicBezTo>
                  <a:cubicBezTo>
                    <a:pt x="213" y="264"/>
                    <a:pt x="209" y="277"/>
                    <a:pt x="201" y="289"/>
                  </a:cubicBezTo>
                  <a:cubicBezTo>
                    <a:pt x="182" y="318"/>
                    <a:pt x="154" y="336"/>
                    <a:pt x="119" y="340"/>
                  </a:cubicBezTo>
                  <a:cubicBezTo>
                    <a:pt x="86" y="344"/>
                    <a:pt x="59" y="330"/>
                    <a:pt x="39" y="304"/>
                  </a:cubicBezTo>
                  <a:cubicBezTo>
                    <a:pt x="24" y="283"/>
                    <a:pt x="14" y="259"/>
                    <a:pt x="10" y="234"/>
                  </a:cubicBezTo>
                  <a:cubicBezTo>
                    <a:pt x="0" y="174"/>
                    <a:pt x="12" y="118"/>
                    <a:pt x="42" y="66"/>
                  </a:cubicBezTo>
                  <a:cubicBezTo>
                    <a:pt x="55" y="43"/>
                    <a:pt x="74" y="26"/>
                    <a:pt x="99" y="17"/>
                  </a:cubicBezTo>
                  <a:cubicBezTo>
                    <a:pt x="142" y="0"/>
                    <a:pt x="185" y="19"/>
                    <a:pt x="202" y="62"/>
                  </a:cubicBezTo>
                  <a:cubicBezTo>
                    <a:pt x="213" y="89"/>
                    <a:pt x="214" y="118"/>
                    <a:pt x="210" y="147"/>
                  </a:cubicBezTo>
                  <a:cubicBezTo>
                    <a:pt x="208" y="156"/>
                    <a:pt x="208" y="156"/>
                    <a:pt x="216" y="161"/>
                  </a:cubicBezTo>
                  <a:cubicBezTo>
                    <a:pt x="239" y="173"/>
                    <a:pt x="257" y="189"/>
                    <a:pt x="271" y="211"/>
                  </a:cubicBezTo>
                  <a:cubicBezTo>
                    <a:pt x="282" y="230"/>
                    <a:pt x="288" y="251"/>
                    <a:pt x="291" y="273"/>
                  </a:cubicBezTo>
                  <a:cubicBezTo>
                    <a:pt x="292" y="284"/>
                    <a:pt x="293" y="295"/>
                    <a:pt x="293" y="307"/>
                  </a:cubicBezTo>
                  <a:cubicBezTo>
                    <a:pt x="294" y="311"/>
                    <a:pt x="290" y="314"/>
                    <a:pt x="286" y="314"/>
                  </a:cubicBezTo>
                  <a:cubicBezTo>
                    <a:pt x="283" y="314"/>
                    <a:pt x="280" y="311"/>
                    <a:pt x="280" y="307"/>
                  </a:cubicBezTo>
                  <a:cubicBezTo>
                    <a:pt x="280" y="306"/>
                    <a:pt x="280" y="305"/>
                    <a:pt x="280" y="304"/>
                  </a:cubicBezTo>
                  <a:cubicBezTo>
                    <a:pt x="279" y="287"/>
                    <a:pt x="277" y="270"/>
                    <a:pt x="273" y="254"/>
                  </a:cubicBezTo>
                  <a:cubicBezTo>
                    <a:pt x="265" y="219"/>
                    <a:pt x="245" y="193"/>
                    <a:pt x="214" y="175"/>
                  </a:cubicBezTo>
                  <a:cubicBezTo>
                    <a:pt x="197" y="165"/>
                    <a:pt x="179" y="154"/>
                    <a:pt x="161" y="143"/>
                  </a:cubicBezTo>
                  <a:cubicBezTo>
                    <a:pt x="149" y="136"/>
                    <a:pt x="139" y="126"/>
                    <a:pt x="130" y="114"/>
                  </a:cubicBezTo>
                  <a:cubicBezTo>
                    <a:pt x="128" y="110"/>
                    <a:pt x="128" y="107"/>
                    <a:pt x="131" y="104"/>
                  </a:cubicBezTo>
                  <a:cubicBezTo>
                    <a:pt x="134" y="102"/>
                    <a:pt x="138" y="102"/>
                    <a:pt x="141" y="106"/>
                  </a:cubicBezTo>
                  <a:cubicBezTo>
                    <a:pt x="148" y="113"/>
                    <a:pt x="155" y="120"/>
                    <a:pt x="162" y="127"/>
                  </a:cubicBezTo>
                  <a:cubicBezTo>
                    <a:pt x="164" y="129"/>
                    <a:pt x="165" y="129"/>
                    <a:pt x="167" y="127"/>
                  </a:cubicBezTo>
                  <a:cubicBezTo>
                    <a:pt x="176" y="119"/>
                    <a:pt x="179" y="110"/>
                    <a:pt x="177" y="99"/>
                  </a:cubicBezTo>
                  <a:cubicBezTo>
                    <a:pt x="176" y="91"/>
                    <a:pt x="173" y="85"/>
                    <a:pt x="168" y="80"/>
                  </a:cubicBezTo>
                  <a:cubicBezTo>
                    <a:pt x="164" y="76"/>
                    <a:pt x="159" y="74"/>
                    <a:pt x="154" y="76"/>
                  </a:cubicBezTo>
                  <a:cubicBezTo>
                    <a:pt x="148" y="78"/>
                    <a:pt x="144" y="75"/>
                    <a:pt x="144" y="69"/>
                  </a:cubicBezTo>
                  <a:cubicBezTo>
                    <a:pt x="144" y="66"/>
                    <a:pt x="144" y="63"/>
                    <a:pt x="144" y="60"/>
                  </a:cubicBezTo>
                  <a:cubicBezTo>
                    <a:pt x="143" y="49"/>
                    <a:pt x="136" y="43"/>
                    <a:pt x="125" y="43"/>
                  </a:cubicBezTo>
                  <a:cubicBezTo>
                    <a:pt x="112" y="43"/>
                    <a:pt x="100" y="53"/>
                    <a:pt x="100" y="64"/>
                  </a:cubicBezTo>
                  <a:cubicBezTo>
                    <a:pt x="99" y="70"/>
                    <a:pt x="101" y="76"/>
                    <a:pt x="105" y="81"/>
                  </a:cubicBezTo>
                  <a:cubicBezTo>
                    <a:pt x="106" y="82"/>
                    <a:pt x="107" y="83"/>
                    <a:pt x="108" y="84"/>
                  </a:cubicBezTo>
                  <a:cubicBezTo>
                    <a:pt x="111" y="88"/>
                    <a:pt x="111" y="92"/>
                    <a:pt x="108" y="95"/>
                  </a:cubicBezTo>
                  <a:cubicBezTo>
                    <a:pt x="104" y="97"/>
                    <a:pt x="101" y="96"/>
                    <a:pt x="97" y="93"/>
                  </a:cubicBezTo>
                  <a:cubicBezTo>
                    <a:pt x="87" y="80"/>
                    <a:pt x="73" y="81"/>
                    <a:pt x="66" y="96"/>
                  </a:cubicBezTo>
                  <a:cubicBezTo>
                    <a:pt x="60" y="108"/>
                    <a:pt x="59" y="120"/>
                    <a:pt x="65" y="131"/>
                  </a:cubicBezTo>
                  <a:cubicBezTo>
                    <a:pt x="68" y="138"/>
                    <a:pt x="74" y="143"/>
                    <a:pt x="82" y="144"/>
                  </a:cubicBezTo>
                  <a:cubicBezTo>
                    <a:pt x="86" y="145"/>
                    <a:pt x="88" y="148"/>
                    <a:pt x="87" y="152"/>
                  </a:cubicBezTo>
                  <a:cubicBezTo>
                    <a:pt x="87" y="156"/>
                    <a:pt x="84" y="158"/>
                    <a:pt x="80" y="158"/>
                  </a:cubicBezTo>
                  <a:cubicBezTo>
                    <a:pt x="77" y="158"/>
                    <a:pt x="74" y="157"/>
                    <a:pt x="71" y="156"/>
                  </a:cubicBezTo>
                  <a:cubicBezTo>
                    <a:pt x="60" y="153"/>
                    <a:pt x="50" y="157"/>
                    <a:pt x="44" y="167"/>
                  </a:cubicBezTo>
                  <a:cubicBezTo>
                    <a:pt x="40" y="175"/>
                    <a:pt x="39" y="184"/>
                    <a:pt x="42" y="192"/>
                  </a:cubicBezTo>
                  <a:cubicBezTo>
                    <a:pt x="45" y="204"/>
                    <a:pt x="57" y="210"/>
                    <a:pt x="70" y="205"/>
                  </a:cubicBezTo>
                  <a:cubicBezTo>
                    <a:pt x="73" y="204"/>
                    <a:pt x="76" y="204"/>
                    <a:pt x="78" y="207"/>
                  </a:cubicBezTo>
                  <a:cubicBezTo>
                    <a:pt x="79" y="209"/>
                    <a:pt x="80" y="212"/>
                    <a:pt x="79" y="215"/>
                  </a:cubicBezTo>
                  <a:cubicBezTo>
                    <a:pt x="79" y="218"/>
                    <a:pt x="76" y="220"/>
                    <a:pt x="73" y="220"/>
                  </a:cubicBezTo>
                  <a:cubicBezTo>
                    <a:pt x="57" y="220"/>
                    <a:pt x="49" y="231"/>
                    <a:pt x="53" y="248"/>
                  </a:cubicBezTo>
                  <a:cubicBezTo>
                    <a:pt x="55" y="254"/>
                    <a:pt x="57" y="259"/>
                    <a:pt x="62" y="264"/>
                  </a:cubicBezTo>
                  <a:cubicBezTo>
                    <a:pt x="67" y="268"/>
                    <a:pt x="72" y="268"/>
                    <a:pt x="76" y="263"/>
                  </a:cubicBezTo>
                  <a:cubicBezTo>
                    <a:pt x="78" y="262"/>
                    <a:pt x="79" y="261"/>
                    <a:pt x="80" y="260"/>
                  </a:cubicBezTo>
                  <a:cubicBezTo>
                    <a:pt x="83" y="258"/>
                    <a:pt x="86" y="258"/>
                    <a:pt x="89" y="261"/>
                  </a:cubicBezTo>
                  <a:cubicBezTo>
                    <a:pt x="92" y="263"/>
                    <a:pt x="92" y="266"/>
                    <a:pt x="90" y="269"/>
                  </a:cubicBezTo>
                  <a:cubicBezTo>
                    <a:pt x="86" y="274"/>
                    <a:pt x="87" y="278"/>
                    <a:pt x="89" y="282"/>
                  </a:cubicBezTo>
                  <a:cubicBezTo>
                    <a:pt x="92" y="293"/>
                    <a:pt x="104" y="300"/>
                    <a:pt x="115" y="299"/>
                  </a:cubicBezTo>
                  <a:cubicBezTo>
                    <a:pt x="128" y="298"/>
                    <a:pt x="137" y="290"/>
                    <a:pt x="139" y="278"/>
                  </a:cubicBezTo>
                  <a:cubicBezTo>
                    <a:pt x="139" y="275"/>
                    <a:pt x="139" y="271"/>
                    <a:pt x="138" y="268"/>
                  </a:cubicBezTo>
                  <a:cubicBezTo>
                    <a:pt x="137" y="263"/>
                    <a:pt x="138" y="260"/>
                    <a:pt x="142" y="259"/>
                  </a:cubicBezTo>
                  <a:cubicBezTo>
                    <a:pt x="146" y="257"/>
                    <a:pt x="149" y="259"/>
                    <a:pt x="151" y="264"/>
                  </a:cubicBezTo>
                  <a:cubicBezTo>
                    <a:pt x="153" y="268"/>
                    <a:pt x="154" y="273"/>
                    <a:pt x="157" y="277"/>
                  </a:cubicBezTo>
                  <a:cubicBezTo>
                    <a:pt x="160" y="283"/>
                    <a:pt x="164" y="283"/>
                    <a:pt x="168" y="279"/>
                  </a:cubicBezTo>
                  <a:cubicBezTo>
                    <a:pt x="174" y="273"/>
                    <a:pt x="177" y="265"/>
                    <a:pt x="177" y="257"/>
                  </a:cubicBezTo>
                  <a:cubicBezTo>
                    <a:pt x="177" y="249"/>
                    <a:pt x="173" y="246"/>
                    <a:pt x="166" y="246"/>
                  </a:cubicBezTo>
                  <a:cubicBezTo>
                    <a:pt x="163" y="246"/>
                    <a:pt x="159" y="246"/>
                    <a:pt x="156" y="247"/>
                  </a:cubicBezTo>
                  <a:cubicBezTo>
                    <a:pt x="155" y="247"/>
                    <a:pt x="153" y="248"/>
                    <a:pt x="151" y="248"/>
                  </a:cubicBezTo>
                  <a:cubicBezTo>
                    <a:pt x="147" y="248"/>
                    <a:pt x="144" y="246"/>
                    <a:pt x="144" y="243"/>
                  </a:cubicBezTo>
                  <a:cubicBezTo>
                    <a:pt x="143" y="240"/>
                    <a:pt x="144" y="236"/>
                    <a:pt x="148" y="235"/>
                  </a:cubicBezTo>
                  <a:cubicBezTo>
                    <a:pt x="153" y="233"/>
                    <a:pt x="159" y="232"/>
                    <a:pt x="164" y="231"/>
                  </a:cubicBezTo>
                  <a:cubicBezTo>
                    <a:pt x="182" y="231"/>
                    <a:pt x="193" y="245"/>
                    <a:pt x="190" y="263"/>
                  </a:cubicBezTo>
                  <a:cubicBezTo>
                    <a:pt x="189" y="269"/>
                    <a:pt x="186" y="275"/>
                    <a:pt x="183" y="281"/>
                  </a:cubicBezTo>
                  <a:cubicBezTo>
                    <a:pt x="175" y="295"/>
                    <a:pt x="164" y="298"/>
                    <a:pt x="149" y="29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9489328" y="2089166"/>
            <a:ext cx="870360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Brain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104" name="Group 103"/>
          <p:cNvGrpSpPr/>
          <p:nvPr/>
        </p:nvGrpSpPr>
        <p:grpSpPr>
          <a:xfrm>
            <a:off x="8717141" y="2006347"/>
            <a:ext cx="576000" cy="576000"/>
            <a:chOff x="5393874" y="500805"/>
            <a:chExt cx="820800" cy="824400"/>
          </a:xfrm>
        </p:grpSpPr>
        <p:sp>
          <p:nvSpPr>
            <p:cNvPr id="105" name="Freeform 198"/>
            <p:cNvSpPr>
              <a:spLocks/>
            </p:cNvSpPr>
            <p:nvPr/>
          </p:nvSpPr>
          <p:spPr bwMode="auto">
            <a:xfrm>
              <a:off x="5393874" y="500805"/>
              <a:ext cx="820800" cy="824400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06" name="Freeform 70"/>
            <p:cNvSpPr>
              <a:spLocks noEditPoints="1"/>
            </p:cNvSpPr>
            <p:nvPr/>
          </p:nvSpPr>
          <p:spPr bwMode="auto">
            <a:xfrm>
              <a:off x="5466446" y="656525"/>
              <a:ext cx="675657" cy="512960"/>
            </a:xfrm>
            <a:custGeom>
              <a:avLst/>
              <a:gdLst>
                <a:gd name="T0" fmla="*/ 216 w 283"/>
                <a:gd name="T1" fmla="*/ 30 h 215"/>
                <a:gd name="T2" fmla="*/ 271 w 283"/>
                <a:gd name="T3" fmla="*/ 94 h 215"/>
                <a:gd name="T4" fmla="*/ 275 w 283"/>
                <a:gd name="T5" fmla="*/ 140 h 215"/>
                <a:gd name="T6" fmla="*/ 246 w 283"/>
                <a:gd name="T7" fmla="*/ 181 h 215"/>
                <a:gd name="T8" fmla="*/ 189 w 283"/>
                <a:gd name="T9" fmla="*/ 190 h 215"/>
                <a:gd name="T10" fmla="*/ 90 w 283"/>
                <a:gd name="T11" fmla="*/ 190 h 215"/>
                <a:gd name="T12" fmla="*/ 35 w 283"/>
                <a:gd name="T13" fmla="*/ 181 h 215"/>
                <a:gd name="T14" fmla="*/ 6 w 283"/>
                <a:gd name="T15" fmla="*/ 135 h 215"/>
                <a:gd name="T16" fmla="*/ 34 w 283"/>
                <a:gd name="T17" fmla="*/ 54 h 215"/>
                <a:gd name="T18" fmla="*/ 142 w 283"/>
                <a:gd name="T19" fmla="*/ 14 h 215"/>
                <a:gd name="T20" fmla="*/ 170 w 283"/>
                <a:gd name="T21" fmla="*/ 155 h 215"/>
                <a:gd name="T22" fmla="*/ 150 w 283"/>
                <a:gd name="T23" fmla="*/ 164 h 215"/>
                <a:gd name="T24" fmla="*/ 247 w 283"/>
                <a:gd name="T25" fmla="*/ 173 h 215"/>
                <a:gd name="T26" fmla="*/ 265 w 283"/>
                <a:gd name="T27" fmla="*/ 149 h 215"/>
                <a:gd name="T28" fmla="*/ 237 w 283"/>
                <a:gd name="T29" fmla="*/ 158 h 215"/>
                <a:gd name="T30" fmla="*/ 271 w 283"/>
                <a:gd name="T31" fmla="*/ 126 h 215"/>
                <a:gd name="T32" fmla="*/ 246 w 283"/>
                <a:gd name="T33" fmla="*/ 102 h 215"/>
                <a:gd name="T34" fmla="*/ 256 w 283"/>
                <a:gd name="T35" fmla="*/ 125 h 215"/>
                <a:gd name="T36" fmla="*/ 228 w 283"/>
                <a:gd name="T37" fmla="*/ 106 h 215"/>
                <a:gd name="T38" fmla="*/ 242 w 283"/>
                <a:gd name="T39" fmla="*/ 57 h 215"/>
                <a:gd name="T40" fmla="*/ 185 w 283"/>
                <a:gd name="T41" fmla="*/ 95 h 215"/>
                <a:gd name="T42" fmla="*/ 190 w 283"/>
                <a:gd name="T43" fmla="*/ 73 h 215"/>
                <a:gd name="T44" fmla="*/ 161 w 283"/>
                <a:gd name="T45" fmla="*/ 37 h 215"/>
                <a:gd name="T46" fmla="*/ 211 w 283"/>
                <a:gd name="T47" fmla="*/ 36 h 215"/>
                <a:gd name="T48" fmla="*/ 148 w 283"/>
                <a:gd name="T49" fmla="*/ 40 h 215"/>
                <a:gd name="T50" fmla="*/ 183 w 283"/>
                <a:gd name="T51" fmla="*/ 57 h 215"/>
                <a:gd name="T52" fmla="*/ 153 w 283"/>
                <a:gd name="T53" fmla="*/ 77 h 215"/>
                <a:gd name="T54" fmla="*/ 180 w 283"/>
                <a:gd name="T55" fmla="*/ 165 h 215"/>
                <a:gd name="T56" fmla="*/ 28 w 283"/>
                <a:gd name="T57" fmla="*/ 125 h 215"/>
                <a:gd name="T58" fmla="*/ 37 w 283"/>
                <a:gd name="T59" fmla="*/ 102 h 215"/>
                <a:gd name="T60" fmla="*/ 12 w 283"/>
                <a:gd name="T61" fmla="*/ 123 h 215"/>
                <a:gd name="T62" fmla="*/ 46 w 283"/>
                <a:gd name="T63" fmla="*/ 158 h 215"/>
                <a:gd name="T64" fmla="*/ 17 w 283"/>
                <a:gd name="T65" fmla="*/ 151 h 215"/>
                <a:gd name="T66" fmla="*/ 35 w 283"/>
                <a:gd name="T67" fmla="*/ 173 h 215"/>
                <a:gd name="T68" fmla="*/ 134 w 283"/>
                <a:gd name="T69" fmla="*/ 164 h 215"/>
                <a:gd name="T70" fmla="*/ 115 w 283"/>
                <a:gd name="T71" fmla="*/ 155 h 215"/>
                <a:gd name="T72" fmla="*/ 134 w 283"/>
                <a:gd name="T73" fmla="*/ 143 h 215"/>
                <a:gd name="T74" fmla="*/ 109 w 283"/>
                <a:gd name="T75" fmla="*/ 61 h 215"/>
                <a:gd name="T76" fmla="*/ 102 w 283"/>
                <a:gd name="T77" fmla="*/ 52 h 215"/>
                <a:gd name="T78" fmla="*/ 135 w 283"/>
                <a:gd name="T79" fmla="*/ 26 h 215"/>
                <a:gd name="T80" fmla="*/ 73 w 283"/>
                <a:gd name="T81" fmla="*/ 36 h 215"/>
                <a:gd name="T82" fmla="*/ 121 w 283"/>
                <a:gd name="T83" fmla="*/ 38 h 215"/>
                <a:gd name="T84" fmla="*/ 94 w 283"/>
                <a:gd name="T85" fmla="*/ 75 h 215"/>
                <a:gd name="T86" fmla="*/ 98 w 283"/>
                <a:gd name="T87" fmla="*/ 95 h 215"/>
                <a:gd name="T88" fmla="*/ 40 w 283"/>
                <a:gd name="T89" fmla="*/ 58 h 215"/>
                <a:gd name="T90" fmla="*/ 56 w 283"/>
                <a:gd name="T91" fmla="*/ 106 h 215"/>
                <a:gd name="T92" fmla="*/ 31 w 283"/>
                <a:gd name="T93" fmla="*/ 129 h 215"/>
                <a:gd name="T94" fmla="*/ 148 w 283"/>
                <a:gd name="T95" fmla="*/ 208 h 215"/>
                <a:gd name="T96" fmla="*/ 141 w 283"/>
                <a:gd name="T97" fmla="*/ 17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3" h="215">
                  <a:moveTo>
                    <a:pt x="142" y="14"/>
                  </a:moveTo>
                  <a:cubicBezTo>
                    <a:pt x="164" y="0"/>
                    <a:pt x="200" y="7"/>
                    <a:pt x="216" y="30"/>
                  </a:cubicBezTo>
                  <a:cubicBezTo>
                    <a:pt x="223" y="39"/>
                    <a:pt x="229" y="45"/>
                    <a:pt x="240" y="48"/>
                  </a:cubicBezTo>
                  <a:cubicBezTo>
                    <a:pt x="257" y="53"/>
                    <a:pt x="275" y="74"/>
                    <a:pt x="271" y="94"/>
                  </a:cubicBezTo>
                  <a:cubicBezTo>
                    <a:pt x="270" y="97"/>
                    <a:pt x="271" y="101"/>
                    <a:pt x="273" y="104"/>
                  </a:cubicBezTo>
                  <a:cubicBezTo>
                    <a:pt x="280" y="116"/>
                    <a:pt x="283" y="128"/>
                    <a:pt x="275" y="140"/>
                  </a:cubicBezTo>
                  <a:cubicBezTo>
                    <a:pt x="274" y="143"/>
                    <a:pt x="275" y="147"/>
                    <a:pt x="275" y="150"/>
                  </a:cubicBezTo>
                  <a:cubicBezTo>
                    <a:pt x="276" y="171"/>
                    <a:pt x="267" y="181"/>
                    <a:pt x="246" y="181"/>
                  </a:cubicBezTo>
                  <a:cubicBezTo>
                    <a:pt x="232" y="181"/>
                    <a:pt x="218" y="181"/>
                    <a:pt x="204" y="181"/>
                  </a:cubicBezTo>
                  <a:cubicBezTo>
                    <a:pt x="197" y="181"/>
                    <a:pt x="193" y="183"/>
                    <a:pt x="189" y="190"/>
                  </a:cubicBezTo>
                  <a:cubicBezTo>
                    <a:pt x="179" y="211"/>
                    <a:pt x="160" y="215"/>
                    <a:pt x="139" y="215"/>
                  </a:cubicBezTo>
                  <a:cubicBezTo>
                    <a:pt x="119" y="215"/>
                    <a:pt x="101" y="209"/>
                    <a:pt x="90" y="190"/>
                  </a:cubicBezTo>
                  <a:cubicBezTo>
                    <a:pt x="88" y="186"/>
                    <a:pt x="81" y="182"/>
                    <a:pt x="77" y="182"/>
                  </a:cubicBezTo>
                  <a:cubicBezTo>
                    <a:pt x="63" y="180"/>
                    <a:pt x="49" y="182"/>
                    <a:pt x="35" y="181"/>
                  </a:cubicBezTo>
                  <a:cubicBezTo>
                    <a:pt x="17" y="180"/>
                    <a:pt x="8" y="170"/>
                    <a:pt x="9" y="152"/>
                  </a:cubicBezTo>
                  <a:cubicBezTo>
                    <a:pt x="9" y="146"/>
                    <a:pt x="7" y="141"/>
                    <a:pt x="6" y="135"/>
                  </a:cubicBezTo>
                  <a:cubicBezTo>
                    <a:pt x="6" y="134"/>
                    <a:pt x="6" y="134"/>
                    <a:pt x="5" y="133"/>
                  </a:cubicBezTo>
                  <a:cubicBezTo>
                    <a:pt x="0" y="114"/>
                    <a:pt x="17" y="62"/>
                    <a:pt x="34" y="54"/>
                  </a:cubicBezTo>
                  <a:cubicBezTo>
                    <a:pt x="50" y="46"/>
                    <a:pt x="62" y="36"/>
                    <a:pt x="75" y="23"/>
                  </a:cubicBezTo>
                  <a:cubicBezTo>
                    <a:pt x="93" y="4"/>
                    <a:pt x="122" y="2"/>
                    <a:pt x="142" y="14"/>
                  </a:cubicBezTo>
                  <a:close/>
                  <a:moveTo>
                    <a:pt x="180" y="165"/>
                  </a:moveTo>
                  <a:cubicBezTo>
                    <a:pt x="175" y="161"/>
                    <a:pt x="173" y="157"/>
                    <a:pt x="170" y="155"/>
                  </a:cubicBezTo>
                  <a:cubicBezTo>
                    <a:pt x="164" y="154"/>
                    <a:pt x="158" y="153"/>
                    <a:pt x="152" y="154"/>
                  </a:cubicBezTo>
                  <a:cubicBezTo>
                    <a:pt x="151" y="154"/>
                    <a:pt x="148" y="162"/>
                    <a:pt x="150" y="164"/>
                  </a:cubicBezTo>
                  <a:cubicBezTo>
                    <a:pt x="152" y="168"/>
                    <a:pt x="158" y="173"/>
                    <a:pt x="162" y="173"/>
                  </a:cubicBezTo>
                  <a:cubicBezTo>
                    <a:pt x="191" y="174"/>
                    <a:pt x="219" y="174"/>
                    <a:pt x="247" y="173"/>
                  </a:cubicBezTo>
                  <a:cubicBezTo>
                    <a:pt x="254" y="173"/>
                    <a:pt x="261" y="166"/>
                    <a:pt x="266" y="161"/>
                  </a:cubicBezTo>
                  <a:cubicBezTo>
                    <a:pt x="268" y="159"/>
                    <a:pt x="267" y="152"/>
                    <a:pt x="265" y="149"/>
                  </a:cubicBezTo>
                  <a:cubicBezTo>
                    <a:pt x="263" y="147"/>
                    <a:pt x="257" y="148"/>
                    <a:pt x="254" y="149"/>
                  </a:cubicBezTo>
                  <a:cubicBezTo>
                    <a:pt x="249" y="151"/>
                    <a:pt x="244" y="154"/>
                    <a:pt x="237" y="158"/>
                  </a:cubicBezTo>
                  <a:cubicBezTo>
                    <a:pt x="239" y="144"/>
                    <a:pt x="248" y="141"/>
                    <a:pt x="257" y="140"/>
                  </a:cubicBezTo>
                  <a:cubicBezTo>
                    <a:pt x="265" y="138"/>
                    <a:pt x="273" y="135"/>
                    <a:pt x="271" y="126"/>
                  </a:cubicBezTo>
                  <a:cubicBezTo>
                    <a:pt x="269" y="117"/>
                    <a:pt x="263" y="109"/>
                    <a:pt x="258" y="102"/>
                  </a:cubicBezTo>
                  <a:cubicBezTo>
                    <a:pt x="256" y="100"/>
                    <a:pt x="250" y="102"/>
                    <a:pt x="246" y="102"/>
                  </a:cubicBezTo>
                  <a:cubicBezTo>
                    <a:pt x="246" y="106"/>
                    <a:pt x="246" y="111"/>
                    <a:pt x="248" y="114"/>
                  </a:cubicBezTo>
                  <a:cubicBezTo>
                    <a:pt x="250" y="118"/>
                    <a:pt x="253" y="122"/>
                    <a:pt x="256" y="125"/>
                  </a:cubicBezTo>
                  <a:cubicBezTo>
                    <a:pt x="255" y="127"/>
                    <a:pt x="254" y="128"/>
                    <a:pt x="252" y="129"/>
                  </a:cubicBezTo>
                  <a:cubicBezTo>
                    <a:pt x="244" y="121"/>
                    <a:pt x="236" y="114"/>
                    <a:pt x="228" y="106"/>
                  </a:cubicBezTo>
                  <a:cubicBezTo>
                    <a:pt x="234" y="91"/>
                    <a:pt x="247" y="92"/>
                    <a:pt x="261" y="92"/>
                  </a:cubicBezTo>
                  <a:cubicBezTo>
                    <a:pt x="263" y="77"/>
                    <a:pt x="257" y="65"/>
                    <a:pt x="242" y="57"/>
                  </a:cubicBezTo>
                  <a:cubicBezTo>
                    <a:pt x="229" y="51"/>
                    <a:pt x="218" y="51"/>
                    <a:pt x="209" y="63"/>
                  </a:cubicBezTo>
                  <a:cubicBezTo>
                    <a:pt x="201" y="74"/>
                    <a:pt x="193" y="85"/>
                    <a:pt x="185" y="95"/>
                  </a:cubicBezTo>
                  <a:cubicBezTo>
                    <a:pt x="184" y="95"/>
                    <a:pt x="183" y="94"/>
                    <a:pt x="181" y="93"/>
                  </a:cubicBezTo>
                  <a:cubicBezTo>
                    <a:pt x="184" y="87"/>
                    <a:pt x="187" y="79"/>
                    <a:pt x="190" y="73"/>
                  </a:cubicBezTo>
                  <a:cubicBezTo>
                    <a:pt x="202" y="55"/>
                    <a:pt x="195" y="41"/>
                    <a:pt x="173" y="39"/>
                  </a:cubicBezTo>
                  <a:cubicBezTo>
                    <a:pt x="170" y="39"/>
                    <a:pt x="166" y="38"/>
                    <a:pt x="161" y="37"/>
                  </a:cubicBezTo>
                  <a:cubicBezTo>
                    <a:pt x="178" y="27"/>
                    <a:pt x="187" y="30"/>
                    <a:pt x="207" y="52"/>
                  </a:cubicBezTo>
                  <a:cubicBezTo>
                    <a:pt x="217" y="49"/>
                    <a:pt x="218" y="41"/>
                    <a:pt x="211" y="36"/>
                  </a:cubicBezTo>
                  <a:cubicBezTo>
                    <a:pt x="200" y="28"/>
                    <a:pt x="188" y="19"/>
                    <a:pt x="175" y="16"/>
                  </a:cubicBezTo>
                  <a:cubicBezTo>
                    <a:pt x="152" y="11"/>
                    <a:pt x="149" y="16"/>
                    <a:pt x="148" y="40"/>
                  </a:cubicBezTo>
                  <a:cubicBezTo>
                    <a:pt x="148" y="47"/>
                    <a:pt x="148" y="54"/>
                    <a:pt x="148" y="63"/>
                  </a:cubicBezTo>
                  <a:cubicBezTo>
                    <a:pt x="161" y="56"/>
                    <a:pt x="171" y="49"/>
                    <a:pt x="183" y="57"/>
                  </a:cubicBezTo>
                  <a:cubicBezTo>
                    <a:pt x="179" y="60"/>
                    <a:pt x="174" y="60"/>
                    <a:pt x="170" y="62"/>
                  </a:cubicBezTo>
                  <a:cubicBezTo>
                    <a:pt x="164" y="66"/>
                    <a:pt x="154" y="71"/>
                    <a:pt x="153" y="77"/>
                  </a:cubicBezTo>
                  <a:cubicBezTo>
                    <a:pt x="149" y="99"/>
                    <a:pt x="149" y="121"/>
                    <a:pt x="147" y="143"/>
                  </a:cubicBezTo>
                  <a:cubicBezTo>
                    <a:pt x="173" y="144"/>
                    <a:pt x="179" y="147"/>
                    <a:pt x="180" y="165"/>
                  </a:cubicBezTo>
                  <a:close/>
                  <a:moveTo>
                    <a:pt x="31" y="129"/>
                  </a:moveTo>
                  <a:cubicBezTo>
                    <a:pt x="30" y="128"/>
                    <a:pt x="29" y="126"/>
                    <a:pt x="28" y="125"/>
                  </a:cubicBezTo>
                  <a:cubicBezTo>
                    <a:pt x="31" y="121"/>
                    <a:pt x="35" y="116"/>
                    <a:pt x="38" y="111"/>
                  </a:cubicBezTo>
                  <a:cubicBezTo>
                    <a:pt x="39" y="109"/>
                    <a:pt x="39" y="104"/>
                    <a:pt x="37" y="102"/>
                  </a:cubicBezTo>
                  <a:cubicBezTo>
                    <a:pt x="37" y="101"/>
                    <a:pt x="32" y="100"/>
                    <a:pt x="30" y="101"/>
                  </a:cubicBezTo>
                  <a:cubicBezTo>
                    <a:pt x="18" y="103"/>
                    <a:pt x="13" y="112"/>
                    <a:pt x="12" y="123"/>
                  </a:cubicBezTo>
                  <a:cubicBezTo>
                    <a:pt x="11" y="135"/>
                    <a:pt x="18" y="138"/>
                    <a:pt x="29" y="140"/>
                  </a:cubicBezTo>
                  <a:cubicBezTo>
                    <a:pt x="37" y="141"/>
                    <a:pt x="46" y="145"/>
                    <a:pt x="46" y="158"/>
                  </a:cubicBezTo>
                  <a:cubicBezTo>
                    <a:pt x="42" y="155"/>
                    <a:pt x="39" y="152"/>
                    <a:pt x="36" y="152"/>
                  </a:cubicBezTo>
                  <a:cubicBezTo>
                    <a:pt x="30" y="151"/>
                    <a:pt x="24" y="151"/>
                    <a:pt x="17" y="151"/>
                  </a:cubicBezTo>
                  <a:cubicBezTo>
                    <a:pt x="21" y="158"/>
                    <a:pt x="23" y="165"/>
                    <a:pt x="27" y="171"/>
                  </a:cubicBezTo>
                  <a:cubicBezTo>
                    <a:pt x="28" y="173"/>
                    <a:pt x="32" y="173"/>
                    <a:pt x="35" y="173"/>
                  </a:cubicBezTo>
                  <a:cubicBezTo>
                    <a:pt x="64" y="174"/>
                    <a:pt x="93" y="174"/>
                    <a:pt x="122" y="173"/>
                  </a:cubicBezTo>
                  <a:cubicBezTo>
                    <a:pt x="126" y="173"/>
                    <a:pt x="131" y="168"/>
                    <a:pt x="134" y="164"/>
                  </a:cubicBezTo>
                  <a:cubicBezTo>
                    <a:pt x="135" y="162"/>
                    <a:pt x="133" y="154"/>
                    <a:pt x="131" y="154"/>
                  </a:cubicBezTo>
                  <a:cubicBezTo>
                    <a:pt x="126" y="153"/>
                    <a:pt x="120" y="153"/>
                    <a:pt x="115" y="155"/>
                  </a:cubicBezTo>
                  <a:cubicBezTo>
                    <a:pt x="111" y="156"/>
                    <a:pt x="108" y="160"/>
                    <a:pt x="105" y="163"/>
                  </a:cubicBezTo>
                  <a:cubicBezTo>
                    <a:pt x="106" y="142"/>
                    <a:pt x="121" y="144"/>
                    <a:pt x="134" y="143"/>
                  </a:cubicBezTo>
                  <a:cubicBezTo>
                    <a:pt x="134" y="123"/>
                    <a:pt x="135" y="104"/>
                    <a:pt x="134" y="86"/>
                  </a:cubicBezTo>
                  <a:cubicBezTo>
                    <a:pt x="133" y="71"/>
                    <a:pt x="125" y="62"/>
                    <a:pt x="109" y="61"/>
                  </a:cubicBezTo>
                  <a:cubicBezTo>
                    <a:pt x="106" y="61"/>
                    <a:pt x="103" y="59"/>
                    <a:pt x="100" y="57"/>
                  </a:cubicBezTo>
                  <a:cubicBezTo>
                    <a:pt x="101" y="55"/>
                    <a:pt x="101" y="54"/>
                    <a:pt x="102" y="52"/>
                  </a:cubicBezTo>
                  <a:cubicBezTo>
                    <a:pt x="113" y="54"/>
                    <a:pt x="124" y="57"/>
                    <a:pt x="135" y="60"/>
                  </a:cubicBezTo>
                  <a:cubicBezTo>
                    <a:pt x="135" y="49"/>
                    <a:pt x="136" y="38"/>
                    <a:pt x="135" y="26"/>
                  </a:cubicBezTo>
                  <a:cubicBezTo>
                    <a:pt x="134" y="22"/>
                    <a:pt x="129" y="17"/>
                    <a:pt x="125" y="16"/>
                  </a:cubicBezTo>
                  <a:cubicBezTo>
                    <a:pt x="109" y="11"/>
                    <a:pt x="83" y="22"/>
                    <a:pt x="73" y="36"/>
                  </a:cubicBezTo>
                  <a:cubicBezTo>
                    <a:pt x="67" y="43"/>
                    <a:pt x="67" y="49"/>
                    <a:pt x="77" y="52"/>
                  </a:cubicBezTo>
                  <a:cubicBezTo>
                    <a:pt x="96" y="30"/>
                    <a:pt x="110" y="25"/>
                    <a:pt x="121" y="38"/>
                  </a:cubicBezTo>
                  <a:cubicBezTo>
                    <a:pt x="118" y="38"/>
                    <a:pt x="116" y="39"/>
                    <a:pt x="113" y="39"/>
                  </a:cubicBezTo>
                  <a:cubicBezTo>
                    <a:pt x="88" y="41"/>
                    <a:pt x="81" y="53"/>
                    <a:pt x="94" y="75"/>
                  </a:cubicBezTo>
                  <a:cubicBezTo>
                    <a:pt x="98" y="80"/>
                    <a:pt x="100" y="87"/>
                    <a:pt x="102" y="93"/>
                  </a:cubicBezTo>
                  <a:cubicBezTo>
                    <a:pt x="101" y="94"/>
                    <a:pt x="100" y="94"/>
                    <a:pt x="98" y="95"/>
                  </a:cubicBezTo>
                  <a:cubicBezTo>
                    <a:pt x="90" y="83"/>
                    <a:pt x="82" y="72"/>
                    <a:pt x="73" y="61"/>
                  </a:cubicBezTo>
                  <a:cubicBezTo>
                    <a:pt x="63" y="49"/>
                    <a:pt x="52" y="52"/>
                    <a:pt x="40" y="58"/>
                  </a:cubicBezTo>
                  <a:cubicBezTo>
                    <a:pt x="25" y="67"/>
                    <a:pt x="20" y="78"/>
                    <a:pt x="24" y="92"/>
                  </a:cubicBezTo>
                  <a:cubicBezTo>
                    <a:pt x="37" y="93"/>
                    <a:pt x="51" y="91"/>
                    <a:pt x="56" y="106"/>
                  </a:cubicBezTo>
                  <a:cubicBezTo>
                    <a:pt x="51" y="111"/>
                    <a:pt x="47" y="114"/>
                    <a:pt x="44" y="117"/>
                  </a:cubicBezTo>
                  <a:cubicBezTo>
                    <a:pt x="40" y="121"/>
                    <a:pt x="35" y="125"/>
                    <a:pt x="31" y="129"/>
                  </a:cubicBezTo>
                  <a:close/>
                  <a:moveTo>
                    <a:pt x="97" y="184"/>
                  </a:moveTo>
                  <a:cubicBezTo>
                    <a:pt x="105" y="203"/>
                    <a:pt x="123" y="211"/>
                    <a:pt x="148" y="208"/>
                  </a:cubicBezTo>
                  <a:cubicBezTo>
                    <a:pt x="168" y="206"/>
                    <a:pt x="180" y="197"/>
                    <a:pt x="183" y="183"/>
                  </a:cubicBezTo>
                  <a:cubicBezTo>
                    <a:pt x="169" y="181"/>
                    <a:pt x="155" y="179"/>
                    <a:pt x="141" y="177"/>
                  </a:cubicBezTo>
                  <a:cubicBezTo>
                    <a:pt x="127" y="179"/>
                    <a:pt x="112" y="182"/>
                    <a:pt x="97" y="18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9489326" y="2778042"/>
            <a:ext cx="832914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Lung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8717141" y="2695224"/>
            <a:ext cx="576000" cy="576000"/>
            <a:chOff x="4723031" y="3516775"/>
            <a:chExt cx="820800" cy="824400"/>
          </a:xfrm>
        </p:grpSpPr>
        <p:sp>
          <p:nvSpPr>
            <p:cNvPr id="108" name="Freeform 198"/>
            <p:cNvSpPr>
              <a:spLocks/>
            </p:cNvSpPr>
            <p:nvPr/>
          </p:nvSpPr>
          <p:spPr bwMode="auto">
            <a:xfrm>
              <a:off x="4723031" y="3516775"/>
              <a:ext cx="820800" cy="824400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grpSp>
          <p:nvGrpSpPr>
            <p:cNvPr id="109" name="Group 108"/>
            <p:cNvGrpSpPr/>
            <p:nvPr/>
          </p:nvGrpSpPr>
          <p:grpSpPr>
            <a:xfrm>
              <a:off x="4784208" y="3637474"/>
              <a:ext cx="698447" cy="583002"/>
              <a:chOff x="749497" y="4947444"/>
              <a:chExt cx="576263" cy="481012"/>
            </a:xfrm>
            <a:solidFill>
              <a:schemeClr val="bg1"/>
            </a:solidFill>
          </p:grpSpPr>
          <p:sp>
            <p:nvSpPr>
              <p:cNvPr id="110" name="Freeform 66"/>
              <p:cNvSpPr>
                <a:spLocks/>
              </p:cNvSpPr>
              <p:nvPr/>
            </p:nvSpPr>
            <p:spPr bwMode="auto">
              <a:xfrm>
                <a:off x="1066997" y="4987131"/>
                <a:ext cx="258763" cy="441325"/>
              </a:xfrm>
              <a:custGeom>
                <a:avLst/>
                <a:gdLst>
                  <a:gd name="T0" fmla="*/ 88 w 131"/>
                  <a:gd name="T1" fmla="*/ 223 h 223"/>
                  <a:gd name="T2" fmla="*/ 7 w 131"/>
                  <a:gd name="T3" fmla="*/ 171 h 223"/>
                  <a:gd name="T4" fmla="*/ 7 w 131"/>
                  <a:gd name="T5" fmla="*/ 170 h 223"/>
                  <a:gd name="T6" fmla="*/ 2 w 131"/>
                  <a:gd name="T7" fmla="*/ 108 h 223"/>
                  <a:gd name="T8" fmla="*/ 10 w 131"/>
                  <a:gd name="T9" fmla="*/ 101 h 223"/>
                  <a:gd name="T10" fmla="*/ 18 w 131"/>
                  <a:gd name="T11" fmla="*/ 110 h 223"/>
                  <a:gd name="T12" fmla="*/ 22 w 131"/>
                  <a:gd name="T13" fmla="*/ 168 h 223"/>
                  <a:gd name="T14" fmla="*/ 102 w 131"/>
                  <a:gd name="T15" fmla="*/ 207 h 223"/>
                  <a:gd name="T16" fmla="*/ 116 w 131"/>
                  <a:gd name="T17" fmla="*/ 198 h 223"/>
                  <a:gd name="T18" fmla="*/ 116 w 131"/>
                  <a:gd name="T19" fmla="*/ 198 h 223"/>
                  <a:gd name="T20" fmla="*/ 116 w 131"/>
                  <a:gd name="T21" fmla="*/ 198 h 223"/>
                  <a:gd name="T22" fmla="*/ 76 w 131"/>
                  <a:gd name="T23" fmla="*/ 51 h 223"/>
                  <a:gd name="T24" fmla="*/ 37 w 131"/>
                  <a:gd name="T25" fmla="*/ 19 h 223"/>
                  <a:gd name="T26" fmla="*/ 24 w 131"/>
                  <a:gd name="T27" fmla="*/ 19 h 223"/>
                  <a:gd name="T28" fmla="*/ 18 w 131"/>
                  <a:gd name="T29" fmla="*/ 49 h 223"/>
                  <a:gd name="T30" fmla="*/ 11 w 131"/>
                  <a:gd name="T31" fmla="*/ 58 h 223"/>
                  <a:gd name="T32" fmla="*/ 3 w 131"/>
                  <a:gd name="T33" fmla="*/ 51 h 223"/>
                  <a:gd name="T34" fmla="*/ 15 w 131"/>
                  <a:gd name="T35" fmla="*/ 8 h 223"/>
                  <a:gd name="T36" fmla="*/ 42 w 131"/>
                  <a:gd name="T37" fmla="*/ 4 h 223"/>
                  <a:gd name="T38" fmla="*/ 131 w 131"/>
                  <a:gd name="T39" fmla="*/ 198 h 223"/>
                  <a:gd name="T40" fmla="*/ 104 w 131"/>
                  <a:gd name="T41" fmla="*/ 222 h 223"/>
                  <a:gd name="T42" fmla="*/ 88 w 131"/>
                  <a:gd name="T43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1" h="223">
                    <a:moveTo>
                      <a:pt x="88" y="223"/>
                    </a:moveTo>
                    <a:cubicBezTo>
                      <a:pt x="58" y="223"/>
                      <a:pt x="16" y="213"/>
                      <a:pt x="7" y="171"/>
                    </a:cubicBezTo>
                    <a:cubicBezTo>
                      <a:pt x="7" y="170"/>
                      <a:pt x="7" y="170"/>
                      <a:pt x="7" y="170"/>
                    </a:cubicBezTo>
                    <a:cubicBezTo>
                      <a:pt x="7" y="169"/>
                      <a:pt x="1" y="122"/>
                      <a:pt x="2" y="108"/>
                    </a:cubicBezTo>
                    <a:cubicBezTo>
                      <a:pt x="3" y="104"/>
                      <a:pt x="6" y="101"/>
                      <a:pt x="10" y="101"/>
                    </a:cubicBezTo>
                    <a:cubicBezTo>
                      <a:pt x="15" y="102"/>
                      <a:pt x="18" y="105"/>
                      <a:pt x="18" y="110"/>
                    </a:cubicBezTo>
                    <a:cubicBezTo>
                      <a:pt x="17" y="120"/>
                      <a:pt x="21" y="155"/>
                      <a:pt x="22" y="168"/>
                    </a:cubicBezTo>
                    <a:cubicBezTo>
                      <a:pt x="33" y="216"/>
                      <a:pt x="101" y="207"/>
                      <a:pt x="102" y="207"/>
                    </a:cubicBezTo>
                    <a:cubicBezTo>
                      <a:pt x="115" y="205"/>
                      <a:pt x="116" y="200"/>
                      <a:pt x="116" y="198"/>
                    </a:cubicBezTo>
                    <a:cubicBezTo>
                      <a:pt x="116" y="198"/>
                      <a:pt x="116" y="198"/>
                      <a:pt x="116" y="198"/>
                    </a:cubicBezTo>
                    <a:cubicBezTo>
                      <a:pt x="116" y="198"/>
                      <a:pt x="116" y="198"/>
                      <a:pt x="116" y="198"/>
                    </a:cubicBezTo>
                    <a:cubicBezTo>
                      <a:pt x="116" y="119"/>
                      <a:pt x="94" y="74"/>
                      <a:pt x="76" y="51"/>
                    </a:cubicBezTo>
                    <a:cubicBezTo>
                      <a:pt x="57" y="26"/>
                      <a:pt x="37" y="19"/>
                      <a:pt x="37" y="19"/>
                    </a:cubicBezTo>
                    <a:cubicBezTo>
                      <a:pt x="28" y="16"/>
                      <a:pt x="25" y="19"/>
                      <a:pt x="24" y="19"/>
                    </a:cubicBezTo>
                    <a:cubicBezTo>
                      <a:pt x="18" y="25"/>
                      <a:pt x="17" y="42"/>
                      <a:pt x="18" y="49"/>
                    </a:cubicBezTo>
                    <a:cubicBezTo>
                      <a:pt x="18" y="54"/>
                      <a:pt x="15" y="57"/>
                      <a:pt x="11" y="58"/>
                    </a:cubicBezTo>
                    <a:cubicBezTo>
                      <a:pt x="7" y="58"/>
                      <a:pt x="3" y="55"/>
                      <a:pt x="3" y="51"/>
                    </a:cubicBezTo>
                    <a:cubicBezTo>
                      <a:pt x="2" y="48"/>
                      <a:pt x="0" y="20"/>
                      <a:pt x="15" y="8"/>
                    </a:cubicBezTo>
                    <a:cubicBezTo>
                      <a:pt x="20" y="4"/>
                      <a:pt x="28" y="0"/>
                      <a:pt x="42" y="4"/>
                    </a:cubicBezTo>
                    <a:cubicBezTo>
                      <a:pt x="45" y="5"/>
                      <a:pt x="131" y="35"/>
                      <a:pt x="131" y="198"/>
                    </a:cubicBezTo>
                    <a:cubicBezTo>
                      <a:pt x="131" y="205"/>
                      <a:pt x="126" y="219"/>
                      <a:pt x="104" y="222"/>
                    </a:cubicBezTo>
                    <a:cubicBezTo>
                      <a:pt x="99" y="223"/>
                      <a:pt x="94" y="223"/>
                      <a:pt x="88" y="2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11" name="Freeform 67"/>
              <p:cNvSpPr>
                <a:spLocks/>
              </p:cNvSpPr>
              <p:nvPr/>
            </p:nvSpPr>
            <p:spPr bwMode="auto">
              <a:xfrm>
                <a:off x="749497" y="4987131"/>
                <a:ext cx="261938" cy="441325"/>
              </a:xfrm>
              <a:custGeom>
                <a:avLst/>
                <a:gdLst>
                  <a:gd name="T0" fmla="*/ 44 w 132"/>
                  <a:gd name="T1" fmla="*/ 223 h 223"/>
                  <a:gd name="T2" fmla="*/ 28 w 132"/>
                  <a:gd name="T3" fmla="*/ 222 h 223"/>
                  <a:gd name="T4" fmla="*/ 1 w 132"/>
                  <a:gd name="T5" fmla="*/ 198 h 223"/>
                  <a:gd name="T6" fmla="*/ 90 w 132"/>
                  <a:gd name="T7" fmla="*/ 4 h 223"/>
                  <a:gd name="T8" fmla="*/ 117 w 132"/>
                  <a:gd name="T9" fmla="*/ 8 h 223"/>
                  <a:gd name="T10" fmla="*/ 129 w 132"/>
                  <a:gd name="T11" fmla="*/ 51 h 223"/>
                  <a:gd name="T12" fmla="*/ 121 w 132"/>
                  <a:gd name="T13" fmla="*/ 58 h 223"/>
                  <a:gd name="T14" fmla="*/ 114 w 132"/>
                  <a:gd name="T15" fmla="*/ 49 h 223"/>
                  <a:gd name="T16" fmla="*/ 108 w 132"/>
                  <a:gd name="T17" fmla="*/ 19 h 223"/>
                  <a:gd name="T18" fmla="*/ 95 w 132"/>
                  <a:gd name="T19" fmla="*/ 19 h 223"/>
                  <a:gd name="T20" fmla="*/ 56 w 132"/>
                  <a:gd name="T21" fmla="*/ 51 h 223"/>
                  <a:gd name="T22" fmla="*/ 16 w 132"/>
                  <a:gd name="T23" fmla="*/ 198 h 223"/>
                  <a:gd name="T24" fmla="*/ 16 w 132"/>
                  <a:gd name="T25" fmla="*/ 199 h 223"/>
                  <a:gd name="T26" fmla="*/ 30 w 132"/>
                  <a:gd name="T27" fmla="*/ 207 h 223"/>
                  <a:gd name="T28" fmla="*/ 110 w 132"/>
                  <a:gd name="T29" fmla="*/ 168 h 223"/>
                  <a:gd name="T30" fmla="*/ 114 w 132"/>
                  <a:gd name="T31" fmla="*/ 110 h 223"/>
                  <a:gd name="T32" fmla="*/ 121 w 132"/>
                  <a:gd name="T33" fmla="*/ 101 h 223"/>
                  <a:gd name="T34" fmla="*/ 130 w 132"/>
                  <a:gd name="T35" fmla="*/ 108 h 223"/>
                  <a:gd name="T36" fmla="*/ 125 w 132"/>
                  <a:gd name="T37" fmla="*/ 170 h 223"/>
                  <a:gd name="T38" fmla="*/ 125 w 132"/>
                  <a:gd name="T39" fmla="*/ 171 h 223"/>
                  <a:gd name="T40" fmla="*/ 44 w 132"/>
                  <a:gd name="T41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223">
                    <a:moveTo>
                      <a:pt x="44" y="223"/>
                    </a:moveTo>
                    <a:cubicBezTo>
                      <a:pt x="38" y="223"/>
                      <a:pt x="33" y="223"/>
                      <a:pt x="28" y="222"/>
                    </a:cubicBezTo>
                    <a:cubicBezTo>
                      <a:pt x="6" y="219"/>
                      <a:pt x="0" y="205"/>
                      <a:pt x="1" y="198"/>
                    </a:cubicBezTo>
                    <a:cubicBezTo>
                      <a:pt x="1" y="35"/>
                      <a:pt x="87" y="5"/>
                      <a:pt x="90" y="4"/>
                    </a:cubicBezTo>
                    <a:cubicBezTo>
                      <a:pt x="104" y="0"/>
                      <a:pt x="112" y="4"/>
                      <a:pt x="117" y="8"/>
                    </a:cubicBezTo>
                    <a:cubicBezTo>
                      <a:pt x="132" y="20"/>
                      <a:pt x="130" y="48"/>
                      <a:pt x="129" y="51"/>
                    </a:cubicBezTo>
                    <a:cubicBezTo>
                      <a:pt x="129" y="55"/>
                      <a:pt x="125" y="58"/>
                      <a:pt x="121" y="58"/>
                    </a:cubicBezTo>
                    <a:cubicBezTo>
                      <a:pt x="117" y="57"/>
                      <a:pt x="114" y="54"/>
                      <a:pt x="114" y="49"/>
                    </a:cubicBezTo>
                    <a:cubicBezTo>
                      <a:pt x="115" y="41"/>
                      <a:pt x="114" y="25"/>
                      <a:pt x="108" y="19"/>
                    </a:cubicBezTo>
                    <a:cubicBezTo>
                      <a:pt x="107" y="19"/>
                      <a:pt x="103" y="16"/>
                      <a:pt x="95" y="19"/>
                    </a:cubicBezTo>
                    <a:cubicBezTo>
                      <a:pt x="95" y="19"/>
                      <a:pt x="75" y="26"/>
                      <a:pt x="56" y="51"/>
                    </a:cubicBezTo>
                    <a:cubicBezTo>
                      <a:pt x="38" y="74"/>
                      <a:pt x="16" y="119"/>
                      <a:pt x="16" y="198"/>
                    </a:cubicBezTo>
                    <a:cubicBezTo>
                      <a:pt x="16" y="199"/>
                      <a:pt x="16" y="199"/>
                      <a:pt x="16" y="199"/>
                    </a:cubicBezTo>
                    <a:cubicBezTo>
                      <a:pt x="16" y="200"/>
                      <a:pt x="18" y="205"/>
                      <a:pt x="30" y="207"/>
                    </a:cubicBezTo>
                    <a:cubicBezTo>
                      <a:pt x="33" y="207"/>
                      <a:pt x="99" y="216"/>
                      <a:pt x="110" y="168"/>
                    </a:cubicBezTo>
                    <a:cubicBezTo>
                      <a:pt x="111" y="155"/>
                      <a:pt x="115" y="120"/>
                      <a:pt x="114" y="110"/>
                    </a:cubicBezTo>
                    <a:cubicBezTo>
                      <a:pt x="114" y="105"/>
                      <a:pt x="117" y="102"/>
                      <a:pt x="121" y="101"/>
                    </a:cubicBezTo>
                    <a:cubicBezTo>
                      <a:pt x="126" y="101"/>
                      <a:pt x="129" y="104"/>
                      <a:pt x="130" y="108"/>
                    </a:cubicBezTo>
                    <a:cubicBezTo>
                      <a:pt x="131" y="122"/>
                      <a:pt x="125" y="169"/>
                      <a:pt x="125" y="170"/>
                    </a:cubicBezTo>
                    <a:cubicBezTo>
                      <a:pt x="125" y="171"/>
                      <a:pt x="125" y="171"/>
                      <a:pt x="125" y="171"/>
                    </a:cubicBezTo>
                    <a:cubicBezTo>
                      <a:pt x="116" y="213"/>
                      <a:pt x="74" y="223"/>
                      <a:pt x="44" y="2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12" name="Freeform 68"/>
              <p:cNvSpPr>
                <a:spLocks/>
              </p:cNvSpPr>
              <p:nvPr/>
            </p:nvSpPr>
            <p:spPr bwMode="auto">
              <a:xfrm>
                <a:off x="1043184" y="4947444"/>
                <a:ext cx="207963" cy="260350"/>
              </a:xfrm>
              <a:custGeom>
                <a:avLst/>
                <a:gdLst>
                  <a:gd name="T0" fmla="*/ 104 w 105"/>
                  <a:gd name="T1" fmla="*/ 125 h 132"/>
                  <a:gd name="T2" fmla="*/ 98 w 105"/>
                  <a:gd name="T3" fmla="*/ 121 h 132"/>
                  <a:gd name="T4" fmla="*/ 58 w 105"/>
                  <a:gd name="T5" fmla="*/ 118 h 132"/>
                  <a:gd name="T6" fmla="*/ 74 w 105"/>
                  <a:gd name="T7" fmla="*/ 107 h 132"/>
                  <a:gd name="T8" fmla="*/ 72 w 105"/>
                  <a:gd name="T9" fmla="*/ 101 h 132"/>
                  <a:gd name="T10" fmla="*/ 65 w 105"/>
                  <a:gd name="T11" fmla="*/ 102 h 132"/>
                  <a:gd name="T12" fmla="*/ 36 w 105"/>
                  <a:gd name="T13" fmla="*/ 108 h 132"/>
                  <a:gd name="T14" fmla="*/ 29 w 105"/>
                  <a:gd name="T15" fmla="*/ 104 h 132"/>
                  <a:gd name="T16" fmla="*/ 29 w 105"/>
                  <a:gd name="T17" fmla="*/ 103 h 132"/>
                  <a:gd name="T18" fmla="*/ 11 w 105"/>
                  <a:gd name="T19" fmla="*/ 71 h 132"/>
                  <a:gd name="T20" fmla="*/ 11 w 105"/>
                  <a:gd name="T21" fmla="*/ 6 h 132"/>
                  <a:gd name="T22" fmla="*/ 6 w 105"/>
                  <a:gd name="T23" fmla="*/ 0 h 132"/>
                  <a:gd name="T24" fmla="*/ 1 w 105"/>
                  <a:gd name="T25" fmla="*/ 6 h 132"/>
                  <a:gd name="T26" fmla="*/ 1 w 105"/>
                  <a:gd name="T27" fmla="*/ 71 h 132"/>
                  <a:gd name="T28" fmla="*/ 23 w 105"/>
                  <a:gd name="T29" fmla="*/ 112 h 132"/>
                  <a:gd name="T30" fmla="*/ 84 w 105"/>
                  <a:gd name="T31" fmla="*/ 132 h 132"/>
                  <a:gd name="T32" fmla="*/ 100 w 105"/>
                  <a:gd name="T33" fmla="*/ 131 h 132"/>
                  <a:gd name="T34" fmla="*/ 104 w 105"/>
                  <a:gd name="T35" fmla="*/ 125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32">
                    <a:moveTo>
                      <a:pt x="104" y="125"/>
                    </a:moveTo>
                    <a:cubicBezTo>
                      <a:pt x="104" y="122"/>
                      <a:pt x="101" y="120"/>
                      <a:pt x="98" y="121"/>
                    </a:cubicBezTo>
                    <a:cubicBezTo>
                      <a:pt x="84" y="124"/>
                      <a:pt x="69" y="122"/>
                      <a:pt x="58" y="118"/>
                    </a:cubicBezTo>
                    <a:cubicBezTo>
                      <a:pt x="65" y="116"/>
                      <a:pt x="71" y="113"/>
                      <a:pt x="74" y="107"/>
                    </a:cubicBezTo>
                    <a:cubicBezTo>
                      <a:pt x="76" y="105"/>
                      <a:pt x="75" y="102"/>
                      <a:pt x="72" y="101"/>
                    </a:cubicBezTo>
                    <a:cubicBezTo>
                      <a:pt x="70" y="99"/>
                      <a:pt x="67" y="100"/>
                      <a:pt x="65" y="102"/>
                    </a:cubicBezTo>
                    <a:cubicBezTo>
                      <a:pt x="62" y="109"/>
                      <a:pt x="44" y="109"/>
                      <a:pt x="36" y="108"/>
                    </a:cubicBezTo>
                    <a:cubicBezTo>
                      <a:pt x="32" y="106"/>
                      <a:pt x="29" y="104"/>
                      <a:pt x="29" y="104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11" y="92"/>
                      <a:pt x="11" y="72"/>
                      <a:pt x="11" y="71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3"/>
                      <a:pt x="9" y="0"/>
                      <a:pt x="6" y="0"/>
                    </a:cubicBezTo>
                    <a:cubicBezTo>
                      <a:pt x="3" y="0"/>
                      <a:pt x="1" y="3"/>
                      <a:pt x="1" y="6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1" y="72"/>
                      <a:pt x="0" y="97"/>
                      <a:pt x="23" y="112"/>
                    </a:cubicBezTo>
                    <a:cubicBezTo>
                      <a:pt x="26" y="114"/>
                      <a:pt x="52" y="132"/>
                      <a:pt x="84" y="132"/>
                    </a:cubicBezTo>
                    <a:cubicBezTo>
                      <a:pt x="89" y="132"/>
                      <a:pt x="95" y="132"/>
                      <a:pt x="100" y="131"/>
                    </a:cubicBezTo>
                    <a:cubicBezTo>
                      <a:pt x="103" y="130"/>
                      <a:pt x="105" y="127"/>
                      <a:pt x="104" y="1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13" name="Freeform 69"/>
              <p:cNvSpPr>
                <a:spLocks/>
              </p:cNvSpPr>
              <p:nvPr/>
            </p:nvSpPr>
            <p:spPr bwMode="auto">
              <a:xfrm>
                <a:off x="828872" y="4947444"/>
                <a:ext cx="207963" cy="260350"/>
              </a:xfrm>
              <a:custGeom>
                <a:avLst/>
                <a:gdLst>
                  <a:gd name="T0" fmla="*/ 0 w 105"/>
                  <a:gd name="T1" fmla="*/ 125 h 132"/>
                  <a:gd name="T2" fmla="*/ 6 w 105"/>
                  <a:gd name="T3" fmla="*/ 121 h 132"/>
                  <a:gd name="T4" fmla="*/ 47 w 105"/>
                  <a:gd name="T5" fmla="*/ 118 h 132"/>
                  <a:gd name="T6" fmla="*/ 30 w 105"/>
                  <a:gd name="T7" fmla="*/ 107 h 132"/>
                  <a:gd name="T8" fmla="*/ 32 w 105"/>
                  <a:gd name="T9" fmla="*/ 101 h 132"/>
                  <a:gd name="T10" fmla="*/ 39 w 105"/>
                  <a:gd name="T11" fmla="*/ 102 h 132"/>
                  <a:gd name="T12" fmla="*/ 68 w 105"/>
                  <a:gd name="T13" fmla="*/ 108 h 132"/>
                  <a:gd name="T14" fmla="*/ 76 w 105"/>
                  <a:gd name="T15" fmla="*/ 104 h 132"/>
                  <a:gd name="T16" fmla="*/ 76 w 105"/>
                  <a:gd name="T17" fmla="*/ 103 h 132"/>
                  <a:gd name="T18" fmla="*/ 94 w 105"/>
                  <a:gd name="T19" fmla="*/ 71 h 132"/>
                  <a:gd name="T20" fmla="*/ 94 w 105"/>
                  <a:gd name="T21" fmla="*/ 6 h 132"/>
                  <a:gd name="T22" fmla="*/ 99 w 105"/>
                  <a:gd name="T23" fmla="*/ 0 h 132"/>
                  <a:gd name="T24" fmla="*/ 104 w 105"/>
                  <a:gd name="T25" fmla="*/ 6 h 132"/>
                  <a:gd name="T26" fmla="*/ 104 w 105"/>
                  <a:gd name="T27" fmla="*/ 71 h 132"/>
                  <a:gd name="T28" fmla="*/ 81 w 105"/>
                  <a:gd name="T29" fmla="*/ 112 h 132"/>
                  <a:gd name="T30" fmla="*/ 21 w 105"/>
                  <a:gd name="T31" fmla="*/ 132 h 132"/>
                  <a:gd name="T32" fmla="*/ 4 w 105"/>
                  <a:gd name="T33" fmla="*/ 131 h 132"/>
                  <a:gd name="T34" fmla="*/ 0 w 105"/>
                  <a:gd name="T35" fmla="*/ 125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5" h="132">
                    <a:moveTo>
                      <a:pt x="0" y="125"/>
                    </a:moveTo>
                    <a:cubicBezTo>
                      <a:pt x="1" y="122"/>
                      <a:pt x="4" y="120"/>
                      <a:pt x="6" y="121"/>
                    </a:cubicBezTo>
                    <a:cubicBezTo>
                      <a:pt x="21" y="124"/>
                      <a:pt x="35" y="122"/>
                      <a:pt x="47" y="118"/>
                    </a:cubicBezTo>
                    <a:cubicBezTo>
                      <a:pt x="40" y="116"/>
                      <a:pt x="34" y="113"/>
                      <a:pt x="30" y="107"/>
                    </a:cubicBezTo>
                    <a:cubicBezTo>
                      <a:pt x="29" y="105"/>
                      <a:pt x="30" y="102"/>
                      <a:pt x="32" y="101"/>
                    </a:cubicBezTo>
                    <a:cubicBezTo>
                      <a:pt x="35" y="99"/>
                      <a:pt x="38" y="100"/>
                      <a:pt x="39" y="102"/>
                    </a:cubicBezTo>
                    <a:cubicBezTo>
                      <a:pt x="43" y="109"/>
                      <a:pt x="60" y="109"/>
                      <a:pt x="68" y="108"/>
                    </a:cubicBezTo>
                    <a:cubicBezTo>
                      <a:pt x="73" y="106"/>
                      <a:pt x="75" y="104"/>
                      <a:pt x="76" y="104"/>
                    </a:cubicBezTo>
                    <a:cubicBezTo>
                      <a:pt x="76" y="103"/>
                      <a:pt x="76" y="103"/>
                      <a:pt x="76" y="103"/>
                    </a:cubicBezTo>
                    <a:cubicBezTo>
                      <a:pt x="94" y="92"/>
                      <a:pt x="94" y="72"/>
                      <a:pt x="94" y="71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4" y="3"/>
                      <a:pt x="96" y="0"/>
                      <a:pt x="99" y="0"/>
                    </a:cubicBezTo>
                    <a:cubicBezTo>
                      <a:pt x="101" y="0"/>
                      <a:pt x="104" y="3"/>
                      <a:pt x="104" y="6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4" y="72"/>
                      <a:pt x="105" y="97"/>
                      <a:pt x="81" y="112"/>
                    </a:cubicBezTo>
                    <a:cubicBezTo>
                      <a:pt x="79" y="114"/>
                      <a:pt x="53" y="132"/>
                      <a:pt x="21" y="132"/>
                    </a:cubicBezTo>
                    <a:cubicBezTo>
                      <a:pt x="15" y="132"/>
                      <a:pt x="10" y="132"/>
                      <a:pt x="4" y="131"/>
                    </a:cubicBezTo>
                    <a:cubicBezTo>
                      <a:pt x="2" y="130"/>
                      <a:pt x="0" y="127"/>
                      <a:pt x="0" y="1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</p:grpSp>
      </p:grpSp>
      <p:sp>
        <p:nvSpPr>
          <p:cNvPr id="23" name="TextBox 22"/>
          <p:cNvSpPr txBox="1"/>
          <p:nvPr/>
        </p:nvSpPr>
        <p:spPr>
          <a:xfrm>
            <a:off x="9489327" y="3466920"/>
            <a:ext cx="2207714" cy="41043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Heart (AV node)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717141" y="3384101"/>
            <a:ext cx="576000" cy="576000"/>
            <a:chOff x="1971644" y="3407172"/>
            <a:chExt cx="820800" cy="824400"/>
          </a:xfrm>
        </p:grpSpPr>
        <p:sp>
          <p:nvSpPr>
            <p:cNvPr id="120" name="Freeform 347"/>
            <p:cNvSpPr>
              <a:spLocks/>
            </p:cNvSpPr>
            <p:nvPr/>
          </p:nvSpPr>
          <p:spPr bwMode="auto">
            <a:xfrm>
              <a:off x="1971644" y="3407172"/>
              <a:ext cx="820800" cy="824400"/>
            </a:xfrm>
            <a:custGeom>
              <a:avLst/>
              <a:gdLst>
                <a:gd name="T0" fmla="*/ 256 w 256"/>
                <a:gd name="T1" fmla="*/ 233 h 255"/>
                <a:gd name="T2" fmla="*/ 234 w 256"/>
                <a:gd name="T3" fmla="*/ 255 h 255"/>
                <a:gd name="T4" fmla="*/ 22 w 256"/>
                <a:gd name="T5" fmla="*/ 255 h 255"/>
                <a:gd name="T6" fmla="*/ 0 w 256"/>
                <a:gd name="T7" fmla="*/ 233 h 255"/>
                <a:gd name="T8" fmla="*/ 0 w 256"/>
                <a:gd name="T9" fmla="*/ 22 h 255"/>
                <a:gd name="T10" fmla="*/ 22 w 256"/>
                <a:gd name="T11" fmla="*/ 0 h 255"/>
                <a:gd name="T12" fmla="*/ 234 w 256"/>
                <a:gd name="T13" fmla="*/ 0 h 255"/>
                <a:gd name="T14" fmla="*/ 256 w 256"/>
                <a:gd name="T15" fmla="*/ 22 h 255"/>
                <a:gd name="T16" fmla="*/ 256 w 256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255">
                  <a:moveTo>
                    <a:pt x="256" y="233"/>
                  </a:moveTo>
                  <a:cubicBezTo>
                    <a:pt x="256" y="245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6" y="10"/>
                    <a:pt x="256" y="22"/>
                  </a:cubicBezTo>
                  <a:lnTo>
                    <a:pt x="256" y="233"/>
                  </a:lnTo>
                  <a:close/>
                </a:path>
              </a:pathLst>
            </a:cu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1" name="Freeform 348"/>
            <p:cNvSpPr>
              <a:spLocks/>
            </p:cNvSpPr>
            <p:nvPr/>
          </p:nvSpPr>
          <p:spPr bwMode="auto">
            <a:xfrm>
              <a:off x="2060489" y="3501536"/>
              <a:ext cx="643110" cy="635673"/>
            </a:xfrm>
            <a:custGeom>
              <a:avLst/>
              <a:gdLst>
                <a:gd name="T0" fmla="*/ 14 w 198"/>
                <a:gd name="T1" fmla="*/ 14 h 193"/>
                <a:gd name="T2" fmla="*/ 49 w 198"/>
                <a:gd name="T3" fmla="*/ 0 h 193"/>
                <a:gd name="T4" fmla="*/ 84 w 198"/>
                <a:gd name="T5" fmla="*/ 14 h 193"/>
                <a:gd name="T6" fmla="*/ 99 w 198"/>
                <a:gd name="T7" fmla="*/ 49 h 193"/>
                <a:gd name="T8" fmla="*/ 114 w 198"/>
                <a:gd name="T9" fmla="*/ 14 h 193"/>
                <a:gd name="T10" fmla="*/ 149 w 198"/>
                <a:gd name="T11" fmla="*/ 0 h 193"/>
                <a:gd name="T12" fmla="*/ 184 w 198"/>
                <a:gd name="T13" fmla="*/ 14 h 193"/>
                <a:gd name="T14" fmla="*/ 198 w 198"/>
                <a:gd name="T15" fmla="*/ 49 h 193"/>
                <a:gd name="T16" fmla="*/ 177 w 198"/>
                <a:gd name="T17" fmla="*/ 102 h 193"/>
                <a:gd name="T18" fmla="*/ 135 w 198"/>
                <a:gd name="T19" fmla="*/ 148 h 193"/>
                <a:gd name="T20" fmla="*/ 99 w 198"/>
                <a:gd name="T21" fmla="*/ 193 h 193"/>
                <a:gd name="T22" fmla="*/ 63 w 198"/>
                <a:gd name="T23" fmla="*/ 148 h 193"/>
                <a:gd name="T24" fmla="*/ 20 w 198"/>
                <a:gd name="T25" fmla="*/ 102 h 193"/>
                <a:gd name="T26" fmla="*/ 0 w 198"/>
                <a:gd name="T27" fmla="*/ 49 h 193"/>
                <a:gd name="T28" fmla="*/ 14 w 198"/>
                <a:gd name="T29" fmla="*/ 14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8" h="193">
                  <a:moveTo>
                    <a:pt x="14" y="14"/>
                  </a:moveTo>
                  <a:cubicBezTo>
                    <a:pt x="24" y="5"/>
                    <a:pt x="36" y="0"/>
                    <a:pt x="49" y="0"/>
                  </a:cubicBezTo>
                  <a:cubicBezTo>
                    <a:pt x="63" y="0"/>
                    <a:pt x="75" y="5"/>
                    <a:pt x="84" y="14"/>
                  </a:cubicBezTo>
                  <a:cubicBezTo>
                    <a:pt x="94" y="24"/>
                    <a:pt x="99" y="36"/>
                    <a:pt x="99" y="49"/>
                  </a:cubicBezTo>
                  <a:cubicBezTo>
                    <a:pt x="99" y="36"/>
                    <a:pt x="104" y="24"/>
                    <a:pt x="114" y="14"/>
                  </a:cubicBezTo>
                  <a:cubicBezTo>
                    <a:pt x="123" y="5"/>
                    <a:pt x="135" y="0"/>
                    <a:pt x="149" y="0"/>
                  </a:cubicBezTo>
                  <a:cubicBezTo>
                    <a:pt x="162" y="0"/>
                    <a:pt x="174" y="5"/>
                    <a:pt x="184" y="14"/>
                  </a:cubicBezTo>
                  <a:cubicBezTo>
                    <a:pt x="193" y="24"/>
                    <a:pt x="198" y="36"/>
                    <a:pt x="198" y="49"/>
                  </a:cubicBezTo>
                  <a:cubicBezTo>
                    <a:pt x="198" y="66"/>
                    <a:pt x="191" y="83"/>
                    <a:pt x="177" y="102"/>
                  </a:cubicBezTo>
                  <a:cubicBezTo>
                    <a:pt x="171" y="110"/>
                    <a:pt x="157" y="125"/>
                    <a:pt x="135" y="148"/>
                  </a:cubicBezTo>
                  <a:cubicBezTo>
                    <a:pt x="116" y="167"/>
                    <a:pt x="105" y="182"/>
                    <a:pt x="99" y="193"/>
                  </a:cubicBezTo>
                  <a:cubicBezTo>
                    <a:pt x="93" y="182"/>
                    <a:pt x="82" y="167"/>
                    <a:pt x="63" y="148"/>
                  </a:cubicBezTo>
                  <a:cubicBezTo>
                    <a:pt x="41" y="125"/>
                    <a:pt x="27" y="110"/>
                    <a:pt x="20" y="102"/>
                  </a:cubicBezTo>
                  <a:cubicBezTo>
                    <a:pt x="7" y="83"/>
                    <a:pt x="0" y="66"/>
                    <a:pt x="0" y="49"/>
                  </a:cubicBezTo>
                  <a:cubicBezTo>
                    <a:pt x="0" y="36"/>
                    <a:pt x="5" y="24"/>
                    <a:pt x="14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199043" y="2715879"/>
            <a:ext cx="1309519" cy="697753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L-cells of</a:t>
            </a:r>
            <a:br>
              <a:rPr lang="en-GB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</a:br>
            <a:r>
              <a:rPr lang="en-GB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the gut</a:t>
            </a:r>
          </a:p>
        </p:txBody>
      </p:sp>
      <p:grpSp>
        <p:nvGrpSpPr>
          <p:cNvPr id="114" name="Group 113"/>
          <p:cNvGrpSpPr/>
          <p:nvPr/>
        </p:nvGrpSpPr>
        <p:grpSpPr>
          <a:xfrm>
            <a:off x="2709975" y="2776692"/>
            <a:ext cx="576000" cy="576000"/>
            <a:chOff x="3847892" y="428041"/>
            <a:chExt cx="820800" cy="824400"/>
          </a:xfrm>
        </p:grpSpPr>
        <p:sp>
          <p:nvSpPr>
            <p:cNvPr id="115" name="Freeform 198"/>
            <p:cNvSpPr>
              <a:spLocks/>
            </p:cNvSpPr>
            <p:nvPr/>
          </p:nvSpPr>
          <p:spPr bwMode="auto">
            <a:xfrm>
              <a:off x="3847892" y="428041"/>
              <a:ext cx="820800" cy="824400"/>
            </a:xfrm>
            <a:custGeom>
              <a:avLst/>
              <a:gdLst>
                <a:gd name="T0" fmla="*/ 255 w 255"/>
                <a:gd name="T1" fmla="*/ 233 h 255"/>
                <a:gd name="T2" fmla="*/ 234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4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6" y="255"/>
                    <a:pt x="234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grpSp>
          <p:nvGrpSpPr>
            <p:cNvPr id="116" name="Group 115"/>
            <p:cNvGrpSpPr/>
            <p:nvPr/>
          </p:nvGrpSpPr>
          <p:grpSpPr>
            <a:xfrm>
              <a:off x="3937143" y="528347"/>
              <a:ext cx="642299" cy="623789"/>
              <a:chOff x="-139503" y="4909344"/>
              <a:chExt cx="550862" cy="534988"/>
            </a:xfrm>
            <a:solidFill>
              <a:schemeClr val="bg1"/>
            </a:solidFill>
          </p:grpSpPr>
          <p:sp>
            <p:nvSpPr>
              <p:cNvPr id="117" name="Freeform 76"/>
              <p:cNvSpPr>
                <a:spLocks/>
              </p:cNvSpPr>
              <p:nvPr/>
            </p:nvSpPr>
            <p:spPr bwMode="auto">
              <a:xfrm>
                <a:off x="52584" y="5236369"/>
                <a:ext cx="295275" cy="144463"/>
              </a:xfrm>
              <a:custGeom>
                <a:avLst/>
                <a:gdLst>
                  <a:gd name="T0" fmla="*/ 0 w 150"/>
                  <a:gd name="T1" fmla="*/ 45 h 73"/>
                  <a:gd name="T2" fmla="*/ 35 w 150"/>
                  <a:gd name="T3" fmla="*/ 38 h 73"/>
                  <a:gd name="T4" fmla="*/ 56 w 150"/>
                  <a:gd name="T5" fmla="*/ 28 h 73"/>
                  <a:gd name="T6" fmla="*/ 106 w 150"/>
                  <a:gd name="T7" fmla="*/ 2 h 73"/>
                  <a:gd name="T8" fmla="*/ 139 w 150"/>
                  <a:gd name="T9" fmla="*/ 3 h 73"/>
                  <a:gd name="T10" fmla="*/ 146 w 150"/>
                  <a:gd name="T11" fmla="*/ 16 h 73"/>
                  <a:gd name="T12" fmla="*/ 43 w 150"/>
                  <a:gd name="T13" fmla="*/ 66 h 73"/>
                  <a:gd name="T14" fmla="*/ 0 w 150"/>
                  <a:gd name="T15" fmla="*/ 4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0" h="73">
                    <a:moveTo>
                      <a:pt x="0" y="45"/>
                    </a:moveTo>
                    <a:cubicBezTo>
                      <a:pt x="11" y="38"/>
                      <a:pt x="23" y="37"/>
                      <a:pt x="35" y="38"/>
                    </a:cubicBezTo>
                    <a:cubicBezTo>
                      <a:pt x="45" y="40"/>
                      <a:pt x="51" y="36"/>
                      <a:pt x="56" y="28"/>
                    </a:cubicBezTo>
                    <a:cubicBezTo>
                      <a:pt x="68" y="11"/>
                      <a:pt x="83" y="0"/>
                      <a:pt x="106" y="2"/>
                    </a:cubicBezTo>
                    <a:cubicBezTo>
                      <a:pt x="117" y="3"/>
                      <a:pt x="128" y="2"/>
                      <a:pt x="139" y="3"/>
                    </a:cubicBezTo>
                    <a:cubicBezTo>
                      <a:pt x="150" y="5"/>
                      <a:pt x="149" y="8"/>
                      <a:pt x="146" y="16"/>
                    </a:cubicBezTo>
                    <a:cubicBezTo>
                      <a:pt x="128" y="52"/>
                      <a:pt x="84" y="73"/>
                      <a:pt x="43" y="66"/>
                    </a:cubicBezTo>
                    <a:cubicBezTo>
                      <a:pt x="27" y="63"/>
                      <a:pt x="11" y="61"/>
                      <a:pt x="0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18" name="Freeform 77"/>
              <p:cNvSpPr>
                <a:spLocks/>
              </p:cNvSpPr>
              <p:nvPr/>
            </p:nvSpPr>
            <p:spPr bwMode="auto">
              <a:xfrm>
                <a:off x="-139503" y="5004594"/>
                <a:ext cx="322263" cy="409575"/>
              </a:xfrm>
              <a:custGeom>
                <a:avLst/>
                <a:gdLst>
                  <a:gd name="T0" fmla="*/ 10 w 163"/>
                  <a:gd name="T1" fmla="*/ 207 h 207"/>
                  <a:gd name="T2" fmla="*/ 4 w 163"/>
                  <a:gd name="T3" fmla="*/ 203 h 207"/>
                  <a:gd name="T4" fmla="*/ 27 w 163"/>
                  <a:gd name="T5" fmla="*/ 143 h 207"/>
                  <a:gd name="T6" fmla="*/ 98 w 163"/>
                  <a:gd name="T7" fmla="*/ 130 h 207"/>
                  <a:gd name="T8" fmla="*/ 140 w 163"/>
                  <a:gd name="T9" fmla="*/ 116 h 207"/>
                  <a:gd name="T10" fmla="*/ 140 w 163"/>
                  <a:gd name="T11" fmla="*/ 116 h 207"/>
                  <a:gd name="T12" fmla="*/ 145 w 163"/>
                  <a:gd name="T13" fmla="*/ 85 h 207"/>
                  <a:gd name="T14" fmla="*/ 133 w 163"/>
                  <a:gd name="T15" fmla="*/ 76 h 207"/>
                  <a:gd name="T16" fmla="*/ 77 w 163"/>
                  <a:gd name="T17" fmla="*/ 8 h 207"/>
                  <a:gd name="T18" fmla="*/ 82 w 163"/>
                  <a:gd name="T19" fmla="*/ 1 h 207"/>
                  <a:gd name="T20" fmla="*/ 89 w 163"/>
                  <a:gd name="T21" fmla="*/ 5 h 207"/>
                  <a:gd name="T22" fmla="*/ 89 w 163"/>
                  <a:gd name="T23" fmla="*/ 5 h 207"/>
                  <a:gd name="T24" fmla="*/ 137 w 163"/>
                  <a:gd name="T25" fmla="*/ 64 h 207"/>
                  <a:gd name="T26" fmla="*/ 156 w 163"/>
                  <a:gd name="T27" fmla="*/ 81 h 207"/>
                  <a:gd name="T28" fmla="*/ 151 w 163"/>
                  <a:gd name="T29" fmla="*/ 121 h 207"/>
                  <a:gd name="T30" fmla="*/ 97 w 163"/>
                  <a:gd name="T31" fmla="*/ 142 h 207"/>
                  <a:gd name="T32" fmla="*/ 96 w 163"/>
                  <a:gd name="T33" fmla="*/ 142 h 207"/>
                  <a:gd name="T34" fmla="*/ 36 w 163"/>
                  <a:gd name="T35" fmla="*/ 151 h 207"/>
                  <a:gd name="T36" fmla="*/ 16 w 163"/>
                  <a:gd name="T37" fmla="*/ 200 h 207"/>
                  <a:gd name="T38" fmla="*/ 12 w 163"/>
                  <a:gd name="T39" fmla="*/ 207 h 207"/>
                  <a:gd name="T40" fmla="*/ 10 w 163"/>
                  <a:gd name="T41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3" h="207">
                    <a:moveTo>
                      <a:pt x="10" y="207"/>
                    </a:moveTo>
                    <a:cubicBezTo>
                      <a:pt x="7" y="207"/>
                      <a:pt x="5" y="206"/>
                      <a:pt x="4" y="203"/>
                    </a:cubicBezTo>
                    <a:cubicBezTo>
                      <a:pt x="0" y="190"/>
                      <a:pt x="11" y="162"/>
                      <a:pt x="27" y="143"/>
                    </a:cubicBezTo>
                    <a:cubicBezTo>
                      <a:pt x="44" y="123"/>
                      <a:pt x="91" y="129"/>
                      <a:pt x="98" y="130"/>
                    </a:cubicBezTo>
                    <a:cubicBezTo>
                      <a:pt x="133" y="132"/>
                      <a:pt x="140" y="116"/>
                      <a:pt x="140" y="116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3" y="111"/>
                      <a:pt x="149" y="95"/>
                      <a:pt x="145" y="85"/>
                    </a:cubicBezTo>
                    <a:cubicBezTo>
                      <a:pt x="143" y="81"/>
                      <a:pt x="139" y="78"/>
                      <a:pt x="133" y="76"/>
                    </a:cubicBezTo>
                    <a:cubicBezTo>
                      <a:pt x="90" y="62"/>
                      <a:pt x="78" y="10"/>
                      <a:pt x="77" y="8"/>
                    </a:cubicBezTo>
                    <a:cubicBezTo>
                      <a:pt x="76" y="5"/>
                      <a:pt x="78" y="2"/>
                      <a:pt x="82" y="1"/>
                    </a:cubicBezTo>
                    <a:cubicBezTo>
                      <a:pt x="85" y="0"/>
                      <a:pt x="88" y="2"/>
                      <a:pt x="89" y="5"/>
                    </a:cubicBezTo>
                    <a:cubicBezTo>
                      <a:pt x="89" y="5"/>
                      <a:pt x="89" y="5"/>
                      <a:pt x="89" y="5"/>
                    </a:cubicBezTo>
                    <a:cubicBezTo>
                      <a:pt x="89" y="6"/>
                      <a:pt x="100" y="53"/>
                      <a:pt x="137" y="64"/>
                    </a:cubicBezTo>
                    <a:cubicBezTo>
                      <a:pt x="146" y="67"/>
                      <a:pt x="153" y="73"/>
                      <a:pt x="156" y="81"/>
                    </a:cubicBezTo>
                    <a:cubicBezTo>
                      <a:pt x="163" y="97"/>
                      <a:pt x="152" y="119"/>
                      <a:pt x="151" y="121"/>
                    </a:cubicBezTo>
                    <a:cubicBezTo>
                      <a:pt x="150" y="125"/>
                      <a:pt x="139" y="144"/>
                      <a:pt x="97" y="142"/>
                    </a:cubicBezTo>
                    <a:cubicBezTo>
                      <a:pt x="96" y="142"/>
                      <a:pt x="96" y="142"/>
                      <a:pt x="96" y="142"/>
                    </a:cubicBezTo>
                    <a:cubicBezTo>
                      <a:pt x="83" y="140"/>
                      <a:pt x="47" y="138"/>
                      <a:pt x="36" y="151"/>
                    </a:cubicBezTo>
                    <a:cubicBezTo>
                      <a:pt x="21" y="169"/>
                      <a:pt x="14" y="193"/>
                      <a:pt x="16" y="200"/>
                    </a:cubicBezTo>
                    <a:cubicBezTo>
                      <a:pt x="17" y="203"/>
                      <a:pt x="15" y="206"/>
                      <a:pt x="12" y="207"/>
                    </a:cubicBezTo>
                    <a:cubicBezTo>
                      <a:pt x="11" y="207"/>
                      <a:pt x="11" y="207"/>
                      <a:pt x="10" y="20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19" name="Freeform 78"/>
              <p:cNvSpPr>
                <a:spLocks/>
              </p:cNvSpPr>
              <p:nvPr/>
            </p:nvSpPr>
            <p:spPr bwMode="auto">
              <a:xfrm>
                <a:off x="-74416" y="4909344"/>
                <a:ext cx="485775" cy="534988"/>
              </a:xfrm>
              <a:custGeom>
                <a:avLst/>
                <a:gdLst>
                  <a:gd name="T0" fmla="*/ 9 w 246"/>
                  <a:gd name="T1" fmla="*/ 270 h 270"/>
                  <a:gd name="T2" fmla="*/ 3 w 246"/>
                  <a:gd name="T3" fmla="*/ 265 h 270"/>
                  <a:gd name="T4" fmla="*/ 18 w 246"/>
                  <a:gd name="T5" fmla="*/ 226 h 270"/>
                  <a:gd name="T6" fmla="*/ 43 w 246"/>
                  <a:gd name="T7" fmla="*/ 223 h 270"/>
                  <a:gd name="T8" fmla="*/ 132 w 246"/>
                  <a:gd name="T9" fmla="*/ 248 h 270"/>
                  <a:gd name="T10" fmla="*/ 232 w 246"/>
                  <a:gd name="T11" fmla="*/ 132 h 270"/>
                  <a:gd name="T12" fmla="*/ 177 w 246"/>
                  <a:gd name="T13" fmla="*/ 26 h 270"/>
                  <a:gd name="T14" fmla="*/ 108 w 246"/>
                  <a:gd name="T15" fmla="*/ 44 h 270"/>
                  <a:gd name="T16" fmla="*/ 91 w 246"/>
                  <a:gd name="T17" fmla="*/ 55 h 270"/>
                  <a:gd name="T18" fmla="*/ 67 w 246"/>
                  <a:gd name="T19" fmla="*/ 33 h 270"/>
                  <a:gd name="T20" fmla="*/ 70 w 246"/>
                  <a:gd name="T21" fmla="*/ 25 h 270"/>
                  <a:gd name="T22" fmla="*/ 78 w 246"/>
                  <a:gd name="T23" fmla="*/ 28 h 270"/>
                  <a:gd name="T24" fmla="*/ 78 w 246"/>
                  <a:gd name="T25" fmla="*/ 28 h 270"/>
                  <a:gd name="T26" fmla="*/ 91 w 246"/>
                  <a:gd name="T27" fmla="*/ 43 h 270"/>
                  <a:gd name="T28" fmla="*/ 98 w 246"/>
                  <a:gd name="T29" fmla="*/ 38 h 270"/>
                  <a:gd name="T30" fmla="*/ 180 w 246"/>
                  <a:gd name="T31" fmla="*/ 14 h 270"/>
                  <a:gd name="T32" fmla="*/ 244 w 246"/>
                  <a:gd name="T33" fmla="*/ 132 h 270"/>
                  <a:gd name="T34" fmla="*/ 134 w 246"/>
                  <a:gd name="T35" fmla="*/ 260 h 270"/>
                  <a:gd name="T36" fmla="*/ 37 w 246"/>
                  <a:gd name="T37" fmla="*/ 234 h 270"/>
                  <a:gd name="T38" fmla="*/ 26 w 246"/>
                  <a:gd name="T39" fmla="*/ 234 h 270"/>
                  <a:gd name="T40" fmla="*/ 15 w 246"/>
                  <a:gd name="T41" fmla="*/ 263 h 270"/>
                  <a:gd name="T42" fmla="*/ 10 w 246"/>
                  <a:gd name="T43" fmla="*/ 270 h 270"/>
                  <a:gd name="T44" fmla="*/ 9 w 246"/>
                  <a:gd name="T4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270">
                    <a:moveTo>
                      <a:pt x="9" y="270"/>
                    </a:moveTo>
                    <a:cubicBezTo>
                      <a:pt x="6" y="270"/>
                      <a:pt x="4" y="268"/>
                      <a:pt x="3" y="265"/>
                    </a:cubicBezTo>
                    <a:cubicBezTo>
                      <a:pt x="0" y="246"/>
                      <a:pt x="9" y="233"/>
                      <a:pt x="18" y="226"/>
                    </a:cubicBezTo>
                    <a:cubicBezTo>
                      <a:pt x="25" y="219"/>
                      <a:pt x="35" y="218"/>
                      <a:pt x="43" y="223"/>
                    </a:cubicBezTo>
                    <a:cubicBezTo>
                      <a:pt x="91" y="255"/>
                      <a:pt x="132" y="248"/>
                      <a:pt x="132" y="248"/>
                    </a:cubicBezTo>
                    <a:cubicBezTo>
                      <a:pt x="136" y="248"/>
                      <a:pt x="230" y="230"/>
                      <a:pt x="232" y="132"/>
                    </a:cubicBezTo>
                    <a:cubicBezTo>
                      <a:pt x="233" y="40"/>
                      <a:pt x="177" y="26"/>
                      <a:pt x="177" y="26"/>
                    </a:cubicBezTo>
                    <a:cubicBezTo>
                      <a:pt x="176" y="26"/>
                      <a:pt x="126" y="14"/>
                      <a:pt x="108" y="44"/>
                    </a:cubicBezTo>
                    <a:cubicBezTo>
                      <a:pt x="103" y="52"/>
                      <a:pt x="97" y="56"/>
                      <a:pt x="91" y="55"/>
                    </a:cubicBezTo>
                    <a:cubicBezTo>
                      <a:pt x="77" y="55"/>
                      <a:pt x="69" y="37"/>
                      <a:pt x="67" y="33"/>
                    </a:cubicBezTo>
                    <a:cubicBezTo>
                      <a:pt x="66" y="30"/>
                      <a:pt x="67" y="26"/>
                      <a:pt x="70" y="25"/>
                    </a:cubicBezTo>
                    <a:cubicBezTo>
                      <a:pt x="73" y="24"/>
                      <a:pt x="77" y="25"/>
                      <a:pt x="78" y="28"/>
                    </a:cubicBezTo>
                    <a:cubicBezTo>
                      <a:pt x="78" y="28"/>
                      <a:pt x="78" y="28"/>
                      <a:pt x="78" y="28"/>
                    </a:cubicBezTo>
                    <a:cubicBezTo>
                      <a:pt x="81" y="34"/>
                      <a:pt x="87" y="43"/>
                      <a:pt x="91" y="43"/>
                    </a:cubicBezTo>
                    <a:cubicBezTo>
                      <a:pt x="93" y="44"/>
                      <a:pt x="95" y="41"/>
                      <a:pt x="98" y="38"/>
                    </a:cubicBezTo>
                    <a:cubicBezTo>
                      <a:pt x="120" y="0"/>
                      <a:pt x="177" y="14"/>
                      <a:pt x="180" y="14"/>
                    </a:cubicBezTo>
                    <a:cubicBezTo>
                      <a:pt x="182" y="15"/>
                      <a:pt x="246" y="31"/>
                      <a:pt x="244" y="132"/>
                    </a:cubicBezTo>
                    <a:cubicBezTo>
                      <a:pt x="242" y="240"/>
                      <a:pt x="136" y="260"/>
                      <a:pt x="134" y="260"/>
                    </a:cubicBezTo>
                    <a:cubicBezTo>
                      <a:pt x="133" y="260"/>
                      <a:pt x="89" y="268"/>
                      <a:pt x="37" y="234"/>
                    </a:cubicBezTo>
                    <a:cubicBezTo>
                      <a:pt x="33" y="231"/>
                      <a:pt x="29" y="232"/>
                      <a:pt x="26" y="234"/>
                    </a:cubicBezTo>
                    <a:cubicBezTo>
                      <a:pt x="17" y="243"/>
                      <a:pt x="13" y="252"/>
                      <a:pt x="15" y="263"/>
                    </a:cubicBezTo>
                    <a:cubicBezTo>
                      <a:pt x="16" y="266"/>
                      <a:pt x="13" y="269"/>
                      <a:pt x="10" y="270"/>
                    </a:cubicBezTo>
                    <a:cubicBezTo>
                      <a:pt x="10" y="270"/>
                      <a:pt x="9" y="270"/>
                      <a:pt x="9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</p:grpSp>
      </p:grpSp>
      <p:sp>
        <p:nvSpPr>
          <p:cNvPr id="9" name="TextBox 8"/>
          <p:cNvSpPr txBox="1"/>
          <p:nvPr/>
        </p:nvSpPr>
        <p:spPr>
          <a:xfrm>
            <a:off x="959104" y="2026418"/>
            <a:ext cx="1549456" cy="697753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Neurons in</a:t>
            </a:r>
          </a:p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rgbClr val="001965"/>
                </a:solidFill>
                <a:latin typeface="Verdana" pitchFamily="34" charset="0"/>
                <a:cs typeface="Arial" charset="0"/>
              </a:rPr>
              <a:t>hindbrain</a:t>
            </a:r>
            <a:endParaRPr lang="en-GB" sz="1867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709975" y="2087231"/>
            <a:ext cx="576000" cy="576000"/>
            <a:chOff x="851425" y="1509495"/>
            <a:chExt cx="540000" cy="564492"/>
          </a:xfrm>
        </p:grpSpPr>
        <p:grpSp>
          <p:nvGrpSpPr>
            <p:cNvPr id="122" name="Group 121"/>
            <p:cNvGrpSpPr/>
            <p:nvPr/>
          </p:nvGrpSpPr>
          <p:grpSpPr>
            <a:xfrm>
              <a:off x="851425" y="1509495"/>
              <a:ext cx="540000" cy="564492"/>
              <a:chOff x="1549673" y="3488967"/>
              <a:chExt cx="540000" cy="564492"/>
            </a:xfrm>
          </p:grpSpPr>
          <p:sp>
            <p:nvSpPr>
              <p:cNvPr id="123" name="Freeform 64"/>
              <p:cNvSpPr>
                <a:spLocks/>
              </p:cNvSpPr>
              <p:nvPr/>
            </p:nvSpPr>
            <p:spPr bwMode="auto">
              <a:xfrm>
                <a:off x="1549673" y="3488967"/>
                <a:ext cx="540000" cy="540000"/>
              </a:xfrm>
              <a:custGeom>
                <a:avLst/>
                <a:gdLst>
                  <a:gd name="T0" fmla="*/ 255 w 255"/>
                  <a:gd name="T1" fmla="*/ 233 h 255"/>
                  <a:gd name="T2" fmla="*/ 233 w 255"/>
                  <a:gd name="T3" fmla="*/ 255 h 255"/>
                  <a:gd name="T4" fmla="*/ 22 w 255"/>
                  <a:gd name="T5" fmla="*/ 255 h 255"/>
                  <a:gd name="T6" fmla="*/ 0 w 255"/>
                  <a:gd name="T7" fmla="*/ 233 h 255"/>
                  <a:gd name="T8" fmla="*/ 0 w 255"/>
                  <a:gd name="T9" fmla="*/ 22 h 255"/>
                  <a:gd name="T10" fmla="*/ 22 w 255"/>
                  <a:gd name="T11" fmla="*/ 0 h 255"/>
                  <a:gd name="T12" fmla="*/ 233 w 255"/>
                  <a:gd name="T13" fmla="*/ 0 h 255"/>
                  <a:gd name="T14" fmla="*/ 255 w 255"/>
                  <a:gd name="T15" fmla="*/ 22 h 255"/>
                  <a:gd name="T16" fmla="*/ 255 w 255"/>
                  <a:gd name="T17" fmla="*/ 233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5" h="255">
                    <a:moveTo>
                      <a:pt x="255" y="233"/>
                    </a:moveTo>
                    <a:cubicBezTo>
                      <a:pt x="255" y="245"/>
                      <a:pt x="245" y="255"/>
                      <a:pt x="233" y="255"/>
                    </a:cubicBezTo>
                    <a:cubicBezTo>
                      <a:pt x="22" y="255"/>
                      <a:pt x="22" y="255"/>
                      <a:pt x="22" y="255"/>
                    </a:cubicBezTo>
                    <a:cubicBezTo>
                      <a:pt x="10" y="255"/>
                      <a:pt x="0" y="245"/>
                      <a:pt x="0" y="233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233" y="0"/>
                      <a:pt x="233" y="0"/>
                      <a:pt x="233" y="0"/>
                    </a:cubicBezTo>
                    <a:cubicBezTo>
                      <a:pt x="245" y="0"/>
                      <a:pt x="255" y="9"/>
                      <a:pt x="255" y="22"/>
                    </a:cubicBezTo>
                    <a:lnTo>
                      <a:pt x="255" y="233"/>
                    </a:lnTo>
                    <a:close/>
                  </a:path>
                </a:pathLst>
              </a:custGeom>
              <a:solidFill>
                <a:srgbClr val="001965"/>
              </a:solidFill>
              <a:ln>
                <a:noFill/>
              </a:ln>
            </p:spPr>
            <p:txBody>
              <a:bodyPr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24" name="Freeform 6"/>
              <p:cNvSpPr>
                <a:spLocks noEditPoints="1"/>
              </p:cNvSpPr>
              <p:nvPr/>
            </p:nvSpPr>
            <p:spPr bwMode="auto">
              <a:xfrm>
                <a:off x="1634217" y="3569297"/>
                <a:ext cx="411616" cy="484162"/>
              </a:xfrm>
              <a:custGeom>
                <a:avLst/>
                <a:gdLst>
                  <a:gd name="T0" fmla="*/ 1352 w 2264"/>
                  <a:gd name="T1" fmla="*/ 966 h 2658"/>
                  <a:gd name="T2" fmla="*/ 1352 w 2264"/>
                  <a:gd name="T3" fmla="*/ 966 h 2658"/>
                  <a:gd name="T4" fmla="*/ 1044 w 2264"/>
                  <a:gd name="T5" fmla="*/ 1110 h 2658"/>
                  <a:gd name="T6" fmla="*/ 777 w 2264"/>
                  <a:gd name="T7" fmla="*/ 1414 h 2658"/>
                  <a:gd name="T8" fmla="*/ 369 w 2264"/>
                  <a:gd name="T9" fmla="*/ 1482 h 2658"/>
                  <a:gd name="T10" fmla="*/ 261 w 2264"/>
                  <a:gd name="T11" fmla="*/ 1254 h 2658"/>
                  <a:gd name="T12" fmla="*/ 62 w 2264"/>
                  <a:gd name="T13" fmla="*/ 887 h 2658"/>
                  <a:gd name="T14" fmla="*/ 1032 w 2264"/>
                  <a:gd name="T15" fmla="*/ 63 h 2658"/>
                  <a:gd name="T16" fmla="*/ 1930 w 2264"/>
                  <a:gd name="T17" fmla="*/ 703 h 2658"/>
                  <a:gd name="T18" fmla="*/ 1352 w 2264"/>
                  <a:gd name="T19" fmla="*/ 966 h 2658"/>
                  <a:gd name="T20" fmla="*/ 2006 w 2264"/>
                  <a:gd name="T21" fmla="*/ 1016 h 2658"/>
                  <a:gd name="T22" fmla="*/ 2006 w 2264"/>
                  <a:gd name="T23" fmla="*/ 1016 h 2658"/>
                  <a:gd name="T24" fmla="*/ 2043 w 2264"/>
                  <a:gd name="T25" fmla="*/ 847 h 2658"/>
                  <a:gd name="T26" fmla="*/ 2015 w 2264"/>
                  <a:gd name="T27" fmla="*/ 631 h 2658"/>
                  <a:gd name="T28" fmla="*/ 1044 w 2264"/>
                  <a:gd name="T29" fmla="*/ 0 h 2658"/>
                  <a:gd name="T30" fmla="*/ 0 w 2264"/>
                  <a:gd name="T31" fmla="*/ 894 h 2658"/>
                  <a:gd name="T32" fmla="*/ 441 w 2264"/>
                  <a:gd name="T33" fmla="*/ 1677 h 2658"/>
                  <a:gd name="T34" fmla="*/ 399 w 2264"/>
                  <a:gd name="T35" fmla="*/ 2492 h 2658"/>
                  <a:gd name="T36" fmla="*/ 1064 w 2264"/>
                  <a:gd name="T37" fmla="*/ 2658 h 2658"/>
                  <a:gd name="T38" fmla="*/ 1381 w 2264"/>
                  <a:gd name="T39" fmla="*/ 2622 h 2658"/>
                  <a:gd name="T40" fmla="*/ 1407 w 2264"/>
                  <a:gd name="T41" fmla="*/ 2131 h 2658"/>
                  <a:gd name="T42" fmla="*/ 1880 w 2264"/>
                  <a:gd name="T43" fmla="*/ 2228 h 2658"/>
                  <a:gd name="T44" fmla="*/ 2039 w 2264"/>
                  <a:gd name="T45" fmla="*/ 2128 h 2658"/>
                  <a:gd name="T46" fmla="*/ 2039 w 2264"/>
                  <a:gd name="T47" fmla="*/ 1954 h 2658"/>
                  <a:gd name="T48" fmla="*/ 2090 w 2264"/>
                  <a:gd name="T49" fmla="*/ 1845 h 2658"/>
                  <a:gd name="T50" fmla="*/ 2074 w 2264"/>
                  <a:gd name="T51" fmla="*/ 1789 h 2658"/>
                  <a:gd name="T52" fmla="*/ 2124 w 2264"/>
                  <a:gd name="T53" fmla="*/ 1731 h 2658"/>
                  <a:gd name="T54" fmla="*/ 2101 w 2264"/>
                  <a:gd name="T55" fmla="*/ 1661 h 2658"/>
                  <a:gd name="T56" fmla="*/ 2106 w 2264"/>
                  <a:gd name="T57" fmla="*/ 1577 h 2658"/>
                  <a:gd name="T58" fmla="*/ 2223 w 2264"/>
                  <a:gd name="T59" fmla="*/ 1547 h 2658"/>
                  <a:gd name="T60" fmla="*/ 2263 w 2264"/>
                  <a:gd name="T61" fmla="*/ 1479 h 2658"/>
                  <a:gd name="T62" fmla="*/ 2006 w 2264"/>
                  <a:gd name="T63" fmla="*/ 1016 h 2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64" h="2658">
                    <a:moveTo>
                      <a:pt x="1352" y="966"/>
                    </a:moveTo>
                    <a:lnTo>
                      <a:pt x="1352" y="966"/>
                    </a:lnTo>
                    <a:cubicBezTo>
                      <a:pt x="1340" y="1062"/>
                      <a:pt x="1220" y="1190"/>
                      <a:pt x="1044" y="1110"/>
                    </a:cubicBezTo>
                    <a:cubicBezTo>
                      <a:pt x="1096" y="1214"/>
                      <a:pt x="949" y="1414"/>
                      <a:pt x="777" y="1414"/>
                    </a:cubicBezTo>
                    <a:cubicBezTo>
                      <a:pt x="733" y="1666"/>
                      <a:pt x="513" y="1626"/>
                      <a:pt x="369" y="1482"/>
                    </a:cubicBezTo>
                    <a:cubicBezTo>
                      <a:pt x="319" y="1432"/>
                      <a:pt x="261" y="1314"/>
                      <a:pt x="261" y="1254"/>
                    </a:cubicBezTo>
                    <a:cubicBezTo>
                      <a:pt x="206" y="1247"/>
                      <a:pt x="62" y="1195"/>
                      <a:pt x="62" y="887"/>
                    </a:cubicBezTo>
                    <a:cubicBezTo>
                      <a:pt x="62" y="439"/>
                      <a:pt x="325" y="63"/>
                      <a:pt x="1032" y="63"/>
                    </a:cubicBezTo>
                    <a:cubicBezTo>
                      <a:pt x="1528" y="63"/>
                      <a:pt x="1930" y="427"/>
                      <a:pt x="1930" y="703"/>
                    </a:cubicBezTo>
                    <a:cubicBezTo>
                      <a:pt x="1930" y="978"/>
                      <a:pt x="1652" y="986"/>
                      <a:pt x="1352" y="966"/>
                    </a:cubicBezTo>
                    <a:close/>
                    <a:moveTo>
                      <a:pt x="2006" y="1016"/>
                    </a:moveTo>
                    <a:lnTo>
                      <a:pt x="2006" y="1016"/>
                    </a:lnTo>
                    <a:cubicBezTo>
                      <a:pt x="2004" y="1002"/>
                      <a:pt x="2042" y="911"/>
                      <a:pt x="2043" y="847"/>
                    </a:cubicBezTo>
                    <a:cubicBezTo>
                      <a:pt x="2044" y="783"/>
                      <a:pt x="2030" y="689"/>
                      <a:pt x="2015" y="631"/>
                    </a:cubicBezTo>
                    <a:cubicBezTo>
                      <a:pt x="2001" y="574"/>
                      <a:pt x="1836" y="0"/>
                      <a:pt x="1044" y="0"/>
                    </a:cubicBezTo>
                    <a:cubicBezTo>
                      <a:pt x="233" y="0"/>
                      <a:pt x="0" y="411"/>
                      <a:pt x="0" y="894"/>
                    </a:cubicBezTo>
                    <a:cubicBezTo>
                      <a:pt x="0" y="1389"/>
                      <a:pt x="410" y="1557"/>
                      <a:pt x="441" y="1677"/>
                    </a:cubicBezTo>
                    <a:cubicBezTo>
                      <a:pt x="524" y="2005"/>
                      <a:pt x="476" y="2295"/>
                      <a:pt x="399" y="2492"/>
                    </a:cubicBezTo>
                    <a:cubicBezTo>
                      <a:pt x="597" y="2598"/>
                      <a:pt x="824" y="2658"/>
                      <a:pt x="1064" y="2658"/>
                    </a:cubicBezTo>
                    <a:cubicBezTo>
                      <a:pt x="1173" y="2658"/>
                      <a:pt x="1279" y="2645"/>
                      <a:pt x="1381" y="2622"/>
                    </a:cubicBezTo>
                    <a:cubicBezTo>
                      <a:pt x="1378" y="2404"/>
                      <a:pt x="1385" y="2153"/>
                      <a:pt x="1407" y="2131"/>
                    </a:cubicBezTo>
                    <a:cubicBezTo>
                      <a:pt x="1462" y="2147"/>
                      <a:pt x="1822" y="2227"/>
                      <a:pt x="1880" y="2228"/>
                    </a:cubicBezTo>
                    <a:cubicBezTo>
                      <a:pt x="1935" y="2229"/>
                      <a:pt x="2017" y="2228"/>
                      <a:pt x="2039" y="2128"/>
                    </a:cubicBezTo>
                    <a:cubicBezTo>
                      <a:pt x="2058" y="2041"/>
                      <a:pt x="2034" y="1972"/>
                      <a:pt x="2039" y="1954"/>
                    </a:cubicBezTo>
                    <a:cubicBezTo>
                      <a:pt x="2051" y="1914"/>
                      <a:pt x="2088" y="1861"/>
                      <a:pt x="2090" y="1845"/>
                    </a:cubicBezTo>
                    <a:cubicBezTo>
                      <a:pt x="2092" y="1829"/>
                      <a:pt x="2074" y="1789"/>
                      <a:pt x="2074" y="1789"/>
                    </a:cubicBezTo>
                    <a:cubicBezTo>
                      <a:pt x="2074" y="1789"/>
                      <a:pt x="2121" y="1752"/>
                      <a:pt x="2124" y="1731"/>
                    </a:cubicBezTo>
                    <a:cubicBezTo>
                      <a:pt x="2127" y="1709"/>
                      <a:pt x="2103" y="1669"/>
                      <a:pt x="2101" y="1661"/>
                    </a:cubicBezTo>
                    <a:cubicBezTo>
                      <a:pt x="2099" y="1653"/>
                      <a:pt x="2106" y="1577"/>
                      <a:pt x="2106" y="1577"/>
                    </a:cubicBezTo>
                    <a:cubicBezTo>
                      <a:pt x="2106" y="1577"/>
                      <a:pt x="2202" y="1559"/>
                      <a:pt x="2223" y="1547"/>
                    </a:cubicBezTo>
                    <a:cubicBezTo>
                      <a:pt x="2243" y="1535"/>
                      <a:pt x="2264" y="1495"/>
                      <a:pt x="2263" y="1479"/>
                    </a:cubicBezTo>
                    <a:cubicBezTo>
                      <a:pt x="2262" y="1464"/>
                      <a:pt x="2014" y="1085"/>
                      <a:pt x="2006" y="101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 flipH="1">
              <a:off x="987284" y="1672462"/>
              <a:ext cx="144000" cy="108000"/>
              <a:chOff x="95250" y="1284288"/>
              <a:chExt cx="571500" cy="492125"/>
            </a:xfrm>
            <a:solidFill>
              <a:schemeClr val="bg1"/>
            </a:solidFill>
          </p:grpSpPr>
          <p:sp>
            <p:nvSpPr>
              <p:cNvPr id="126" name="Freeform 92"/>
              <p:cNvSpPr>
                <a:spLocks/>
              </p:cNvSpPr>
              <p:nvPr/>
            </p:nvSpPr>
            <p:spPr bwMode="auto">
              <a:xfrm>
                <a:off x="328612" y="1384301"/>
                <a:ext cx="139700" cy="139700"/>
              </a:xfrm>
              <a:custGeom>
                <a:avLst/>
                <a:gdLst>
                  <a:gd name="T0" fmla="*/ 35 w 70"/>
                  <a:gd name="T1" fmla="*/ 0 h 70"/>
                  <a:gd name="T2" fmla="*/ 70 w 70"/>
                  <a:gd name="T3" fmla="*/ 35 h 70"/>
                  <a:gd name="T4" fmla="*/ 35 w 70"/>
                  <a:gd name="T5" fmla="*/ 70 h 70"/>
                  <a:gd name="T6" fmla="*/ 0 w 70"/>
                  <a:gd name="T7" fmla="*/ 35 h 70"/>
                  <a:gd name="T8" fmla="*/ 35 w 70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70">
                    <a:moveTo>
                      <a:pt x="35" y="0"/>
                    </a:moveTo>
                    <a:cubicBezTo>
                      <a:pt x="54" y="0"/>
                      <a:pt x="70" y="15"/>
                      <a:pt x="70" y="35"/>
                    </a:cubicBezTo>
                    <a:cubicBezTo>
                      <a:pt x="70" y="54"/>
                      <a:pt x="54" y="70"/>
                      <a:pt x="35" y="70"/>
                    </a:cubicBezTo>
                    <a:cubicBezTo>
                      <a:pt x="16" y="70"/>
                      <a:pt x="0" y="54"/>
                      <a:pt x="0" y="35"/>
                    </a:cubicBezTo>
                    <a:cubicBezTo>
                      <a:pt x="0" y="16"/>
                      <a:pt x="15" y="0"/>
                      <a:pt x="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27" name="Freeform 93"/>
              <p:cNvSpPr>
                <a:spLocks/>
              </p:cNvSpPr>
              <p:nvPr/>
            </p:nvSpPr>
            <p:spPr bwMode="auto">
              <a:xfrm>
                <a:off x="244475" y="1531938"/>
                <a:ext cx="130175" cy="244475"/>
              </a:xfrm>
              <a:custGeom>
                <a:avLst/>
                <a:gdLst>
                  <a:gd name="T0" fmla="*/ 0 w 65"/>
                  <a:gd name="T1" fmla="*/ 98 h 123"/>
                  <a:gd name="T2" fmla="*/ 24 w 65"/>
                  <a:gd name="T3" fmla="*/ 75 h 123"/>
                  <a:gd name="T4" fmla="*/ 28 w 65"/>
                  <a:gd name="T5" fmla="*/ 73 h 123"/>
                  <a:gd name="T6" fmla="*/ 55 w 65"/>
                  <a:gd name="T7" fmla="*/ 3 h 123"/>
                  <a:gd name="T8" fmla="*/ 59 w 65"/>
                  <a:gd name="T9" fmla="*/ 1 h 123"/>
                  <a:gd name="T10" fmla="*/ 63 w 65"/>
                  <a:gd name="T11" fmla="*/ 10 h 123"/>
                  <a:gd name="T12" fmla="*/ 38 w 65"/>
                  <a:gd name="T13" fmla="*/ 75 h 123"/>
                  <a:gd name="T14" fmla="*/ 39 w 65"/>
                  <a:gd name="T15" fmla="*/ 82 h 123"/>
                  <a:gd name="T16" fmla="*/ 45 w 65"/>
                  <a:gd name="T17" fmla="*/ 106 h 123"/>
                  <a:gd name="T18" fmla="*/ 26 w 65"/>
                  <a:gd name="T19" fmla="*/ 121 h 123"/>
                  <a:gd name="T20" fmla="*/ 0 w 65"/>
                  <a:gd name="T21" fmla="*/ 98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123">
                    <a:moveTo>
                      <a:pt x="0" y="98"/>
                    </a:moveTo>
                    <a:cubicBezTo>
                      <a:pt x="0" y="85"/>
                      <a:pt x="11" y="75"/>
                      <a:pt x="24" y="75"/>
                    </a:cubicBezTo>
                    <a:cubicBezTo>
                      <a:pt x="26" y="76"/>
                      <a:pt x="28" y="75"/>
                      <a:pt x="28" y="73"/>
                    </a:cubicBezTo>
                    <a:cubicBezTo>
                      <a:pt x="37" y="49"/>
                      <a:pt x="46" y="26"/>
                      <a:pt x="55" y="3"/>
                    </a:cubicBezTo>
                    <a:cubicBezTo>
                      <a:pt x="56" y="0"/>
                      <a:pt x="57" y="0"/>
                      <a:pt x="59" y="1"/>
                    </a:cubicBezTo>
                    <a:cubicBezTo>
                      <a:pt x="65" y="4"/>
                      <a:pt x="65" y="4"/>
                      <a:pt x="63" y="10"/>
                    </a:cubicBezTo>
                    <a:cubicBezTo>
                      <a:pt x="54" y="31"/>
                      <a:pt x="46" y="53"/>
                      <a:pt x="38" y="75"/>
                    </a:cubicBezTo>
                    <a:cubicBezTo>
                      <a:pt x="36" y="78"/>
                      <a:pt x="36" y="79"/>
                      <a:pt x="39" y="82"/>
                    </a:cubicBezTo>
                    <a:cubicBezTo>
                      <a:pt x="46" y="88"/>
                      <a:pt x="48" y="97"/>
                      <a:pt x="45" y="106"/>
                    </a:cubicBezTo>
                    <a:cubicBezTo>
                      <a:pt x="42" y="115"/>
                      <a:pt x="36" y="120"/>
                      <a:pt x="26" y="121"/>
                    </a:cubicBezTo>
                    <a:cubicBezTo>
                      <a:pt x="12" y="123"/>
                      <a:pt x="0" y="113"/>
                      <a:pt x="0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28" name="Freeform 94"/>
              <p:cNvSpPr>
                <a:spLocks/>
              </p:cNvSpPr>
              <p:nvPr/>
            </p:nvSpPr>
            <p:spPr bwMode="auto">
              <a:xfrm>
                <a:off x="466725" y="1493838"/>
                <a:ext cx="200025" cy="149225"/>
              </a:xfrm>
              <a:custGeom>
                <a:avLst/>
                <a:gdLst>
                  <a:gd name="T0" fmla="*/ 77 w 101"/>
                  <a:gd name="T1" fmla="*/ 74 h 75"/>
                  <a:gd name="T2" fmla="*/ 54 w 101"/>
                  <a:gd name="T3" fmla="*/ 46 h 75"/>
                  <a:gd name="T4" fmla="*/ 52 w 101"/>
                  <a:gd name="T5" fmla="*/ 41 h 75"/>
                  <a:gd name="T6" fmla="*/ 3 w 101"/>
                  <a:gd name="T7" fmla="*/ 9 h 75"/>
                  <a:gd name="T8" fmla="*/ 2 w 101"/>
                  <a:gd name="T9" fmla="*/ 5 h 75"/>
                  <a:gd name="T10" fmla="*/ 6 w 101"/>
                  <a:gd name="T11" fmla="*/ 0 h 75"/>
                  <a:gd name="T12" fmla="*/ 11 w 101"/>
                  <a:gd name="T13" fmla="*/ 3 h 75"/>
                  <a:gd name="T14" fmla="*/ 57 w 101"/>
                  <a:gd name="T15" fmla="*/ 33 h 75"/>
                  <a:gd name="T16" fmla="*/ 62 w 101"/>
                  <a:gd name="T17" fmla="*/ 33 h 75"/>
                  <a:gd name="T18" fmla="*/ 88 w 101"/>
                  <a:gd name="T19" fmla="*/ 31 h 75"/>
                  <a:gd name="T20" fmla="*/ 99 w 101"/>
                  <a:gd name="T21" fmla="*/ 55 h 75"/>
                  <a:gd name="T22" fmla="*/ 81 w 101"/>
                  <a:gd name="T23" fmla="*/ 74 h 75"/>
                  <a:gd name="T24" fmla="*/ 77 w 101"/>
                  <a:gd name="T25" fmla="*/ 7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1" h="75">
                    <a:moveTo>
                      <a:pt x="77" y="74"/>
                    </a:moveTo>
                    <a:cubicBezTo>
                      <a:pt x="61" y="75"/>
                      <a:pt x="50" y="60"/>
                      <a:pt x="54" y="46"/>
                    </a:cubicBezTo>
                    <a:cubicBezTo>
                      <a:pt x="54" y="43"/>
                      <a:pt x="54" y="42"/>
                      <a:pt x="52" y="41"/>
                    </a:cubicBezTo>
                    <a:cubicBezTo>
                      <a:pt x="35" y="30"/>
                      <a:pt x="19" y="20"/>
                      <a:pt x="3" y="9"/>
                    </a:cubicBezTo>
                    <a:cubicBezTo>
                      <a:pt x="1" y="8"/>
                      <a:pt x="0" y="7"/>
                      <a:pt x="2" y="5"/>
                    </a:cubicBezTo>
                    <a:cubicBezTo>
                      <a:pt x="4" y="3"/>
                      <a:pt x="4" y="0"/>
                      <a:pt x="6" y="0"/>
                    </a:cubicBezTo>
                    <a:cubicBezTo>
                      <a:pt x="7" y="0"/>
                      <a:pt x="9" y="2"/>
                      <a:pt x="11" y="3"/>
                    </a:cubicBezTo>
                    <a:cubicBezTo>
                      <a:pt x="26" y="13"/>
                      <a:pt x="42" y="23"/>
                      <a:pt x="57" y="33"/>
                    </a:cubicBezTo>
                    <a:cubicBezTo>
                      <a:pt x="59" y="34"/>
                      <a:pt x="60" y="35"/>
                      <a:pt x="62" y="33"/>
                    </a:cubicBezTo>
                    <a:cubicBezTo>
                      <a:pt x="68" y="27"/>
                      <a:pt x="82" y="27"/>
                      <a:pt x="88" y="31"/>
                    </a:cubicBezTo>
                    <a:cubicBezTo>
                      <a:pt x="96" y="37"/>
                      <a:pt x="101" y="46"/>
                      <a:pt x="99" y="55"/>
                    </a:cubicBezTo>
                    <a:cubicBezTo>
                      <a:pt x="98" y="64"/>
                      <a:pt x="91" y="72"/>
                      <a:pt x="81" y="74"/>
                    </a:cubicBezTo>
                    <a:cubicBezTo>
                      <a:pt x="80" y="74"/>
                      <a:pt x="78" y="74"/>
                      <a:pt x="77" y="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29" name="Freeform 95"/>
              <p:cNvSpPr>
                <a:spLocks/>
              </p:cNvSpPr>
              <p:nvPr/>
            </p:nvSpPr>
            <p:spPr bwMode="auto">
              <a:xfrm>
                <a:off x="95250" y="1463676"/>
                <a:ext cx="219075" cy="98425"/>
              </a:xfrm>
              <a:custGeom>
                <a:avLst/>
                <a:gdLst>
                  <a:gd name="T0" fmla="*/ 31 w 110"/>
                  <a:gd name="T1" fmla="*/ 2 h 49"/>
                  <a:gd name="T2" fmla="*/ 47 w 110"/>
                  <a:gd name="T3" fmla="*/ 13 h 49"/>
                  <a:gd name="T4" fmla="*/ 51 w 110"/>
                  <a:gd name="T5" fmla="*/ 14 h 49"/>
                  <a:gd name="T6" fmla="*/ 105 w 110"/>
                  <a:gd name="T7" fmla="*/ 1 h 49"/>
                  <a:gd name="T8" fmla="*/ 108 w 110"/>
                  <a:gd name="T9" fmla="*/ 3 h 49"/>
                  <a:gd name="T10" fmla="*/ 110 w 110"/>
                  <a:gd name="T11" fmla="*/ 9 h 49"/>
                  <a:gd name="T12" fmla="*/ 103 w 110"/>
                  <a:gd name="T13" fmla="*/ 11 h 49"/>
                  <a:gd name="T14" fmla="*/ 54 w 110"/>
                  <a:gd name="T15" fmla="*/ 23 h 49"/>
                  <a:gd name="T16" fmla="*/ 50 w 110"/>
                  <a:gd name="T17" fmla="*/ 27 h 49"/>
                  <a:gd name="T18" fmla="*/ 30 w 110"/>
                  <a:gd name="T19" fmla="*/ 48 h 49"/>
                  <a:gd name="T20" fmla="*/ 5 w 110"/>
                  <a:gd name="T21" fmla="*/ 33 h 49"/>
                  <a:gd name="T22" fmla="*/ 31 w 110"/>
                  <a:gd name="T23" fmla="*/ 2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0" h="49">
                    <a:moveTo>
                      <a:pt x="31" y="2"/>
                    </a:moveTo>
                    <a:cubicBezTo>
                      <a:pt x="36" y="2"/>
                      <a:pt x="43" y="6"/>
                      <a:pt x="47" y="13"/>
                    </a:cubicBezTo>
                    <a:cubicBezTo>
                      <a:pt x="48" y="15"/>
                      <a:pt x="49" y="15"/>
                      <a:pt x="51" y="14"/>
                    </a:cubicBezTo>
                    <a:cubicBezTo>
                      <a:pt x="69" y="10"/>
                      <a:pt x="87" y="6"/>
                      <a:pt x="105" y="1"/>
                    </a:cubicBezTo>
                    <a:cubicBezTo>
                      <a:pt x="108" y="0"/>
                      <a:pt x="108" y="1"/>
                      <a:pt x="108" y="3"/>
                    </a:cubicBezTo>
                    <a:cubicBezTo>
                      <a:pt x="109" y="5"/>
                      <a:pt x="110" y="8"/>
                      <a:pt x="110" y="9"/>
                    </a:cubicBezTo>
                    <a:cubicBezTo>
                      <a:pt x="108" y="11"/>
                      <a:pt x="105" y="11"/>
                      <a:pt x="103" y="11"/>
                    </a:cubicBezTo>
                    <a:cubicBezTo>
                      <a:pt x="87" y="15"/>
                      <a:pt x="70" y="19"/>
                      <a:pt x="54" y="23"/>
                    </a:cubicBezTo>
                    <a:cubicBezTo>
                      <a:pt x="51" y="24"/>
                      <a:pt x="51" y="25"/>
                      <a:pt x="50" y="27"/>
                    </a:cubicBezTo>
                    <a:cubicBezTo>
                      <a:pt x="49" y="39"/>
                      <a:pt x="41" y="47"/>
                      <a:pt x="30" y="48"/>
                    </a:cubicBezTo>
                    <a:cubicBezTo>
                      <a:pt x="19" y="49"/>
                      <a:pt x="9" y="43"/>
                      <a:pt x="5" y="33"/>
                    </a:cubicBezTo>
                    <a:cubicBezTo>
                      <a:pt x="0" y="18"/>
                      <a:pt x="11" y="2"/>
                      <a:pt x="3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30" name="Freeform 96"/>
              <p:cNvSpPr>
                <a:spLocks/>
              </p:cNvSpPr>
              <p:nvPr/>
            </p:nvSpPr>
            <p:spPr bwMode="auto">
              <a:xfrm>
                <a:off x="185737" y="1284288"/>
                <a:ext cx="149225" cy="123825"/>
              </a:xfrm>
              <a:custGeom>
                <a:avLst/>
                <a:gdLst>
                  <a:gd name="T0" fmla="*/ 48 w 75"/>
                  <a:gd name="T1" fmla="*/ 24 h 62"/>
                  <a:gd name="T2" fmla="*/ 47 w 75"/>
                  <a:gd name="T3" fmla="*/ 31 h 62"/>
                  <a:gd name="T4" fmla="*/ 48 w 75"/>
                  <a:gd name="T5" fmla="*/ 35 h 62"/>
                  <a:gd name="T6" fmla="*/ 73 w 75"/>
                  <a:gd name="T7" fmla="*/ 53 h 62"/>
                  <a:gd name="T8" fmla="*/ 73 w 75"/>
                  <a:gd name="T9" fmla="*/ 57 h 62"/>
                  <a:gd name="T10" fmla="*/ 72 w 75"/>
                  <a:gd name="T11" fmla="*/ 59 h 62"/>
                  <a:gd name="T12" fmla="*/ 65 w 75"/>
                  <a:gd name="T13" fmla="*/ 60 h 62"/>
                  <a:gd name="T14" fmla="*/ 42 w 75"/>
                  <a:gd name="T15" fmla="*/ 42 h 62"/>
                  <a:gd name="T16" fmla="*/ 38 w 75"/>
                  <a:gd name="T17" fmla="*/ 42 h 62"/>
                  <a:gd name="T18" fmla="*/ 11 w 75"/>
                  <a:gd name="T19" fmla="*/ 42 h 62"/>
                  <a:gd name="T20" fmla="*/ 3 w 75"/>
                  <a:gd name="T21" fmla="*/ 17 h 62"/>
                  <a:gd name="T22" fmla="*/ 24 w 75"/>
                  <a:gd name="T23" fmla="*/ 0 h 62"/>
                  <a:gd name="T24" fmla="*/ 48 w 75"/>
                  <a:gd name="T25" fmla="*/ 2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62">
                    <a:moveTo>
                      <a:pt x="48" y="24"/>
                    </a:moveTo>
                    <a:cubicBezTo>
                      <a:pt x="48" y="26"/>
                      <a:pt x="48" y="29"/>
                      <a:pt x="47" y="31"/>
                    </a:cubicBezTo>
                    <a:cubicBezTo>
                      <a:pt x="46" y="33"/>
                      <a:pt x="47" y="34"/>
                      <a:pt x="48" y="35"/>
                    </a:cubicBezTo>
                    <a:cubicBezTo>
                      <a:pt x="56" y="41"/>
                      <a:pt x="64" y="47"/>
                      <a:pt x="73" y="53"/>
                    </a:cubicBezTo>
                    <a:cubicBezTo>
                      <a:pt x="74" y="54"/>
                      <a:pt x="75" y="55"/>
                      <a:pt x="73" y="57"/>
                    </a:cubicBezTo>
                    <a:cubicBezTo>
                      <a:pt x="73" y="57"/>
                      <a:pt x="72" y="58"/>
                      <a:pt x="72" y="59"/>
                    </a:cubicBezTo>
                    <a:cubicBezTo>
                      <a:pt x="69" y="62"/>
                      <a:pt x="69" y="62"/>
                      <a:pt x="65" y="60"/>
                    </a:cubicBezTo>
                    <a:cubicBezTo>
                      <a:pt x="58" y="54"/>
                      <a:pt x="50" y="48"/>
                      <a:pt x="42" y="42"/>
                    </a:cubicBezTo>
                    <a:cubicBezTo>
                      <a:pt x="41" y="41"/>
                      <a:pt x="40" y="41"/>
                      <a:pt x="38" y="42"/>
                    </a:cubicBezTo>
                    <a:cubicBezTo>
                      <a:pt x="30" y="48"/>
                      <a:pt x="19" y="48"/>
                      <a:pt x="11" y="42"/>
                    </a:cubicBezTo>
                    <a:cubicBezTo>
                      <a:pt x="3" y="37"/>
                      <a:pt x="0" y="27"/>
                      <a:pt x="3" y="17"/>
                    </a:cubicBezTo>
                    <a:cubicBezTo>
                      <a:pt x="5" y="7"/>
                      <a:pt x="14" y="1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  <p:sp>
            <p:nvSpPr>
              <p:cNvPr id="131" name="Freeform 97"/>
              <p:cNvSpPr>
                <a:spLocks/>
              </p:cNvSpPr>
              <p:nvPr/>
            </p:nvSpPr>
            <p:spPr bwMode="auto">
              <a:xfrm>
                <a:off x="468312" y="1300163"/>
                <a:ext cx="147638" cy="115888"/>
              </a:xfrm>
              <a:custGeom>
                <a:avLst/>
                <a:gdLst>
                  <a:gd name="T0" fmla="*/ 74 w 74"/>
                  <a:gd name="T1" fmla="*/ 27 h 58"/>
                  <a:gd name="T2" fmla="*/ 61 w 74"/>
                  <a:gd name="T3" fmla="*/ 46 h 58"/>
                  <a:gd name="T4" fmla="*/ 36 w 74"/>
                  <a:gd name="T5" fmla="*/ 42 h 58"/>
                  <a:gd name="T6" fmla="*/ 31 w 74"/>
                  <a:gd name="T7" fmla="*/ 42 h 58"/>
                  <a:gd name="T8" fmla="*/ 6 w 74"/>
                  <a:gd name="T9" fmla="*/ 57 h 58"/>
                  <a:gd name="T10" fmla="*/ 3 w 74"/>
                  <a:gd name="T11" fmla="*/ 56 h 58"/>
                  <a:gd name="T12" fmla="*/ 0 w 74"/>
                  <a:gd name="T13" fmla="*/ 50 h 58"/>
                  <a:gd name="T14" fmla="*/ 6 w 74"/>
                  <a:gd name="T15" fmla="*/ 46 h 58"/>
                  <a:gd name="T16" fmla="*/ 27 w 74"/>
                  <a:gd name="T17" fmla="*/ 34 h 58"/>
                  <a:gd name="T18" fmla="*/ 29 w 74"/>
                  <a:gd name="T19" fmla="*/ 30 h 58"/>
                  <a:gd name="T20" fmla="*/ 47 w 74"/>
                  <a:gd name="T21" fmla="*/ 2 h 58"/>
                  <a:gd name="T22" fmla="*/ 74 w 74"/>
                  <a:gd name="T23" fmla="*/ 2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58">
                    <a:moveTo>
                      <a:pt x="74" y="27"/>
                    </a:moveTo>
                    <a:cubicBezTo>
                      <a:pt x="74" y="35"/>
                      <a:pt x="70" y="42"/>
                      <a:pt x="61" y="46"/>
                    </a:cubicBezTo>
                    <a:cubicBezTo>
                      <a:pt x="52" y="50"/>
                      <a:pt x="43" y="49"/>
                      <a:pt x="36" y="42"/>
                    </a:cubicBezTo>
                    <a:cubicBezTo>
                      <a:pt x="34" y="41"/>
                      <a:pt x="33" y="41"/>
                      <a:pt x="31" y="42"/>
                    </a:cubicBezTo>
                    <a:cubicBezTo>
                      <a:pt x="23" y="47"/>
                      <a:pt x="15" y="52"/>
                      <a:pt x="6" y="57"/>
                    </a:cubicBezTo>
                    <a:cubicBezTo>
                      <a:pt x="5" y="58"/>
                      <a:pt x="4" y="58"/>
                      <a:pt x="3" y="56"/>
                    </a:cubicBezTo>
                    <a:cubicBezTo>
                      <a:pt x="2" y="54"/>
                      <a:pt x="0" y="51"/>
                      <a:pt x="0" y="50"/>
                    </a:cubicBezTo>
                    <a:cubicBezTo>
                      <a:pt x="1" y="48"/>
                      <a:pt x="4" y="47"/>
                      <a:pt x="6" y="46"/>
                    </a:cubicBezTo>
                    <a:cubicBezTo>
                      <a:pt x="13" y="42"/>
                      <a:pt x="20" y="38"/>
                      <a:pt x="27" y="34"/>
                    </a:cubicBezTo>
                    <a:cubicBezTo>
                      <a:pt x="28" y="33"/>
                      <a:pt x="29" y="32"/>
                      <a:pt x="29" y="30"/>
                    </a:cubicBezTo>
                    <a:cubicBezTo>
                      <a:pt x="26" y="17"/>
                      <a:pt x="34" y="4"/>
                      <a:pt x="47" y="2"/>
                    </a:cubicBezTo>
                    <a:cubicBezTo>
                      <a:pt x="63" y="0"/>
                      <a:pt x="74" y="11"/>
                      <a:pt x="74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001965"/>
                  </a:solidFill>
                  <a:latin typeface="Verdana" pitchFamily="34" charset="0"/>
                  <a:cs typeface="Arial" charset="0"/>
                </a:endParaRPr>
              </a:p>
            </p:txBody>
          </p:sp>
        </p:grpSp>
      </p:grpSp>
      <p:cxnSp>
        <p:nvCxnSpPr>
          <p:cNvPr id="150" name="Straight Arrow Connector 149"/>
          <p:cNvCxnSpPr/>
          <p:nvPr/>
        </p:nvCxnSpPr>
        <p:spPr>
          <a:xfrm flipH="1">
            <a:off x="5804293" y="3672103"/>
            <a:ext cx="2915411" cy="10381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2246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42" grpId="0"/>
      <p:bldP spid="28" grpId="0"/>
      <p:bldP spid="49" grpId="0"/>
      <p:bldP spid="31" grpId="0"/>
      <p:bldP spid="58" grpId="0"/>
      <p:bldP spid="23" grpId="0"/>
      <p:bldP spid="13" grpId="0"/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extBox 95"/>
          <p:cNvSpPr txBox="1"/>
          <p:nvPr/>
        </p:nvSpPr>
        <p:spPr>
          <a:xfrm>
            <a:off x="438578" y="6252040"/>
            <a:ext cx="11275057" cy="453584"/>
          </a:xfrm>
          <a:prstGeom prst="rect">
            <a:avLst/>
          </a:prstGeom>
          <a:noFill/>
        </p:spPr>
        <p:txBody>
          <a:bodyPr wrap="square" lIns="120224" tIns="61975" rIns="120224" bIns="61975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*At an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ad libitum 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lunch during GLP-1 or saline infusion in 19 healthy normal-weight male subjects. Data are mean ± SEM. GLP-1, glucagon-like peptide-1; SEM, standard error of mean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2" y="6570743"/>
            <a:ext cx="4224655" cy="289373"/>
          </a:xfrm>
          <a:prstGeom prst="rect">
            <a:avLst/>
          </a:prstGeom>
          <a:noFill/>
        </p:spPr>
        <p:txBody>
          <a:bodyPr wrap="none" lIns="120224" tIns="61975" rIns="120224" bIns="61975" rtlCol="0">
            <a:sp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Adapted from: Flint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J Clin Invest 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1998;101:515–20 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idx="1"/>
          </p:nvPr>
        </p:nvSpPr>
        <p:spPr>
          <a:xfrm>
            <a:off x="422400" y="1749634"/>
            <a:ext cx="11347200" cy="527903"/>
          </a:xfrm>
        </p:spPr>
        <p:txBody>
          <a:bodyPr/>
          <a:lstStyle/>
          <a:p>
            <a:r>
              <a:rPr lang="en-GB" sz="1867" dirty="0">
                <a:solidFill>
                  <a:srgbClr val="001965"/>
                </a:solidFill>
                <a:ea typeface="ヒラギノ角ゴ ProN W3"/>
                <a:cs typeface="Helvetica" pitchFamily="34" charset="0"/>
              </a:rPr>
              <a:t>Infusion increased plasma GLP-1 from 10 pmol/L to 60–90 pmol/L</a:t>
            </a:r>
          </a:p>
        </p:txBody>
      </p:sp>
      <p:sp>
        <p:nvSpPr>
          <p:cNvPr id="23554" name="Title 5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kern="0" dirty="0">
                <a:solidFill>
                  <a:srgbClr val="001965"/>
                </a:solidFill>
                <a:cs typeface="Arial" charset="0"/>
              </a:rPr>
              <a:t>GLP-1 increases satiety and reduces hunger </a:t>
            </a:r>
            <a:br>
              <a:rPr lang="en-GB" kern="0" dirty="0">
                <a:solidFill>
                  <a:srgbClr val="001965"/>
                </a:solidFill>
                <a:cs typeface="Arial" charset="0"/>
              </a:rPr>
            </a:br>
            <a:r>
              <a:rPr lang="en-GB" sz="1867" b="0" kern="0" dirty="0">
                <a:solidFill>
                  <a:srgbClr val="009FDA"/>
                </a:solidFill>
                <a:cs typeface="Arial" charset="0"/>
              </a:rPr>
              <a:t>In normal weight subjects</a:t>
            </a:r>
            <a:endParaRPr lang="en-GB" sz="1867" b="0" dirty="0">
              <a:solidFill>
                <a:srgbClr val="009FDA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717861" y="2269698"/>
            <a:ext cx="3625889" cy="775138"/>
            <a:chOff x="5282096" y="929300"/>
            <a:chExt cx="3702447" cy="686732"/>
          </a:xfrm>
        </p:grpSpPr>
        <p:sp>
          <p:nvSpPr>
            <p:cNvPr id="70660" name="TextBox 559"/>
            <p:cNvSpPr txBox="1">
              <a:spLocks noChangeArrowheads="1"/>
            </p:cNvSpPr>
            <p:nvPr/>
          </p:nvSpPr>
          <p:spPr bwMode="auto">
            <a:xfrm>
              <a:off x="5502759" y="1370625"/>
              <a:ext cx="1470219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i="1" dirty="0">
                  <a:solidFill>
                    <a:srgbClr val="002060"/>
                  </a:solidFill>
                </a:rPr>
                <a:t>Ad libitum </a:t>
              </a:r>
              <a:r>
                <a:rPr lang="en-GB" sz="1200" dirty="0">
                  <a:solidFill>
                    <a:srgbClr val="002060"/>
                  </a:solidFill>
                </a:rPr>
                <a:t>lunch</a:t>
              </a:r>
            </a:p>
          </p:txBody>
        </p:sp>
        <p:sp>
          <p:nvSpPr>
            <p:cNvPr id="70663" name="TextBox 559"/>
            <p:cNvSpPr txBox="1">
              <a:spLocks noChangeArrowheads="1"/>
            </p:cNvSpPr>
            <p:nvPr/>
          </p:nvSpPr>
          <p:spPr bwMode="auto">
            <a:xfrm>
              <a:off x="5502759" y="1145200"/>
              <a:ext cx="3481784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</a:rPr>
                <a:t>GLP-1 infusion 50 pmol/kg/h OR saline</a:t>
              </a:r>
            </a:p>
          </p:txBody>
        </p:sp>
        <p:sp>
          <p:nvSpPr>
            <p:cNvPr id="70664" name="Line 111"/>
            <p:cNvSpPr>
              <a:spLocks noChangeShapeType="1"/>
            </p:cNvSpPr>
            <p:nvPr/>
          </p:nvSpPr>
          <p:spPr bwMode="auto">
            <a:xfrm>
              <a:off x="5282096" y="1278384"/>
              <a:ext cx="250825" cy="0"/>
            </a:xfrm>
            <a:prstGeom prst="line">
              <a:avLst/>
            </a:prstGeom>
            <a:noFill/>
            <a:ln w="22225">
              <a:solidFill>
                <a:schemeClr val="accent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66" name="Rectangle 286"/>
            <p:cNvSpPr>
              <a:spLocks noChangeArrowheads="1"/>
            </p:cNvSpPr>
            <p:nvPr/>
          </p:nvSpPr>
          <p:spPr bwMode="auto">
            <a:xfrm>
              <a:off x="5502759" y="929300"/>
              <a:ext cx="551946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 pitchFamily="34" charset="0"/>
                  <a:cs typeface="Arial" charset="0"/>
                </a:rPr>
                <a:t>Meal</a:t>
              </a:r>
            </a:p>
          </p:txBody>
        </p:sp>
      </p:grpSp>
      <p:sp>
        <p:nvSpPr>
          <p:cNvPr id="70730" name="Text Box 1056"/>
          <p:cNvSpPr txBox="1">
            <a:spLocks noChangeArrowheads="1"/>
          </p:cNvSpPr>
          <p:nvPr/>
        </p:nvSpPr>
        <p:spPr bwMode="auto">
          <a:xfrm>
            <a:off x="5646036" y="5687856"/>
            <a:ext cx="1201605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Time (min)</a:t>
            </a:r>
          </a:p>
        </p:txBody>
      </p:sp>
      <p:sp>
        <p:nvSpPr>
          <p:cNvPr id="70717" name="Text Box 25"/>
          <p:cNvSpPr txBox="1">
            <a:spLocks noChangeArrowheads="1"/>
          </p:cNvSpPr>
          <p:nvPr/>
        </p:nvSpPr>
        <p:spPr bwMode="auto">
          <a:xfrm>
            <a:off x="4508631" y="5111914"/>
            <a:ext cx="355219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0</a:t>
            </a:r>
          </a:p>
        </p:txBody>
      </p:sp>
      <p:sp>
        <p:nvSpPr>
          <p:cNvPr id="70718" name="Text Box 26"/>
          <p:cNvSpPr txBox="1">
            <a:spLocks noChangeArrowheads="1"/>
          </p:cNvSpPr>
          <p:nvPr/>
        </p:nvSpPr>
        <p:spPr bwMode="auto">
          <a:xfrm>
            <a:off x="4399623" y="4713291"/>
            <a:ext cx="464224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20</a:t>
            </a:r>
          </a:p>
        </p:txBody>
      </p:sp>
      <p:sp>
        <p:nvSpPr>
          <p:cNvPr id="70719" name="Text Box 27"/>
          <p:cNvSpPr txBox="1">
            <a:spLocks noChangeArrowheads="1"/>
          </p:cNvSpPr>
          <p:nvPr/>
        </p:nvSpPr>
        <p:spPr bwMode="auto">
          <a:xfrm>
            <a:off x="4399623" y="4314667"/>
            <a:ext cx="464224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40</a:t>
            </a:r>
          </a:p>
        </p:txBody>
      </p:sp>
      <p:sp>
        <p:nvSpPr>
          <p:cNvPr id="70720" name="Text Box 28"/>
          <p:cNvSpPr txBox="1">
            <a:spLocks noChangeArrowheads="1"/>
          </p:cNvSpPr>
          <p:nvPr/>
        </p:nvSpPr>
        <p:spPr bwMode="auto">
          <a:xfrm>
            <a:off x="4399623" y="3916042"/>
            <a:ext cx="464224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60</a:t>
            </a:r>
          </a:p>
        </p:txBody>
      </p:sp>
      <p:sp>
        <p:nvSpPr>
          <p:cNvPr id="70721" name="Text Box 29"/>
          <p:cNvSpPr txBox="1">
            <a:spLocks noChangeArrowheads="1"/>
          </p:cNvSpPr>
          <p:nvPr/>
        </p:nvSpPr>
        <p:spPr bwMode="auto">
          <a:xfrm>
            <a:off x="4399623" y="3517418"/>
            <a:ext cx="464224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80</a:t>
            </a:r>
          </a:p>
        </p:txBody>
      </p:sp>
      <p:sp>
        <p:nvSpPr>
          <p:cNvPr id="70722" name="Text Box 30"/>
          <p:cNvSpPr txBox="1">
            <a:spLocks noChangeArrowheads="1"/>
          </p:cNvSpPr>
          <p:nvPr/>
        </p:nvSpPr>
        <p:spPr bwMode="auto">
          <a:xfrm>
            <a:off x="4290619" y="3118794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100</a:t>
            </a:r>
          </a:p>
        </p:txBody>
      </p:sp>
      <p:sp>
        <p:nvSpPr>
          <p:cNvPr id="70729" name="Text Box 222"/>
          <p:cNvSpPr txBox="1">
            <a:spLocks noChangeArrowheads="1"/>
          </p:cNvSpPr>
          <p:nvPr/>
        </p:nvSpPr>
        <p:spPr bwMode="auto">
          <a:xfrm rot="16200000">
            <a:off x="3581621" y="4103800"/>
            <a:ext cx="1477321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</a:rPr>
              <a:t> Hunger (mm)</a:t>
            </a:r>
          </a:p>
        </p:txBody>
      </p:sp>
      <p:sp>
        <p:nvSpPr>
          <p:cNvPr id="70733" name="Line 11"/>
          <p:cNvSpPr>
            <a:spLocks noChangeShapeType="1"/>
          </p:cNvSpPr>
          <p:nvPr/>
        </p:nvSpPr>
        <p:spPr bwMode="auto">
          <a:xfrm flipV="1">
            <a:off x="4805113" y="3284255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4" name="Line 12"/>
          <p:cNvSpPr>
            <a:spLocks noChangeShapeType="1"/>
          </p:cNvSpPr>
          <p:nvPr/>
        </p:nvSpPr>
        <p:spPr bwMode="auto">
          <a:xfrm flipV="1">
            <a:off x="4805113" y="3682972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5" name="Line 13"/>
          <p:cNvSpPr>
            <a:spLocks noChangeShapeType="1"/>
          </p:cNvSpPr>
          <p:nvPr/>
        </p:nvSpPr>
        <p:spPr bwMode="auto">
          <a:xfrm flipV="1">
            <a:off x="4805113" y="4081689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6" name="Line 14"/>
          <p:cNvSpPr>
            <a:spLocks noChangeShapeType="1"/>
          </p:cNvSpPr>
          <p:nvPr/>
        </p:nvSpPr>
        <p:spPr bwMode="auto">
          <a:xfrm flipV="1">
            <a:off x="4805113" y="4480405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7" name="Line 15"/>
          <p:cNvSpPr>
            <a:spLocks noChangeShapeType="1"/>
          </p:cNvSpPr>
          <p:nvPr/>
        </p:nvSpPr>
        <p:spPr bwMode="auto">
          <a:xfrm flipV="1">
            <a:off x="4805113" y="4879123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8" name="Line 18"/>
          <p:cNvSpPr>
            <a:spLocks noChangeShapeType="1"/>
          </p:cNvSpPr>
          <p:nvPr/>
        </p:nvSpPr>
        <p:spPr bwMode="auto">
          <a:xfrm rot="5400000" flipV="1">
            <a:off x="6853980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9" name="Line 19"/>
          <p:cNvSpPr>
            <a:spLocks noChangeShapeType="1"/>
          </p:cNvSpPr>
          <p:nvPr/>
        </p:nvSpPr>
        <p:spPr bwMode="auto">
          <a:xfrm rot="5400000" flipV="1">
            <a:off x="6412303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40" name="Line 20"/>
          <p:cNvSpPr>
            <a:spLocks noChangeShapeType="1"/>
          </p:cNvSpPr>
          <p:nvPr/>
        </p:nvSpPr>
        <p:spPr bwMode="auto">
          <a:xfrm rot="5400000" flipV="1">
            <a:off x="5970623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41" name="Line 21"/>
          <p:cNvSpPr>
            <a:spLocks noChangeShapeType="1"/>
          </p:cNvSpPr>
          <p:nvPr/>
        </p:nvSpPr>
        <p:spPr bwMode="auto">
          <a:xfrm rot="5400000" flipV="1">
            <a:off x="5530019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42" name="Line 22"/>
          <p:cNvSpPr>
            <a:spLocks noChangeShapeType="1"/>
          </p:cNvSpPr>
          <p:nvPr/>
        </p:nvSpPr>
        <p:spPr bwMode="auto">
          <a:xfrm rot="5400000" flipV="1">
            <a:off x="5074368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43" name="Line 23"/>
          <p:cNvSpPr>
            <a:spLocks noChangeShapeType="1"/>
          </p:cNvSpPr>
          <p:nvPr/>
        </p:nvSpPr>
        <p:spPr bwMode="auto">
          <a:xfrm rot="5400000" flipV="1">
            <a:off x="7779464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44" name="Line 24"/>
          <p:cNvSpPr>
            <a:spLocks noChangeShapeType="1"/>
          </p:cNvSpPr>
          <p:nvPr/>
        </p:nvSpPr>
        <p:spPr bwMode="auto">
          <a:xfrm rot="5400000" flipV="1">
            <a:off x="7316078" y="5319601"/>
            <a:ext cx="8126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16" name="Text Box 31"/>
          <p:cNvSpPr txBox="1">
            <a:spLocks noChangeArrowheads="1"/>
          </p:cNvSpPr>
          <p:nvPr/>
        </p:nvSpPr>
        <p:spPr bwMode="auto">
          <a:xfrm>
            <a:off x="7531257" y="5329919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360</a:t>
            </a:r>
          </a:p>
        </p:txBody>
      </p:sp>
      <p:sp>
        <p:nvSpPr>
          <p:cNvPr id="70723" name="Text Box 32"/>
          <p:cNvSpPr txBox="1">
            <a:spLocks noChangeArrowheads="1"/>
          </p:cNvSpPr>
          <p:nvPr/>
        </p:nvSpPr>
        <p:spPr bwMode="auto">
          <a:xfrm>
            <a:off x="7073017" y="5329919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300</a:t>
            </a:r>
          </a:p>
        </p:txBody>
      </p:sp>
      <p:sp>
        <p:nvSpPr>
          <p:cNvPr id="70724" name="Text Box 33"/>
          <p:cNvSpPr txBox="1">
            <a:spLocks noChangeArrowheads="1"/>
          </p:cNvSpPr>
          <p:nvPr/>
        </p:nvSpPr>
        <p:spPr bwMode="auto">
          <a:xfrm>
            <a:off x="6608195" y="5329919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240</a:t>
            </a:r>
          </a:p>
        </p:txBody>
      </p:sp>
      <p:sp>
        <p:nvSpPr>
          <p:cNvPr id="70725" name="Text Box 34"/>
          <p:cNvSpPr txBox="1">
            <a:spLocks noChangeArrowheads="1"/>
          </p:cNvSpPr>
          <p:nvPr/>
        </p:nvSpPr>
        <p:spPr bwMode="auto">
          <a:xfrm>
            <a:off x="6164427" y="5329919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180</a:t>
            </a:r>
          </a:p>
        </p:txBody>
      </p:sp>
      <p:sp>
        <p:nvSpPr>
          <p:cNvPr id="70726" name="Text Box 35"/>
          <p:cNvSpPr txBox="1">
            <a:spLocks noChangeArrowheads="1"/>
          </p:cNvSpPr>
          <p:nvPr/>
        </p:nvSpPr>
        <p:spPr bwMode="auto">
          <a:xfrm>
            <a:off x="5724539" y="5329919"/>
            <a:ext cx="573228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120</a:t>
            </a:r>
          </a:p>
        </p:txBody>
      </p:sp>
      <p:sp>
        <p:nvSpPr>
          <p:cNvPr id="70727" name="Text Box 36"/>
          <p:cNvSpPr txBox="1">
            <a:spLocks noChangeArrowheads="1"/>
          </p:cNvSpPr>
          <p:nvPr/>
        </p:nvSpPr>
        <p:spPr bwMode="auto">
          <a:xfrm>
            <a:off x="5338150" y="5329919"/>
            <a:ext cx="464224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60</a:t>
            </a:r>
          </a:p>
        </p:txBody>
      </p:sp>
      <p:sp>
        <p:nvSpPr>
          <p:cNvPr id="70728" name="Text Box 37"/>
          <p:cNvSpPr txBox="1">
            <a:spLocks noChangeArrowheads="1"/>
          </p:cNvSpPr>
          <p:nvPr/>
        </p:nvSpPr>
        <p:spPr bwMode="auto">
          <a:xfrm>
            <a:off x="4935553" y="5329919"/>
            <a:ext cx="355219" cy="32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2060"/>
                </a:solidFill>
              </a:rPr>
              <a:t>0</a:t>
            </a:r>
          </a:p>
        </p:txBody>
      </p:sp>
      <p:cxnSp>
        <p:nvCxnSpPr>
          <p:cNvPr id="204" name="Straight Connector 203"/>
          <p:cNvCxnSpPr/>
          <p:nvPr/>
        </p:nvCxnSpPr>
        <p:spPr>
          <a:xfrm>
            <a:off x="5355457" y="4369107"/>
            <a:ext cx="0" cy="8414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>
            <a:off x="5583533" y="4223404"/>
            <a:ext cx="0" cy="8414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/>
          <p:nvPr/>
        </p:nvCxnSpPr>
        <p:spPr>
          <a:xfrm>
            <a:off x="5806876" y="4151927"/>
            <a:ext cx="0" cy="8414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6025127" y="4080667"/>
            <a:ext cx="0" cy="124975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/>
        </p:nvCxnSpPr>
        <p:spPr>
          <a:xfrm>
            <a:off x="6246837" y="4034827"/>
            <a:ext cx="0" cy="87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/>
        </p:nvCxnSpPr>
        <p:spPr>
          <a:xfrm>
            <a:off x="6466723" y="3974390"/>
            <a:ext cx="0" cy="87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/>
        </p:nvCxnSpPr>
        <p:spPr>
          <a:xfrm>
            <a:off x="6692232" y="3837311"/>
            <a:ext cx="0" cy="87244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731" name="Line 9"/>
          <p:cNvSpPr>
            <a:spLocks noChangeShapeType="1"/>
          </p:cNvSpPr>
          <p:nvPr/>
        </p:nvSpPr>
        <p:spPr bwMode="auto">
          <a:xfrm flipH="1">
            <a:off x="4876432" y="3275136"/>
            <a:ext cx="0" cy="2007339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32" name="Line 10"/>
          <p:cNvSpPr>
            <a:spLocks noChangeShapeType="1"/>
          </p:cNvSpPr>
          <p:nvPr/>
        </p:nvSpPr>
        <p:spPr bwMode="auto">
          <a:xfrm flipH="1" flipV="1">
            <a:off x="4873211" y="5277840"/>
            <a:ext cx="294882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14" name="Line 111"/>
          <p:cNvSpPr>
            <a:spLocks noChangeShapeType="1"/>
          </p:cNvSpPr>
          <p:nvPr/>
        </p:nvSpPr>
        <p:spPr bwMode="auto">
          <a:xfrm>
            <a:off x="5164262" y="5170699"/>
            <a:ext cx="1772444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0715" name="Text Box 129"/>
          <p:cNvSpPr txBox="1">
            <a:spLocks noChangeArrowheads="1"/>
          </p:cNvSpPr>
          <p:nvPr/>
        </p:nvSpPr>
        <p:spPr bwMode="auto">
          <a:xfrm>
            <a:off x="5373821" y="3612506"/>
            <a:ext cx="91627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i="1" dirty="0">
                <a:solidFill>
                  <a:srgbClr val="001965"/>
                </a:solidFill>
              </a:rPr>
              <a:t>p</a:t>
            </a:r>
            <a:r>
              <a:rPr lang="en-GB" sz="1200" dirty="0">
                <a:solidFill>
                  <a:srgbClr val="001965"/>
                </a:solidFill>
              </a:rPr>
              <a:t>=0.012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5104661" y="3731888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5224409" y="4523583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5321814" y="4397636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5549890" y="4275084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5773232" y="4207664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5991486" y="4151815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6213197" y="4081754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6436881" y="4016086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6658592" y="3865056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6878101" y="3841608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7117252" y="3752416"/>
            <a:ext cx="67297" cy="7865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7331378" y="4916115"/>
            <a:ext cx="67297" cy="78653"/>
          </a:xfrm>
          <a:prstGeom prst="rect">
            <a:avLst/>
          </a:prstGeom>
          <a:solidFill>
            <a:srgbClr val="AEA79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5128501" y="3772010"/>
            <a:ext cx="2238651" cy="1198177"/>
          </a:xfrm>
          <a:custGeom>
            <a:avLst/>
            <a:gdLst>
              <a:gd name="connsiteX0" fmla="*/ 0 w 3462337"/>
              <a:gd name="connsiteY0" fmla="*/ 0 h 1362075"/>
              <a:gd name="connsiteX1" fmla="*/ 195262 w 3462337"/>
              <a:gd name="connsiteY1" fmla="*/ 914400 h 1362075"/>
              <a:gd name="connsiteX2" fmla="*/ 357187 w 3462337"/>
              <a:gd name="connsiteY2" fmla="*/ 785813 h 1362075"/>
              <a:gd name="connsiteX3" fmla="*/ 704850 w 3462337"/>
              <a:gd name="connsiteY3" fmla="*/ 619125 h 1362075"/>
              <a:gd name="connsiteX4" fmla="*/ 1042987 w 3462337"/>
              <a:gd name="connsiteY4" fmla="*/ 538163 h 1362075"/>
              <a:gd name="connsiteX5" fmla="*/ 1357312 w 3462337"/>
              <a:gd name="connsiteY5" fmla="*/ 476250 h 1362075"/>
              <a:gd name="connsiteX6" fmla="*/ 1733550 w 3462337"/>
              <a:gd name="connsiteY6" fmla="*/ 400050 h 1362075"/>
              <a:gd name="connsiteX7" fmla="*/ 2095500 w 3462337"/>
              <a:gd name="connsiteY7" fmla="*/ 323850 h 1362075"/>
              <a:gd name="connsiteX8" fmla="*/ 2428875 w 3462337"/>
              <a:gd name="connsiteY8" fmla="*/ 142875 h 1362075"/>
              <a:gd name="connsiteX9" fmla="*/ 2767012 w 3462337"/>
              <a:gd name="connsiteY9" fmla="*/ 133350 h 1362075"/>
              <a:gd name="connsiteX10" fmla="*/ 3100387 w 3462337"/>
              <a:gd name="connsiteY10" fmla="*/ 23813 h 1362075"/>
              <a:gd name="connsiteX11" fmla="*/ 3462337 w 3462337"/>
              <a:gd name="connsiteY11" fmla="*/ 1362075 h 136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462337" h="1362075">
                <a:moveTo>
                  <a:pt x="0" y="0"/>
                </a:moveTo>
                <a:lnTo>
                  <a:pt x="195262" y="914400"/>
                </a:lnTo>
                <a:lnTo>
                  <a:pt x="357187" y="785813"/>
                </a:lnTo>
                <a:lnTo>
                  <a:pt x="704850" y="619125"/>
                </a:lnTo>
                <a:lnTo>
                  <a:pt x="1042987" y="538163"/>
                </a:lnTo>
                <a:lnTo>
                  <a:pt x="1357312" y="476250"/>
                </a:lnTo>
                <a:lnTo>
                  <a:pt x="1733550" y="400050"/>
                </a:lnTo>
                <a:lnTo>
                  <a:pt x="2095500" y="323850"/>
                </a:lnTo>
                <a:lnTo>
                  <a:pt x="2428875" y="142875"/>
                </a:lnTo>
                <a:lnTo>
                  <a:pt x="2767012" y="133350"/>
                </a:lnTo>
                <a:lnTo>
                  <a:pt x="3100387" y="23813"/>
                </a:lnTo>
                <a:lnTo>
                  <a:pt x="3462337" y="1362075"/>
                </a:lnTo>
              </a:path>
            </a:pathLst>
          </a:custGeom>
          <a:ln w="190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17" tIns="60959" rIns="121917" bIns="60959"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104659" y="3770217"/>
            <a:ext cx="2296140" cy="1287215"/>
            <a:chOff x="5677063" y="2634922"/>
            <a:chExt cx="2344622" cy="1140407"/>
          </a:xfrm>
        </p:grpSpPr>
        <p:sp>
          <p:nvSpPr>
            <p:cNvPr id="225" name="Rectangle 224"/>
            <p:cNvSpPr/>
            <p:nvPr/>
          </p:nvSpPr>
          <p:spPr>
            <a:xfrm>
              <a:off x="7504814" y="2808747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7732059" y="2688836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7952967" y="3654113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7266349" y="2925586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7047910" y="2952009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6807938" y="3002079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6582613" y="3105418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6359750" y="3158856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6131694" y="3202779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5903033" y="3280903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5" name="Rectangle 234"/>
            <p:cNvSpPr/>
            <p:nvPr/>
          </p:nvSpPr>
          <p:spPr>
            <a:xfrm>
              <a:off x="5786693" y="3331277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5677063" y="2634922"/>
              <a:ext cx="68718" cy="6968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5700360" y="2656306"/>
              <a:ext cx="2286966" cy="1031831"/>
            </a:xfrm>
            <a:custGeom>
              <a:avLst/>
              <a:gdLst>
                <a:gd name="connsiteX0" fmla="*/ 0 w 3463925"/>
                <a:gd name="connsiteY0" fmla="*/ 0 h 1323975"/>
                <a:gd name="connsiteX1" fmla="*/ 174625 w 3463925"/>
                <a:gd name="connsiteY1" fmla="*/ 920750 h 1323975"/>
                <a:gd name="connsiteX2" fmla="*/ 361950 w 3463925"/>
                <a:gd name="connsiteY2" fmla="*/ 828675 h 1323975"/>
                <a:gd name="connsiteX3" fmla="*/ 720725 w 3463925"/>
                <a:gd name="connsiteY3" fmla="*/ 742950 h 1323975"/>
                <a:gd name="connsiteX4" fmla="*/ 1041400 w 3463925"/>
                <a:gd name="connsiteY4" fmla="*/ 695325 h 1323975"/>
                <a:gd name="connsiteX5" fmla="*/ 1390650 w 3463925"/>
                <a:gd name="connsiteY5" fmla="*/ 625475 h 1323975"/>
                <a:gd name="connsiteX6" fmla="*/ 1739900 w 3463925"/>
                <a:gd name="connsiteY6" fmla="*/ 501650 h 1323975"/>
                <a:gd name="connsiteX7" fmla="*/ 2098675 w 3463925"/>
                <a:gd name="connsiteY7" fmla="*/ 422275 h 1323975"/>
                <a:gd name="connsiteX8" fmla="*/ 2438400 w 3463925"/>
                <a:gd name="connsiteY8" fmla="*/ 384175 h 1323975"/>
                <a:gd name="connsiteX9" fmla="*/ 2800350 w 3463925"/>
                <a:gd name="connsiteY9" fmla="*/ 254000 h 1323975"/>
                <a:gd name="connsiteX10" fmla="*/ 3143250 w 3463925"/>
                <a:gd name="connsiteY10" fmla="*/ 79375 h 1323975"/>
                <a:gd name="connsiteX11" fmla="*/ 3463925 w 3463925"/>
                <a:gd name="connsiteY11" fmla="*/ 1323975 h 1323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63925" h="1323975">
                  <a:moveTo>
                    <a:pt x="0" y="0"/>
                  </a:moveTo>
                  <a:lnTo>
                    <a:pt x="174625" y="920750"/>
                  </a:lnTo>
                  <a:lnTo>
                    <a:pt x="361950" y="828675"/>
                  </a:lnTo>
                  <a:lnTo>
                    <a:pt x="720725" y="742950"/>
                  </a:lnTo>
                  <a:lnTo>
                    <a:pt x="1041400" y="695325"/>
                  </a:lnTo>
                  <a:lnTo>
                    <a:pt x="1390650" y="625475"/>
                  </a:lnTo>
                  <a:lnTo>
                    <a:pt x="1739900" y="501650"/>
                  </a:lnTo>
                  <a:lnTo>
                    <a:pt x="2098675" y="422275"/>
                  </a:lnTo>
                  <a:lnTo>
                    <a:pt x="2438400" y="384175"/>
                  </a:lnTo>
                  <a:lnTo>
                    <a:pt x="2800350" y="254000"/>
                  </a:lnTo>
                  <a:lnTo>
                    <a:pt x="3143250" y="79375"/>
                  </a:lnTo>
                  <a:lnTo>
                    <a:pt x="3463925" y="1323975"/>
                  </a:lnTo>
                </a:path>
              </a:pathLst>
            </a:cu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/>
              </a:endParaRPr>
            </a:p>
          </p:txBody>
        </p:sp>
        <p:cxnSp>
          <p:nvCxnSpPr>
            <p:cNvPr id="239" name="Straight Connector 238"/>
            <p:cNvCxnSpPr/>
            <p:nvPr/>
          </p:nvCxnSpPr>
          <p:spPr>
            <a:xfrm rot="10800000">
              <a:off x="7299204" y="2966292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/>
          </p:nvCxnSpPr>
          <p:spPr>
            <a:xfrm rot="10800000">
              <a:off x="7537668" y="2856483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rot="10800000">
              <a:off x="7764914" y="2729207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 rot="10800000">
              <a:off x="7074477" y="3000113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rot="10800000">
              <a:off x="6840794" y="3047850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rot="10800000">
              <a:off x="6615468" y="3140258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/>
          </p:nvCxnSpPr>
          <p:spPr>
            <a:xfrm rot="10800000">
              <a:off x="6392606" y="3218494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/>
          </p:nvCxnSpPr>
          <p:spPr>
            <a:xfrm rot="10800000">
              <a:off x="6164549" y="3248096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/>
            <p:cNvCxnSpPr/>
            <p:nvPr/>
          </p:nvCxnSpPr>
          <p:spPr>
            <a:xfrm rot="10800000">
              <a:off x="5935887" y="3328264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rot="10800000">
              <a:off x="5819548" y="3372490"/>
              <a:ext cx="0" cy="7729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/>
            <p:cNvCxnSpPr/>
            <p:nvPr/>
          </p:nvCxnSpPr>
          <p:spPr>
            <a:xfrm rot="10800000">
              <a:off x="7989707" y="3633311"/>
              <a:ext cx="0" cy="142018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3" name="Line 15"/>
          <p:cNvSpPr>
            <a:spLocks noChangeShapeType="1"/>
          </p:cNvSpPr>
          <p:nvPr/>
        </p:nvSpPr>
        <p:spPr bwMode="auto">
          <a:xfrm flipV="1">
            <a:off x="4805113" y="5277840"/>
            <a:ext cx="7007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33470" y="2576517"/>
            <a:ext cx="3869911" cy="3415486"/>
            <a:chOff x="478873" y="1615860"/>
            <a:chExt cx="3951622" cy="3025951"/>
          </a:xfrm>
        </p:grpSpPr>
        <p:sp>
          <p:nvSpPr>
            <p:cNvPr id="4" name="Freeform 3"/>
            <p:cNvSpPr/>
            <p:nvPr/>
          </p:nvSpPr>
          <p:spPr>
            <a:xfrm>
              <a:off x="1403085" y="2773056"/>
              <a:ext cx="2060937" cy="763312"/>
            </a:xfrm>
            <a:custGeom>
              <a:avLst/>
              <a:gdLst>
                <a:gd name="connsiteX0" fmla="*/ 0 w 3119437"/>
                <a:gd name="connsiteY0" fmla="*/ 976313 h 976313"/>
                <a:gd name="connsiteX1" fmla="*/ 185737 w 3119437"/>
                <a:gd name="connsiteY1" fmla="*/ 0 h 976313"/>
                <a:gd name="connsiteX2" fmla="*/ 352425 w 3119437"/>
                <a:gd name="connsiteY2" fmla="*/ 171450 h 976313"/>
                <a:gd name="connsiteX3" fmla="*/ 714375 w 3119437"/>
                <a:gd name="connsiteY3" fmla="*/ 290513 h 976313"/>
                <a:gd name="connsiteX4" fmla="*/ 1066800 w 3119437"/>
                <a:gd name="connsiteY4" fmla="*/ 395288 h 976313"/>
                <a:gd name="connsiteX5" fmla="*/ 1385887 w 3119437"/>
                <a:gd name="connsiteY5" fmla="*/ 471488 h 976313"/>
                <a:gd name="connsiteX6" fmla="*/ 1733550 w 3119437"/>
                <a:gd name="connsiteY6" fmla="*/ 633413 h 976313"/>
                <a:gd name="connsiteX7" fmla="*/ 2071687 w 3119437"/>
                <a:gd name="connsiteY7" fmla="*/ 738188 h 976313"/>
                <a:gd name="connsiteX8" fmla="*/ 2414587 w 3119437"/>
                <a:gd name="connsiteY8" fmla="*/ 823913 h 976313"/>
                <a:gd name="connsiteX9" fmla="*/ 2762250 w 3119437"/>
                <a:gd name="connsiteY9" fmla="*/ 966788 h 976313"/>
                <a:gd name="connsiteX10" fmla="*/ 3119437 w 3119437"/>
                <a:gd name="connsiteY10" fmla="*/ 957263 h 976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19437" h="976313">
                  <a:moveTo>
                    <a:pt x="0" y="976313"/>
                  </a:moveTo>
                  <a:lnTo>
                    <a:pt x="185737" y="0"/>
                  </a:lnTo>
                  <a:lnTo>
                    <a:pt x="352425" y="171450"/>
                  </a:lnTo>
                  <a:lnTo>
                    <a:pt x="714375" y="290513"/>
                  </a:lnTo>
                  <a:lnTo>
                    <a:pt x="1066800" y="395288"/>
                  </a:lnTo>
                  <a:lnTo>
                    <a:pt x="1385887" y="471488"/>
                  </a:lnTo>
                  <a:lnTo>
                    <a:pt x="1733550" y="633413"/>
                  </a:lnTo>
                  <a:lnTo>
                    <a:pt x="2071687" y="738188"/>
                  </a:lnTo>
                  <a:lnTo>
                    <a:pt x="2414587" y="823913"/>
                  </a:lnTo>
                  <a:lnTo>
                    <a:pt x="2762250" y="966788"/>
                  </a:lnTo>
                  <a:lnTo>
                    <a:pt x="3119437" y="957263"/>
                  </a:lnTo>
                </a:path>
              </a:pathLst>
            </a:custGeom>
            <a:ln w="1905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70745" name="Rectangle 1059"/>
            <p:cNvSpPr>
              <a:spLocks noChangeArrowheads="1"/>
            </p:cNvSpPr>
            <p:nvPr/>
          </p:nvSpPr>
          <p:spPr bwMode="auto">
            <a:xfrm>
              <a:off x="1956709" y="1870590"/>
              <a:ext cx="90000" cy="90000"/>
            </a:xfrm>
            <a:prstGeom prst="rect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67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46" name="Text Box 1061"/>
            <p:cNvSpPr txBox="1">
              <a:spLocks noChangeArrowheads="1"/>
            </p:cNvSpPr>
            <p:nvPr/>
          </p:nvSpPr>
          <p:spPr bwMode="auto">
            <a:xfrm>
              <a:off x="2241858" y="1799768"/>
              <a:ext cx="1291802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</a:rPr>
                <a:t>GLP-1 (n=19)</a:t>
              </a:r>
            </a:p>
          </p:txBody>
        </p:sp>
        <p:sp>
          <p:nvSpPr>
            <p:cNvPr id="70747" name="Rectangle 1058"/>
            <p:cNvSpPr>
              <a:spLocks noChangeArrowheads="1"/>
            </p:cNvSpPr>
            <p:nvPr/>
          </p:nvSpPr>
          <p:spPr bwMode="auto">
            <a:xfrm>
              <a:off x="1956715" y="1703191"/>
              <a:ext cx="90000" cy="90000"/>
            </a:xfrm>
            <a:prstGeom prst="rect">
              <a:avLst/>
            </a:prstGeom>
            <a:solidFill>
              <a:schemeClr val="accent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67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48" name="Text Box 1062"/>
            <p:cNvSpPr txBox="1">
              <a:spLocks noChangeArrowheads="1"/>
            </p:cNvSpPr>
            <p:nvPr/>
          </p:nvSpPr>
          <p:spPr bwMode="auto">
            <a:xfrm>
              <a:off x="2241858" y="1615860"/>
              <a:ext cx="1354002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</a:rPr>
                <a:t>Saline (n=19) </a:t>
              </a:r>
            </a:p>
          </p:txBody>
        </p:sp>
        <p:cxnSp>
          <p:nvCxnSpPr>
            <p:cNvPr id="70749" name="Straight Connector 145"/>
            <p:cNvCxnSpPr>
              <a:cxnSpLocks noChangeShapeType="1"/>
            </p:cNvCxnSpPr>
            <p:nvPr/>
          </p:nvCxnSpPr>
          <p:spPr bwMode="auto">
            <a:xfrm>
              <a:off x="1724790" y="1738563"/>
              <a:ext cx="535008" cy="0"/>
            </a:xfrm>
            <a:prstGeom prst="line">
              <a:avLst/>
            </a:prstGeom>
            <a:noFill/>
            <a:ln w="31750" algn="ctr">
              <a:solidFill>
                <a:schemeClr val="accent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0750" name="Straight Connector 146"/>
            <p:cNvCxnSpPr>
              <a:cxnSpLocks noChangeShapeType="1"/>
            </p:cNvCxnSpPr>
            <p:nvPr/>
          </p:nvCxnSpPr>
          <p:spPr bwMode="auto">
            <a:xfrm>
              <a:off x="1724790" y="1917729"/>
              <a:ext cx="535008" cy="0"/>
            </a:xfrm>
            <a:prstGeom prst="line">
              <a:avLst/>
            </a:prstGeom>
            <a:noFill/>
            <a:ln w="31750" algn="ctr">
              <a:solidFill>
                <a:srgbClr val="00196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0682" name="Text Box 25"/>
            <p:cNvSpPr txBox="1">
              <a:spLocks noChangeArrowheads="1"/>
            </p:cNvSpPr>
            <p:nvPr/>
          </p:nvSpPr>
          <p:spPr bwMode="auto">
            <a:xfrm>
              <a:off x="861157" y="3835782"/>
              <a:ext cx="299871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0</a:t>
              </a:r>
            </a:p>
          </p:txBody>
        </p:sp>
        <p:sp>
          <p:nvSpPr>
            <p:cNvPr id="70683" name="Text Box 26"/>
            <p:cNvSpPr txBox="1">
              <a:spLocks noChangeArrowheads="1"/>
            </p:cNvSpPr>
            <p:nvPr/>
          </p:nvSpPr>
          <p:spPr bwMode="auto">
            <a:xfrm>
              <a:off x="749851" y="3482426"/>
              <a:ext cx="411176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0</a:t>
              </a:r>
            </a:p>
          </p:txBody>
        </p:sp>
        <p:sp>
          <p:nvSpPr>
            <p:cNvPr id="70684" name="Text Box 27"/>
            <p:cNvSpPr txBox="1">
              <a:spLocks noChangeArrowheads="1"/>
            </p:cNvSpPr>
            <p:nvPr/>
          </p:nvSpPr>
          <p:spPr bwMode="auto">
            <a:xfrm>
              <a:off x="749851" y="3129069"/>
              <a:ext cx="411176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40</a:t>
              </a:r>
            </a:p>
          </p:txBody>
        </p:sp>
        <p:sp>
          <p:nvSpPr>
            <p:cNvPr id="70685" name="Text Box 28"/>
            <p:cNvSpPr txBox="1">
              <a:spLocks noChangeArrowheads="1"/>
            </p:cNvSpPr>
            <p:nvPr/>
          </p:nvSpPr>
          <p:spPr bwMode="auto">
            <a:xfrm>
              <a:off x="749851" y="2775710"/>
              <a:ext cx="411176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60</a:t>
              </a:r>
            </a:p>
          </p:txBody>
        </p:sp>
        <p:sp>
          <p:nvSpPr>
            <p:cNvPr id="70686" name="Text Box 29"/>
            <p:cNvSpPr txBox="1">
              <a:spLocks noChangeArrowheads="1"/>
            </p:cNvSpPr>
            <p:nvPr/>
          </p:nvSpPr>
          <p:spPr bwMode="auto">
            <a:xfrm>
              <a:off x="749851" y="2422354"/>
              <a:ext cx="411176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80</a:t>
              </a:r>
            </a:p>
          </p:txBody>
        </p:sp>
        <p:sp>
          <p:nvSpPr>
            <p:cNvPr id="70687" name="Text Box 30"/>
            <p:cNvSpPr txBox="1">
              <a:spLocks noChangeArrowheads="1"/>
            </p:cNvSpPr>
            <p:nvPr/>
          </p:nvSpPr>
          <p:spPr bwMode="auto">
            <a:xfrm>
              <a:off x="638547" y="2068997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00</a:t>
              </a:r>
            </a:p>
          </p:txBody>
        </p:sp>
        <p:sp>
          <p:nvSpPr>
            <p:cNvPr id="70669" name="Text Box 1056"/>
            <p:cNvSpPr txBox="1">
              <a:spLocks noChangeArrowheads="1"/>
            </p:cNvSpPr>
            <p:nvPr/>
          </p:nvSpPr>
          <p:spPr bwMode="auto">
            <a:xfrm>
              <a:off x="2223703" y="4378282"/>
              <a:ext cx="1164128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Time (min)</a:t>
              </a:r>
            </a:p>
          </p:txBody>
        </p:sp>
        <p:sp>
          <p:nvSpPr>
            <p:cNvPr id="70697" name="Line 11"/>
            <p:cNvSpPr>
              <a:spLocks noChangeShapeType="1"/>
            </p:cNvSpPr>
            <p:nvPr/>
          </p:nvSpPr>
          <p:spPr bwMode="auto">
            <a:xfrm flipV="1">
              <a:off x="1105426" y="2203450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98" name="Line 12"/>
            <p:cNvSpPr>
              <a:spLocks noChangeShapeType="1"/>
            </p:cNvSpPr>
            <p:nvPr/>
          </p:nvSpPr>
          <p:spPr bwMode="auto">
            <a:xfrm flipV="1">
              <a:off x="1105426" y="2556493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99" name="Line 13"/>
            <p:cNvSpPr>
              <a:spLocks noChangeShapeType="1"/>
            </p:cNvSpPr>
            <p:nvPr/>
          </p:nvSpPr>
          <p:spPr bwMode="auto">
            <a:xfrm flipV="1">
              <a:off x="1105426" y="290953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0" name="Line 14"/>
            <p:cNvSpPr>
              <a:spLocks noChangeShapeType="1"/>
            </p:cNvSpPr>
            <p:nvPr/>
          </p:nvSpPr>
          <p:spPr bwMode="auto">
            <a:xfrm flipV="1">
              <a:off x="1105426" y="3262578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1" name="Line 15"/>
            <p:cNvSpPr>
              <a:spLocks noChangeShapeType="1"/>
            </p:cNvSpPr>
            <p:nvPr/>
          </p:nvSpPr>
          <p:spPr bwMode="auto">
            <a:xfrm flipV="1">
              <a:off x="1105426" y="3615620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2" name="Line 18"/>
            <p:cNvSpPr>
              <a:spLocks noChangeShapeType="1"/>
            </p:cNvSpPr>
            <p:nvPr/>
          </p:nvSpPr>
          <p:spPr bwMode="auto">
            <a:xfrm rot="5400000" flipV="1">
              <a:off x="3191613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3" name="Line 19"/>
            <p:cNvSpPr>
              <a:spLocks noChangeShapeType="1"/>
            </p:cNvSpPr>
            <p:nvPr/>
          </p:nvSpPr>
          <p:spPr bwMode="auto">
            <a:xfrm rot="5400000" flipV="1">
              <a:off x="2741846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4" name="Line 20"/>
            <p:cNvSpPr>
              <a:spLocks noChangeShapeType="1"/>
            </p:cNvSpPr>
            <p:nvPr/>
          </p:nvSpPr>
          <p:spPr bwMode="auto">
            <a:xfrm rot="5400000" flipV="1">
              <a:off x="2292079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5" name="Line 21"/>
            <p:cNvSpPr>
              <a:spLocks noChangeShapeType="1"/>
            </p:cNvSpPr>
            <p:nvPr/>
          </p:nvSpPr>
          <p:spPr bwMode="auto">
            <a:xfrm rot="5400000" flipV="1">
              <a:off x="1843405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6" name="Line 22"/>
            <p:cNvSpPr>
              <a:spLocks noChangeShapeType="1"/>
            </p:cNvSpPr>
            <p:nvPr/>
          </p:nvSpPr>
          <p:spPr bwMode="auto">
            <a:xfrm rot="5400000" flipV="1">
              <a:off x="1379411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7" name="Line 23"/>
            <p:cNvSpPr>
              <a:spLocks noChangeShapeType="1"/>
            </p:cNvSpPr>
            <p:nvPr/>
          </p:nvSpPr>
          <p:spPr bwMode="auto">
            <a:xfrm rot="5400000" flipV="1">
              <a:off x="4134046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708" name="Line 24"/>
            <p:cNvSpPr>
              <a:spLocks noChangeShapeType="1"/>
            </p:cNvSpPr>
            <p:nvPr/>
          </p:nvSpPr>
          <p:spPr bwMode="auto">
            <a:xfrm rot="5400000" flipV="1">
              <a:off x="3662173" y="400427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81" name="Text Box 31"/>
            <p:cNvSpPr txBox="1">
              <a:spLocks noChangeArrowheads="1"/>
            </p:cNvSpPr>
            <p:nvPr/>
          </p:nvSpPr>
          <p:spPr bwMode="auto">
            <a:xfrm>
              <a:off x="3908012" y="4019561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360</a:t>
              </a:r>
            </a:p>
          </p:txBody>
        </p:sp>
        <p:sp>
          <p:nvSpPr>
            <p:cNvPr id="70688" name="Text Box 32"/>
            <p:cNvSpPr txBox="1">
              <a:spLocks noChangeArrowheads="1"/>
            </p:cNvSpPr>
            <p:nvPr/>
          </p:nvSpPr>
          <p:spPr bwMode="auto">
            <a:xfrm>
              <a:off x="3431854" y="4019561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300</a:t>
              </a:r>
            </a:p>
          </p:txBody>
        </p:sp>
        <p:sp>
          <p:nvSpPr>
            <p:cNvPr id="70689" name="Text Box 33"/>
            <p:cNvSpPr txBox="1">
              <a:spLocks noChangeArrowheads="1"/>
            </p:cNvSpPr>
            <p:nvPr/>
          </p:nvSpPr>
          <p:spPr bwMode="auto">
            <a:xfrm>
              <a:off x="2966314" y="4019561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40</a:t>
              </a:r>
            </a:p>
          </p:txBody>
        </p:sp>
        <p:sp>
          <p:nvSpPr>
            <p:cNvPr id="70690" name="Text Box 34"/>
            <p:cNvSpPr txBox="1">
              <a:spLocks noChangeArrowheads="1"/>
            </p:cNvSpPr>
            <p:nvPr/>
          </p:nvSpPr>
          <p:spPr bwMode="auto">
            <a:xfrm>
              <a:off x="2514418" y="4019561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80</a:t>
              </a:r>
            </a:p>
          </p:txBody>
        </p:sp>
        <p:sp>
          <p:nvSpPr>
            <p:cNvPr id="70691" name="Text Box 35"/>
            <p:cNvSpPr txBox="1">
              <a:spLocks noChangeArrowheads="1"/>
            </p:cNvSpPr>
            <p:nvPr/>
          </p:nvSpPr>
          <p:spPr bwMode="auto">
            <a:xfrm>
              <a:off x="2069073" y="4019561"/>
              <a:ext cx="522483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20</a:t>
              </a:r>
            </a:p>
          </p:txBody>
        </p:sp>
        <p:sp>
          <p:nvSpPr>
            <p:cNvPr id="70692" name="Text Box 36"/>
            <p:cNvSpPr txBox="1">
              <a:spLocks noChangeArrowheads="1"/>
            </p:cNvSpPr>
            <p:nvPr/>
          </p:nvSpPr>
          <p:spPr bwMode="auto">
            <a:xfrm>
              <a:off x="1675608" y="4019561"/>
              <a:ext cx="411176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60</a:t>
              </a:r>
            </a:p>
          </p:txBody>
        </p:sp>
        <p:sp>
          <p:nvSpPr>
            <p:cNvPr id="70693" name="Text Box 37"/>
            <p:cNvSpPr txBox="1">
              <a:spLocks noChangeArrowheads="1"/>
            </p:cNvSpPr>
            <p:nvPr/>
          </p:nvSpPr>
          <p:spPr bwMode="auto">
            <a:xfrm>
              <a:off x="1268258" y="4019561"/>
              <a:ext cx="299871" cy="263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t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0</a:t>
              </a:r>
            </a:p>
          </p:txBody>
        </p:sp>
        <p:cxnSp>
          <p:nvCxnSpPr>
            <p:cNvPr id="6" name="Straight Connector 5"/>
            <p:cNvCxnSpPr/>
            <p:nvPr/>
          </p:nvCxnSpPr>
          <p:spPr>
            <a:xfrm rot="10800000">
              <a:off x="3457750" y="3499981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 rot="10800000">
              <a:off x="3227870" y="3495912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 rot="10800000">
              <a:off x="2998683" y="3389382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rot="10800000">
              <a:off x="2771133" y="3319648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 rot="10800000">
              <a:off x="2552392" y="3237032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rot="10800000">
              <a:off x="2330358" y="3117812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 rot="10800000">
              <a:off x="2101440" y="3067706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/>
            <p:cNvCxnSpPr/>
            <p:nvPr/>
          </p:nvCxnSpPr>
          <p:spPr>
            <a:xfrm rot="10800000">
              <a:off x="1869717" y="2980205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/>
            <p:cNvCxnSpPr/>
            <p:nvPr/>
          </p:nvCxnSpPr>
          <p:spPr>
            <a:xfrm rot="10800000">
              <a:off x="1648303" y="2900600"/>
              <a:ext cx="0" cy="111829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695" name="Line 9"/>
            <p:cNvSpPr>
              <a:spLocks noChangeShapeType="1"/>
            </p:cNvSpPr>
            <p:nvPr/>
          </p:nvSpPr>
          <p:spPr bwMode="auto">
            <a:xfrm flipH="1">
              <a:off x="1172471" y="2204589"/>
              <a:ext cx="0" cy="1768159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96" name="Line 10"/>
            <p:cNvSpPr>
              <a:spLocks noChangeShapeType="1"/>
            </p:cNvSpPr>
            <p:nvPr/>
          </p:nvSpPr>
          <p:spPr bwMode="auto">
            <a:xfrm flipH="1" flipV="1">
              <a:off x="1169188" y="3968665"/>
              <a:ext cx="30028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76" name="Line 111"/>
            <p:cNvSpPr>
              <a:spLocks noChangeShapeType="1"/>
            </p:cNvSpPr>
            <p:nvPr/>
          </p:nvSpPr>
          <p:spPr bwMode="auto">
            <a:xfrm>
              <a:off x="1447393" y="3882224"/>
              <a:ext cx="1804904" cy="1913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70677" name="Text Box 129"/>
            <p:cNvSpPr txBox="1">
              <a:spLocks noChangeArrowheads="1"/>
            </p:cNvSpPr>
            <p:nvPr/>
          </p:nvSpPr>
          <p:spPr bwMode="auto">
            <a:xfrm>
              <a:off x="2175209" y="2489800"/>
              <a:ext cx="872768" cy="245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i="1" dirty="0">
                  <a:solidFill>
                    <a:srgbClr val="001965"/>
                  </a:solidFill>
                </a:rPr>
                <a:t>p</a:t>
              </a:r>
              <a:r>
                <a:rPr lang="en-GB" sz="1200" dirty="0">
                  <a:solidFill>
                    <a:srgbClr val="001965"/>
                  </a:solidFill>
                </a:rPr>
                <a:t>=0.013</a:t>
              </a:r>
            </a:p>
          </p:txBody>
        </p:sp>
        <p:sp>
          <p:nvSpPr>
            <p:cNvPr id="3" name="Rectangle 2"/>
            <p:cNvSpPr/>
            <p:nvPr/>
          </p:nvSpPr>
          <p:spPr>
            <a:xfrm>
              <a:off x="1609908" y="2881339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1835586" y="2966217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2067308" y="3053716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2293699" y="3105291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2518260" y="3229642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2737002" y="3313908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2964550" y="3388944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3193233" y="3489417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3423619" y="3489417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1488966" y="2745121"/>
              <a:ext cx="68765" cy="6990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1381032" y="3504739"/>
              <a:ext cx="68765" cy="69905"/>
            </a:xfrm>
            <a:prstGeom prst="rect">
              <a:avLst/>
            </a:prstGeom>
            <a:solidFill>
              <a:srgbClr val="AEA79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FFFFFF"/>
                </a:solidFill>
                <a:latin typeface="Verdana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380295" y="2422793"/>
              <a:ext cx="2352263" cy="1154307"/>
              <a:chOff x="1380293" y="2422793"/>
              <a:chExt cx="2352263" cy="1154307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1408327" y="2422793"/>
                <a:ext cx="2324229" cy="1150596"/>
                <a:chOff x="1408327" y="2422793"/>
                <a:chExt cx="2324229" cy="1150596"/>
              </a:xfrm>
            </p:grpSpPr>
            <p:sp>
              <p:nvSpPr>
                <p:cNvPr id="138" name="Rectangle 137"/>
                <p:cNvSpPr/>
                <p:nvPr/>
              </p:nvSpPr>
              <p:spPr>
                <a:xfrm>
                  <a:off x="1614897" y="2811433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39" name="Rectangle 138"/>
                <p:cNvSpPr/>
                <p:nvPr/>
              </p:nvSpPr>
              <p:spPr>
                <a:xfrm>
                  <a:off x="1501623" y="2746670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1" name="Rectangle 140"/>
                <p:cNvSpPr/>
                <p:nvPr/>
              </p:nvSpPr>
              <p:spPr>
                <a:xfrm>
                  <a:off x="1845023" y="2898094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2" name="Rectangle 141"/>
                <p:cNvSpPr/>
                <p:nvPr/>
              </p:nvSpPr>
              <p:spPr>
                <a:xfrm>
                  <a:off x="2067306" y="2982013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3" name="Rectangle 142"/>
                <p:cNvSpPr/>
                <p:nvPr/>
              </p:nvSpPr>
              <p:spPr>
                <a:xfrm>
                  <a:off x="2295779" y="2997800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4" name="Rectangle 143"/>
                <p:cNvSpPr/>
                <p:nvPr/>
              </p:nvSpPr>
              <p:spPr>
                <a:xfrm>
                  <a:off x="2516787" y="3093256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5" name="Rectangle 144"/>
                <p:cNvSpPr/>
                <p:nvPr/>
              </p:nvSpPr>
              <p:spPr>
                <a:xfrm>
                  <a:off x="2737000" y="3175195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6" name="Rectangle 145"/>
                <p:cNvSpPr/>
                <p:nvPr/>
              </p:nvSpPr>
              <p:spPr>
                <a:xfrm>
                  <a:off x="2964548" y="3192581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7" name="Rectangle 146"/>
                <p:cNvSpPr/>
                <p:nvPr/>
              </p:nvSpPr>
              <p:spPr>
                <a:xfrm>
                  <a:off x="3196816" y="3322956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8" name="Rectangle 147"/>
                <p:cNvSpPr/>
                <p:nvPr/>
              </p:nvSpPr>
              <p:spPr>
                <a:xfrm>
                  <a:off x="3425191" y="3397112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sp>
              <p:nvSpPr>
                <p:cNvPr id="149" name="Rectangle 148"/>
                <p:cNvSpPr/>
                <p:nvPr/>
              </p:nvSpPr>
              <p:spPr>
                <a:xfrm>
                  <a:off x="3663791" y="2468924"/>
                  <a:ext cx="68765" cy="69905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FFFFFF"/>
                    </a:solidFill>
                    <a:latin typeface="Verdana"/>
                  </a:endParaRPr>
                </a:p>
              </p:txBody>
            </p:sp>
            <p:cxnSp>
              <p:nvCxnSpPr>
                <p:cNvPr id="151" name="Straight Connector 150"/>
                <p:cNvCxnSpPr/>
                <p:nvPr/>
              </p:nvCxnSpPr>
              <p:spPr>
                <a:xfrm>
                  <a:off x="3456829" y="3341196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153"/>
                <p:cNvCxnSpPr/>
                <p:nvPr/>
              </p:nvCxnSpPr>
              <p:spPr>
                <a:xfrm>
                  <a:off x="3228455" y="3277552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/>
                <p:cNvCxnSpPr/>
                <p:nvPr/>
              </p:nvCxnSpPr>
              <p:spPr>
                <a:xfrm>
                  <a:off x="2998683" y="3146483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159"/>
                <p:cNvCxnSpPr/>
                <p:nvPr/>
              </p:nvCxnSpPr>
              <p:spPr>
                <a:xfrm>
                  <a:off x="2768638" y="3123765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162"/>
                <p:cNvCxnSpPr/>
                <p:nvPr/>
              </p:nvCxnSpPr>
              <p:spPr>
                <a:xfrm>
                  <a:off x="2549897" y="3041354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165"/>
                <p:cNvCxnSpPr/>
                <p:nvPr/>
              </p:nvCxnSpPr>
              <p:spPr>
                <a:xfrm>
                  <a:off x="2327863" y="2940585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Straight Connector 168"/>
                <p:cNvCxnSpPr/>
                <p:nvPr/>
              </p:nvCxnSpPr>
              <p:spPr>
                <a:xfrm>
                  <a:off x="2098944" y="2916291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Straight Connector 171"/>
                <p:cNvCxnSpPr/>
                <p:nvPr/>
              </p:nvCxnSpPr>
              <p:spPr>
                <a:xfrm>
                  <a:off x="1876662" y="2853257"/>
                  <a:ext cx="0" cy="111829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Straight Connector 174"/>
                <p:cNvCxnSpPr/>
                <p:nvPr/>
              </p:nvCxnSpPr>
              <p:spPr>
                <a:xfrm>
                  <a:off x="1642293" y="2782558"/>
                  <a:ext cx="0" cy="85328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Straight Connector 177"/>
                <p:cNvCxnSpPr/>
                <p:nvPr/>
              </p:nvCxnSpPr>
              <p:spPr>
                <a:xfrm>
                  <a:off x="1533263" y="2704003"/>
                  <a:ext cx="0" cy="157770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Straight Connector 181"/>
                <p:cNvCxnSpPr/>
                <p:nvPr/>
              </p:nvCxnSpPr>
              <p:spPr>
                <a:xfrm>
                  <a:off x="1411933" y="3477387"/>
                  <a:ext cx="0" cy="96002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Straight Connector 185"/>
                <p:cNvCxnSpPr/>
                <p:nvPr/>
              </p:nvCxnSpPr>
              <p:spPr>
                <a:xfrm>
                  <a:off x="3700438" y="2422793"/>
                  <a:ext cx="0" cy="131034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" name="Freeform 9"/>
                <p:cNvSpPr/>
                <p:nvPr/>
              </p:nvSpPr>
              <p:spPr>
                <a:xfrm>
                  <a:off x="1408327" y="2509930"/>
                  <a:ext cx="2273848" cy="1027678"/>
                </a:xfrm>
                <a:custGeom>
                  <a:avLst/>
                  <a:gdLst>
                    <a:gd name="connsiteX0" fmla="*/ 0 w 3441700"/>
                    <a:gd name="connsiteY0" fmla="*/ 1314450 h 1314450"/>
                    <a:gd name="connsiteX1" fmla="*/ 184150 w 3441700"/>
                    <a:gd name="connsiteY1" fmla="*/ 342900 h 1314450"/>
                    <a:gd name="connsiteX2" fmla="*/ 336550 w 3441700"/>
                    <a:gd name="connsiteY2" fmla="*/ 431800 h 1314450"/>
                    <a:gd name="connsiteX3" fmla="*/ 717550 w 3441700"/>
                    <a:gd name="connsiteY3" fmla="*/ 546100 h 1314450"/>
                    <a:gd name="connsiteX4" fmla="*/ 1035050 w 3441700"/>
                    <a:gd name="connsiteY4" fmla="*/ 647700 h 1314450"/>
                    <a:gd name="connsiteX5" fmla="*/ 1377950 w 3441700"/>
                    <a:gd name="connsiteY5" fmla="*/ 647700 h 1314450"/>
                    <a:gd name="connsiteX6" fmla="*/ 1708150 w 3441700"/>
                    <a:gd name="connsiteY6" fmla="*/ 787400 h 1314450"/>
                    <a:gd name="connsiteX7" fmla="*/ 2063750 w 3441700"/>
                    <a:gd name="connsiteY7" fmla="*/ 895350 h 1314450"/>
                    <a:gd name="connsiteX8" fmla="*/ 2400300 w 3441700"/>
                    <a:gd name="connsiteY8" fmla="*/ 920750 h 1314450"/>
                    <a:gd name="connsiteX9" fmla="*/ 2768600 w 3441700"/>
                    <a:gd name="connsiteY9" fmla="*/ 1073150 h 1314450"/>
                    <a:gd name="connsiteX10" fmla="*/ 3105150 w 3441700"/>
                    <a:gd name="connsiteY10" fmla="*/ 1193800 h 1314450"/>
                    <a:gd name="connsiteX11" fmla="*/ 3441700 w 3441700"/>
                    <a:gd name="connsiteY11" fmla="*/ 0 h 1314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441700" h="1314450">
                      <a:moveTo>
                        <a:pt x="0" y="1314450"/>
                      </a:moveTo>
                      <a:lnTo>
                        <a:pt x="184150" y="342900"/>
                      </a:lnTo>
                      <a:lnTo>
                        <a:pt x="336550" y="431800"/>
                      </a:lnTo>
                      <a:lnTo>
                        <a:pt x="717550" y="546100"/>
                      </a:lnTo>
                      <a:lnTo>
                        <a:pt x="1035050" y="647700"/>
                      </a:lnTo>
                      <a:lnTo>
                        <a:pt x="1377950" y="647700"/>
                      </a:lnTo>
                      <a:lnTo>
                        <a:pt x="1708150" y="787400"/>
                      </a:lnTo>
                      <a:lnTo>
                        <a:pt x="2063750" y="895350"/>
                      </a:lnTo>
                      <a:lnTo>
                        <a:pt x="2400300" y="920750"/>
                      </a:lnTo>
                      <a:lnTo>
                        <a:pt x="2768600" y="1073150"/>
                      </a:lnTo>
                      <a:lnTo>
                        <a:pt x="3105150" y="1193800"/>
                      </a:lnTo>
                      <a:lnTo>
                        <a:pt x="3441700" y="0"/>
                      </a:lnTo>
                    </a:path>
                  </a:pathLst>
                </a:cu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121914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srgbClr val="001965"/>
                    </a:solidFill>
                    <a:latin typeface="Verdana"/>
                  </a:endParaRPr>
                </a:p>
              </p:txBody>
            </p:sp>
          </p:grpSp>
          <p:sp>
            <p:nvSpPr>
              <p:cNvPr id="140" name="Rectangle 139"/>
              <p:cNvSpPr/>
              <p:nvPr/>
            </p:nvSpPr>
            <p:spPr>
              <a:xfrm>
                <a:off x="1380293" y="3507195"/>
                <a:ext cx="68765" cy="69905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4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srgbClr val="FFFFFF"/>
                  </a:solidFill>
                  <a:latin typeface="Verdana"/>
                </a:endParaRPr>
              </a:p>
            </p:txBody>
          </p:sp>
        </p:grpSp>
        <p:sp>
          <p:nvSpPr>
            <p:cNvPr id="272" name="Line 15"/>
            <p:cNvSpPr>
              <a:spLocks noChangeShapeType="1"/>
            </p:cNvSpPr>
            <p:nvPr/>
          </p:nvSpPr>
          <p:spPr bwMode="auto">
            <a:xfrm flipV="1">
              <a:off x="1105426" y="3968665"/>
              <a:ext cx="72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393" name="TextBox 392"/>
            <p:cNvSpPr txBox="1"/>
            <p:nvPr/>
          </p:nvSpPr>
          <p:spPr>
            <a:xfrm rot="16200000">
              <a:off x="13189" y="2937015"/>
              <a:ext cx="1235103" cy="303735"/>
            </a:xfrm>
            <a:prstGeom prst="rect">
              <a:avLst/>
            </a:prstGeom>
            <a:noFill/>
          </p:spPr>
          <p:txBody>
            <a:bodyPr wrap="none" rtlCol="0" anchor="b">
              <a:spAutoFit/>
            </a:bodyPr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  <a:latin typeface="Verdana" pitchFamily="34" charset="0"/>
                  <a:cs typeface="Arial" charset="0"/>
                </a:rPr>
                <a:t> Satiety (mm)</a:t>
              </a:r>
            </a:p>
          </p:txBody>
        </p:sp>
      </p:grpSp>
      <p:sp>
        <p:nvSpPr>
          <p:cNvPr id="185" name="Line 111"/>
          <p:cNvSpPr>
            <a:spLocks noChangeShapeType="1"/>
          </p:cNvSpPr>
          <p:nvPr/>
        </p:nvSpPr>
        <p:spPr bwMode="auto">
          <a:xfrm rot="16200000" flipV="1">
            <a:off x="4717274" y="2414829"/>
            <a:ext cx="245639" cy="0"/>
          </a:xfrm>
          <a:prstGeom prst="line">
            <a:avLst/>
          </a:prstGeom>
          <a:noFill/>
          <a:ln w="22225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88" name="Line 111"/>
          <p:cNvSpPr>
            <a:spLocks noChangeShapeType="1"/>
          </p:cNvSpPr>
          <p:nvPr/>
        </p:nvSpPr>
        <p:spPr bwMode="auto">
          <a:xfrm rot="16200000" flipV="1">
            <a:off x="4727266" y="2886040"/>
            <a:ext cx="245639" cy="0"/>
          </a:xfrm>
          <a:prstGeom prst="line">
            <a:avLst/>
          </a:prstGeom>
          <a:ln w="22225">
            <a:headEnd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89" name="Line 111"/>
          <p:cNvSpPr>
            <a:spLocks noChangeShapeType="1"/>
          </p:cNvSpPr>
          <p:nvPr/>
        </p:nvSpPr>
        <p:spPr bwMode="auto">
          <a:xfrm rot="16200000" flipV="1">
            <a:off x="7035514" y="5056925"/>
            <a:ext cx="245639" cy="0"/>
          </a:xfrm>
          <a:prstGeom prst="line">
            <a:avLst/>
          </a:prstGeom>
          <a:ln w="22225">
            <a:headEnd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90" name="Line 111"/>
          <p:cNvSpPr>
            <a:spLocks noChangeShapeType="1"/>
          </p:cNvSpPr>
          <p:nvPr/>
        </p:nvSpPr>
        <p:spPr bwMode="auto">
          <a:xfrm rot="16200000" flipV="1">
            <a:off x="4985298" y="5053671"/>
            <a:ext cx="245639" cy="0"/>
          </a:xfrm>
          <a:prstGeom prst="line">
            <a:avLst/>
          </a:prstGeom>
          <a:noFill/>
          <a:ln w="22225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3" name="Line 111"/>
          <p:cNvSpPr>
            <a:spLocks noChangeShapeType="1"/>
          </p:cNvSpPr>
          <p:nvPr/>
        </p:nvSpPr>
        <p:spPr bwMode="auto">
          <a:xfrm rot="16200000" flipV="1">
            <a:off x="3135511" y="4998228"/>
            <a:ext cx="245639" cy="0"/>
          </a:xfrm>
          <a:prstGeom prst="line">
            <a:avLst/>
          </a:prstGeom>
          <a:ln w="22225">
            <a:headEnd/>
            <a:tailEnd type="arrow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5" name="Line 111"/>
          <p:cNvSpPr>
            <a:spLocks noChangeShapeType="1"/>
          </p:cNvSpPr>
          <p:nvPr/>
        </p:nvSpPr>
        <p:spPr bwMode="auto">
          <a:xfrm rot="16200000" flipV="1">
            <a:off x="1117099" y="4994973"/>
            <a:ext cx="245639" cy="0"/>
          </a:xfrm>
          <a:prstGeom prst="line">
            <a:avLst/>
          </a:prstGeom>
          <a:noFill/>
          <a:ln w="22225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06" name="TextBox 559"/>
          <p:cNvSpPr txBox="1">
            <a:spLocks noChangeArrowheads="1"/>
          </p:cNvSpPr>
          <p:nvPr/>
        </p:nvSpPr>
        <p:spPr bwMode="auto">
          <a:xfrm>
            <a:off x="8341853" y="2744929"/>
            <a:ext cx="3551067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9" rIns="121917" bIns="60959" anchor="ctr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1965"/>
                </a:solidFill>
              </a:rPr>
              <a:t>Spontaneous </a:t>
            </a:r>
            <a:r>
              <a:rPr lang="en-GB" sz="1200" i="1" dirty="0">
                <a:solidFill>
                  <a:srgbClr val="001965"/>
                </a:solidFill>
              </a:rPr>
              <a:t>ad libitum </a:t>
            </a:r>
            <a:r>
              <a:rPr lang="en-GB" sz="1200" dirty="0">
                <a:solidFill>
                  <a:srgbClr val="001965"/>
                </a:solidFill>
              </a:rPr>
              <a:t>energy intake*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98186" y="3135079"/>
            <a:ext cx="3648540" cy="2493190"/>
            <a:chOff x="3281069" y="2503036"/>
            <a:chExt cx="2736405" cy="1869893"/>
          </a:xfrm>
        </p:grpSpPr>
        <p:sp>
          <p:nvSpPr>
            <p:cNvPr id="187" name="Text Box 25"/>
            <p:cNvSpPr txBox="1">
              <a:spLocks noChangeArrowheads="1"/>
            </p:cNvSpPr>
            <p:nvPr/>
          </p:nvSpPr>
          <p:spPr bwMode="auto">
            <a:xfrm>
              <a:off x="3556948" y="3997876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0</a:t>
              </a:r>
            </a:p>
          </p:txBody>
        </p:sp>
        <p:sp>
          <p:nvSpPr>
            <p:cNvPr id="207" name="Text Box 26"/>
            <p:cNvSpPr txBox="1">
              <a:spLocks noChangeArrowheads="1"/>
            </p:cNvSpPr>
            <p:nvPr/>
          </p:nvSpPr>
          <p:spPr bwMode="auto">
            <a:xfrm>
              <a:off x="3556948" y="3786538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1</a:t>
              </a:r>
            </a:p>
          </p:txBody>
        </p:sp>
        <p:sp>
          <p:nvSpPr>
            <p:cNvPr id="209" name="Text Box 27"/>
            <p:cNvSpPr txBox="1">
              <a:spLocks noChangeArrowheads="1"/>
            </p:cNvSpPr>
            <p:nvPr/>
          </p:nvSpPr>
          <p:spPr bwMode="auto">
            <a:xfrm>
              <a:off x="3556948" y="3365650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3</a:t>
              </a:r>
            </a:p>
          </p:txBody>
        </p:sp>
        <p:sp>
          <p:nvSpPr>
            <p:cNvPr id="210" name="Text Box 28"/>
            <p:cNvSpPr txBox="1">
              <a:spLocks noChangeArrowheads="1"/>
            </p:cNvSpPr>
            <p:nvPr/>
          </p:nvSpPr>
          <p:spPr bwMode="auto">
            <a:xfrm>
              <a:off x="3556948" y="3154312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4</a:t>
              </a:r>
            </a:p>
          </p:txBody>
        </p:sp>
        <p:sp>
          <p:nvSpPr>
            <p:cNvPr id="212" name="Text Box 29"/>
            <p:cNvSpPr txBox="1">
              <a:spLocks noChangeArrowheads="1"/>
            </p:cNvSpPr>
            <p:nvPr/>
          </p:nvSpPr>
          <p:spPr bwMode="auto">
            <a:xfrm>
              <a:off x="3556948" y="2729614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6</a:t>
              </a:r>
            </a:p>
          </p:txBody>
        </p:sp>
        <p:sp>
          <p:nvSpPr>
            <p:cNvPr id="213" name="Text Box 30"/>
            <p:cNvSpPr txBox="1">
              <a:spLocks noChangeArrowheads="1"/>
            </p:cNvSpPr>
            <p:nvPr/>
          </p:nvSpPr>
          <p:spPr bwMode="auto">
            <a:xfrm>
              <a:off x="3556948" y="2503036"/>
              <a:ext cx="220252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7</a:t>
              </a:r>
            </a:p>
          </p:txBody>
        </p:sp>
        <p:sp>
          <p:nvSpPr>
            <p:cNvPr id="215" name="Text Box 222"/>
            <p:cNvSpPr txBox="1">
              <a:spLocks noChangeArrowheads="1"/>
            </p:cNvSpPr>
            <p:nvPr/>
          </p:nvSpPr>
          <p:spPr bwMode="auto">
            <a:xfrm rot="16200000">
              <a:off x="2716852" y="3241789"/>
              <a:ext cx="1351524" cy="223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Energy intake (MJ)</a:t>
              </a:r>
            </a:p>
          </p:txBody>
        </p:sp>
        <p:sp>
          <p:nvSpPr>
            <p:cNvPr id="216" name="Line 11"/>
            <p:cNvSpPr>
              <a:spLocks noChangeShapeType="1"/>
            </p:cNvSpPr>
            <p:nvPr/>
          </p:nvSpPr>
          <p:spPr bwMode="auto">
            <a:xfrm flipV="1">
              <a:off x="3756235" y="2619401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18" name="Line 12"/>
            <p:cNvSpPr>
              <a:spLocks noChangeShapeType="1"/>
            </p:cNvSpPr>
            <p:nvPr/>
          </p:nvSpPr>
          <p:spPr bwMode="auto">
            <a:xfrm flipV="1">
              <a:off x="3756235" y="2846049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19" name="Line 13"/>
            <p:cNvSpPr>
              <a:spLocks noChangeShapeType="1"/>
            </p:cNvSpPr>
            <p:nvPr/>
          </p:nvSpPr>
          <p:spPr bwMode="auto">
            <a:xfrm flipV="1">
              <a:off x="3756235" y="3053647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21" name="Line 14"/>
            <p:cNvSpPr>
              <a:spLocks noChangeShapeType="1"/>
            </p:cNvSpPr>
            <p:nvPr/>
          </p:nvSpPr>
          <p:spPr bwMode="auto">
            <a:xfrm flipV="1">
              <a:off x="3756235" y="3474604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22" name="Line 15"/>
            <p:cNvSpPr>
              <a:spLocks noChangeShapeType="1"/>
            </p:cNvSpPr>
            <p:nvPr/>
          </p:nvSpPr>
          <p:spPr bwMode="auto">
            <a:xfrm flipV="1">
              <a:off x="3756235" y="3899372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24" name="Line 18"/>
            <p:cNvSpPr>
              <a:spLocks noChangeShapeType="1"/>
            </p:cNvSpPr>
            <p:nvPr/>
          </p:nvSpPr>
          <p:spPr bwMode="auto">
            <a:xfrm rot="5400000" flipV="1">
              <a:off x="5276217" y="4142101"/>
              <a:ext cx="60952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40" name="Line 21"/>
            <p:cNvSpPr>
              <a:spLocks noChangeShapeType="1"/>
            </p:cNvSpPr>
            <p:nvPr/>
          </p:nvSpPr>
          <p:spPr bwMode="auto">
            <a:xfrm rot="5400000" flipV="1">
              <a:off x="4299913" y="4142101"/>
              <a:ext cx="60952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43" name="Line 23"/>
            <p:cNvSpPr>
              <a:spLocks noChangeShapeType="1"/>
            </p:cNvSpPr>
            <p:nvPr/>
          </p:nvSpPr>
          <p:spPr bwMode="auto">
            <a:xfrm rot="5400000" flipV="1">
              <a:off x="5986998" y="4142101"/>
              <a:ext cx="60952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49" name="Text Box 33"/>
            <p:cNvSpPr txBox="1">
              <a:spLocks noChangeArrowheads="1"/>
            </p:cNvSpPr>
            <p:nvPr/>
          </p:nvSpPr>
          <p:spPr bwMode="auto">
            <a:xfrm>
              <a:off x="5044026" y="4149838"/>
              <a:ext cx="525625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2060"/>
                  </a:solidFill>
                </a:rPr>
                <a:t>GLP-1</a:t>
              </a:r>
            </a:p>
          </p:txBody>
        </p:sp>
        <p:sp>
          <p:nvSpPr>
            <p:cNvPr id="253" name="Text Box 36"/>
            <p:cNvSpPr txBox="1">
              <a:spLocks noChangeArrowheads="1"/>
            </p:cNvSpPr>
            <p:nvPr/>
          </p:nvSpPr>
          <p:spPr bwMode="auto">
            <a:xfrm>
              <a:off x="4064881" y="4149838"/>
              <a:ext cx="530434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2060"/>
                  </a:solidFill>
                </a:rPr>
                <a:t>Saline</a:t>
              </a:r>
            </a:p>
          </p:txBody>
        </p:sp>
        <p:sp>
          <p:nvSpPr>
            <p:cNvPr id="256" name="Line 9"/>
            <p:cNvSpPr>
              <a:spLocks noChangeShapeType="1"/>
            </p:cNvSpPr>
            <p:nvPr/>
          </p:nvSpPr>
          <p:spPr bwMode="auto">
            <a:xfrm flipH="1">
              <a:off x="3809724" y="2608751"/>
              <a:ext cx="0" cy="150550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58" name="Line 10"/>
            <p:cNvSpPr>
              <a:spLocks noChangeShapeType="1"/>
            </p:cNvSpPr>
            <p:nvPr/>
          </p:nvSpPr>
          <p:spPr bwMode="auto">
            <a:xfrm flipH="1" flipV="1">
              <a:off x="3790640" y="4110780"/>
              <a:ext cx="221161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59" name="Line 15"/>
            <p:cNvSpPr>
              <a:spLocks noChangeShapeType="1"/>
            </p:cNvSpPr>
            <p:nvPr/>
          </p:nvSpPr>
          <p:spPr bwMode="auto">
            <a:xfrm flipV="1">
              <a:off x="3756235" y="4110780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61" name="Text Box 29"/>
            <p:cNvSpPr txBox="1">
              <a:spLocks noChangeArrowheads="1"/>
            </p:cNvSpPr>
            <p:nvPr/>
          </p:nvSpPr>
          <p:spPr bwMode="auto">
            <a:xfrm>
              <a:off x="3556947" y="2939163"/>
              <a:ext cx="220253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5</a:t>
              </a:r>
            </a:p>
          </p:txBody>
        </p:sp>
        <p:sp>
          <p:nvSpPr>
            <p:cNvPr id="262" name="Text Box 29"/>
            <p:cNvSpPr txBox="1">
              <a:spLocks noChangeArrowheads="1"/>
            </p:cNvSpPr>
            <p:nvPr/>
          </p:nvSpPr>
          <p:spPr bwMode="auto">
            <a:xfrm>
              <a:off x="3556947" y="3583054"/>
              <a:ext cx="220253" cy="2230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33" dirty="0">
                  <a:solidFill>
                    <a:srgbClr val="001965"/>
                  </a:solidFill>
                </a:rPr>
                <a:t>2</a:t>
              </a:r>
            </a:p>
          </p:txBody>
        </p:sp>
        <p:sp>
          <p:nvSpPr>
            <p:cNvPr id="264" name="Line 13"/>
            <p:cNvSpPr>
              <a:spLocks noChangeShapeType="1"/>
            </p:cNvSpPr>
            <p:nvPr/>
          </p:nvSpPr>
          <p:spPr bwMode="auto">
            <a:xfrm flipV="1">
              <a:off x="3752425" y="3267007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65" name="Line 14"/>
            <p:cNvSpPr>
              <a:spLocks noChangeShapeType="1"/>
            </p:cNvSpPr>
            <p:nvPr/>
          </p:nvSpPr>
          <p:spPr bwMode="auto">
            <a:xfrm flipV="1">
              <a:off x="3752425" y="3684154"/>
              <a:ext cx="5255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67" name="Text Box 36"/>
            <p:cNvSpPr txBox="1">
              <a:spLocks noChangeArrowheads="1"/>
            </p:cNvSpPr>
            <p:nvPr/>
          </p:nvSpPr>
          <p:spPr bwMode="auto">
            <a:xfrm>
              <a:off x="3910429" y="3723006"/>
              <a:ext cx="832199" cy="1924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67" dirty="0">
                  <a:solidFill>
                    <a:srgbClr val="002060"/>
                  </a:solidFill>
                </a:rPr>
                <a:t>Mean: 4.2 MJ</a:t>
              </a:r>
            </a:p>
          </p:txBody>
        </p:sp>
        <p:sp>
          <p:nvSpPr>
            <p:cNvPr id="268" name="Text Box 36"/>
            <p:cNvSpPr txBox="1">
              <a:spLocks noChangeArrowheads="1"/>
            </p:cNvSpPr>
            <p:nvPr/>
          </p:nvSpPr>
          <p:spPr bwMode="auto">
            <a:xfrm>
              <a:off x="4907262" y="3719486"/>
              <a:ext cx="832199" cy="1924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67" dirty="0">
                  <a:solidFill>
                    <a:srgbClr val="002060"/>
                  </a:solidFill>
                </a:rPr>
                <a:t>Mean: 3.7 MJ</a:t>
              </a:r>
            </a:p>
          </p:txBody>
        </p:sp>
      </p:grpSp>
      <p:cxnSp>
        <p:nvCxnSpPr>
          <p:cNvPr id="19" name="Straight Connector 18"/>
          <p:cNvCxnSpPr/>
          <p:nvPr/>
        </p:nvCxnSpPr>
        <p:spPr>
          <a:xfrm flipV="1">
            <a:off x="9361209" y="3476627"/>
            <a:ext cx="1348067" cy="158604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/>
        </p:nvCxnSpPr>
        <p:spPr>
          <a:xfrm flipV="1">
            <a:off x="9361209" y="3691780"/>
            <a:ext cx="1348067" cy="1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/>
        </p:nvCxnSpPr>
        <p:spPr>
          <a:xfrm>
            <a:off x="9361209" y="3731147"/>
            <a:ext cx="1348067" cy="8220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/>
        </p:nvCxnSpPr>
        <p:spPr>
          <a:xfrm>
            <a:off x="9361209" y="3752416"/>
            <a:ext cx="1348067" cy="72589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>
            <a:off x="9361209" y="3773688"/>
            <a:ext cx="1348067" cy="141939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/>
        </p:nvCxnSpPr>
        <p:spPr>
          <a:xfrm>
            <a:off x="9361210" y="3864303"/>
            <a:ext cx="1335281" cy="285300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/>
        </p:nvCxnSpPr>
        <p:spPr>
          <a:xfrm flipV="1">
            <a:off x="9361210" y="4016088"/>
            <a:ext cx="1335281" cy="35761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/>
        </p:nvCxnSpPr>
        <p:spPr>
          <a:xfrm>
            <a:off x="9361210" y="4071777"/>
            <a:ext cx="1335281" cy="25809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/>
          <p:nvPr/>
        </p:nvCxnSpPr>
        <p:spPr>
          <a:xfrm>
            <a:off x="9361210" y="4127466"/>
            <a:ext cx="1335281" cy="18885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/>
        </p:nvCxnSpPr>
        <p:spPr>
          <a:xfrm>
            <a:off x="9361210" y="4126239"/>
            <a:ext cx="1346332" cy="308980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/>
        </p:nvCxnSpPr>
        <p:spPr>
          <a:xfrm>
            <a:off x="9361209" y="4128124"/>
            <a:ext cx="1340291" cy="36170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/>
        </p:nvCxnSpPr>
        <p:spPr>
          <a:xfrm>
            <a:off x="9361210" y="4122071"/>
            <a:ext cx="1335281" cy="495668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/>
          <p:nvPr/>
        </p:nvCxnSpPr>
        <p:spPr>
          <a:xfrm>
            <a:off x="9361209" y="4263293"/>
            <a:ext cx="1348067" cy="2302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/>
        </p:nvCxnSpPr>
        <p:spPr>
          <a:xfrm>
            <a:off x="9361210" y="4301279"/>
            <a:ext cx="1327505" cy="15040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/>
        </p:nvCxnSpPr>
        <p:spPr>
          <a:xfrm>
            <a:off x="9361210" y="4304179"/>
            <a:ext cx="1335281" cy="102207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/>
        </p:nvCxnSpPr>
        <p:spPr>
          <a:xfrm>
            <a:off x="9361209" y="4323547"/>
            <a:ext cx="1340291" cy="354135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/>
        </p:nvCxnSpPr>
        <p:spPr>
          <a:xfrm flipV="1">
            <a:off x="9361210" y="4387213"/>
            <a:ext cx="1335281" cy="43288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/>
          <p:nvPr/>
        </p:nvCxnSpPr>
        <p:spPr>
          <a:xfrm>
            <a:off x="9361210" y="4494169"/>
            <a:ext cx="1335281" cy="29787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/>
          <p:nvPr/>
        </p:nvCxnSpPr>
        <p:spPr>
          <a:xfrm>
            <a:off x="9361208" y="4506379"/>
            <a:ext cx="1322496" cy="133061"/>
          </a:xfrm>
          <a:prstGeom prst="line">
            <a:avLst/>
          </a:prstGeom>
          <a:ln w="9525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65" name="Rectangle 70664"/>
          <p:cNvSpPr/>
          <p:nvPr/>
        </p:nvSpPr>
        <p:spPr>
          <a:xfrm>
            <a:off x="10683705" y="3380317"/>
            <a:ext cx="152571" cy="1358128"/>
          </a:xfrm>
          <a:prstGeom prst="rect">
            <a:avLst/>
          </a:prstGeom>
          <a:solidFill>
            <a:srgbClr val="FFFFF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37" name="Text Box 129"/>
          <p:cNvSpPr txBox="1">
            <a:spLocks noChangeArrowheads="1"/>
          </p:cNvSpPr>
          <p:nvPr/>
        </p:nvSpPr>
        <p:spPr bwMode="auto">
          <a:xfrm>
            <a:off x="9438361" y="3168854"/>
            <a:ext cx="91627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i="1" dirty="0">
                <a:solidFill>
                  <a:srgbClr val="001965"/>
                </a:solidFill>
              </a:rPr>
              <a:t>p</a:t>
            </a:r>
            <a:r>
              <a:rPr lang="en-GB" sz="1200" dirty="0">
                <a:solidFill>
                  <a:srgbClr val="001965"/>
                </a:solidFill>
              </a:rPr>
              <a:t>=0.002</a:t>
            </a:r>
          </a:p>
        </p:txBody>
      </p:sp>
    </p:spTree>
    <p:extLst>
      <p:ext uri="{BB962C8B-B14F-4D97-AF65-F5344CB8AC3E}">
        <p14:creationId xmlns:p14="http://schemas.microsoft.com/office/powerpoint/2010/main" val="39803607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AutoShape 2">
            <a:extLst>
              <a:ext uri="{FF2B5EF4-FFF2-40B4-BE49-F238E27FC236}">
                <a16:creationId xmlns:a16="http://schemas.microsoft.com/office/drawing/2014/main" xmlns="" id="{E85576E6-AE95-4874-9933-D07FE2F723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12114" y="477841"/>
            <a:ext cx="165100" cy="885825"/>
          </a:xfrm>
          <a:prstGeom prst="roundRect">
            <a:avLst>
              <a:gd name="adj" fmla="val 958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11" name="Text Box 3">
            <a:extLst>
              <a:ext uri="{FF2B5EF4-FFF2-40B4-BE49-F238E27FC236}">
                <a16:creationId xmlns:a16="http://schemas.microsoft.com/office/drawing/2014/main" xmlns="" id="{781783D2-A1F6-4D2B-BAFE-517BFC3941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1397002"/>
            <a:ext cx="3276600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Inattivazione proteolitica da parte di DPP-IV</a:t>
            </a:r>
          </a:p>
        </p:txBody>
      </p:sp>
      <p:sp>
        <p:nvSpPr>
          <p:cNvPr id="17412" name="Text Box 4">
            <a:extLst>
              <a:ext uri="{FF2B5EF4-FFF2-40B4-BE49-F238E27FC236}">
                <a16:creationId xmlns:a16="http://schemas.microsoft.com/office/drawing/2014/main" xmlns="" id="{B8F532E6-3D44-4905-B1C2-7A0C57ABB7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0939" y="3071814"/>
            <a:ext cx="31451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17413" name="Text Box 5">
            <a:extLst>
              <a:ext uri="{FF2B5EF4-FFF2-40B4-BE49-F238E27FC236}">
                <a16:creationId xmlns:a16="http://schemas.microsoft.com/office/drawing/2014/main" xmlns="" id="{3EB1B0E7-A2BD-4121-BC57-9C30892CAF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5064" y="406241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37</a:t>
            </a:r>
          </a:p>
        </p:txBody>
      </p:sp>
      <p:sp>
        <p:nvSpPr>
          <p:cNvPr id="17414" name="Text Box 6">
            <a:extLst>
              <a:ext uri="{FF2B5EF4-FFF2-40B4-BE49-F238E27FC236}">
                <a16:creationId xmlns:a16="http://schemas.microsoft.com/office/drawing/2014/main" xmlns="" id="{DE518EB0-2292-4A85-A8C4-04FCD70A34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0225" y="3071814"/>
            <a:ext cx="31451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7415" name="Oval 7">
            <a:extLst>
              <a:ext uri="{FF2B5EF4-FFF2-40B4-BE49-F238E27FC236}">
                <a16:creationId xmlns:a16="http://schemas.microsoft.com/office/drawing/2014/main" xmlns="" id="{C10C9803-2357-40CF-9AF8-E463F76635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6065" y="4329115"/>
            <a:ext cx="306387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ys</a:t>
            </a:r>
          </a:p>
        </p:txBody>
      </p:sp>
      <p:sp>
        <p:nvSpPr>
          <p:cNvPr id="17416" name="Oval 8">
            <a:extLst>
              <a:ext uri="{FF2B5EF4-FFF2-40B4-BE49-F238E27FC236}">
                <a16:creationId xmlns:a16="http://schemas.microsoft.com/office/drawing/2014/main" xmlns="" id="{9AB8FB60-CF0E-416A-97BD-828632D89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5227" y="2749552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His</a:t>
            </a:r>
          </a:p>
        </p:txBody>
      </p:sp>
      <p:sp>
        <p:nvSpPr>
          <p:cNvPr id="17417" name="Oval 9">
            <a:extLst>
              <a:ext uri="{FF2B5EF4-FFF2-40B4-BE49-F238E27FC236}">
                <a16:creationId xmlns:a16="http://schemas.microsoft.com/office/drawing/2014/main" xmlns="" id="{3162F8A5-5EBA-43D4-95F3-14D869C0AD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9552" y="2749552"/>
            <a:ext cx="309563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la</a:t>
            </a:r>
          </a:p>
        </p:txBody>
      </p:sp>
      <p:sp>
        <p:nvSpPr>
          <p:cNvPr id="17418" name="Oval 10">
            <a:extLst>
              <a:ext uri="{FF2B5EF4-FFF2-40B4-BE49-F238E27FC236}">
                <a16:creationId xmlns:a16="http://schemas.microsoft.com/office/drawing/2014/main" xmlns="" id="{64874BC4-C3B4-40F5-9F68-044FA27B1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7" y="2749552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hr</a:t>
            </a:r>
          </a:p>
        </p:txBody>
      </p:sp>
      <p:sp>
        <p:nvSpPr>
          <p:cNvPr id="17419" name="Oval 11">
            <a:extLst>
              <a:ext uri="{FF2B5EF4-FFF2-40B4-BE49-F238E27FC236}">
                <a16:creationId xmlns:a16="http://schemas.microsoft.com/office/drawing/2014/main" xmlns="" id="{48C3DCB7-0A34-4889-9495-5389D5A09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1815" y="2751137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hr</a:t>
            </a:r>
          </a:p>
        </p:txBody>
      </p:sp>
      <p:sp>
        <p:nvSpPr>
          <p:cNvPr id="17420" name="Oval 12">
            <a:extLst>
              <a:ext uri="{FF2B5EF4-FFF2-40B4-BE49-F238E27FC236}">
                <a16:creationId xmlns:a16="http://schemas.microsoft.com/office/drawing/2014/main" xmlns="" id="{92B06BB9-36A7-4D41-BB2E-DBC90B7C3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2966" y="2751137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Ser</a:t>
            </a:r>
          </a:p>
        </p:txBody>
      </p:sp>
      <p:sp>
        <p:nvSpPr>
          <p:cNvPr id="17421" name="Oval 13">
            <a:extLst>
              <a:ext uri="{FF2B5EF4-FFF2-40B4-BE49-F238E27FC236}">
                <a16:creationId xmlns:a16="http://schemas.microsoft.com/office/drawing/2014/main" xmlns="" id="{C8E11E4D-8575-4EA1-9183-29C1D52A4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726" y="2749552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Phe</a:t>
            </a:r>
          </a:p>
        </p:txBody>
      </p:sp>
      <p:sp>
        <p:nvSpPr>
          <p:cNvPr id="17422" name="Oval 14">
            <a:extLst>
              <a:ext uri="{FF2B5EF4-FFF2-40B4-BE49-F238E27FC236}">
                <a16:creationId xmlns:a16="http://schemas.microsoft.com/office/drawing/2014/main" xmlns="" id="{35A0998C-C3D9-4BB0-8E12-0829031CC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8640" y="2749552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u</a:t>
            </a:r>
          </a:p>
        </p:txBody>
      </p:sp>
      <p:sp>
        <p:nvSpPr>
          <p:cNvPr id="17423" name="Oval 15">
            <a:extLst>
              <a:ext uri="{FF2B5EF4-FFF2-40B4-BE49-F238E27FC236}">
                <a16:creationId xmlns:a16="http://schemas.microsoft.com/office/drawing/2014/main" xmlns="" id="{748A103B-F62D-483B-86A8-14E716B4B8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7726" y="2749552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y</a:t>
            </a:r>
          </a:p>
        </p:txBody>
      </p:sp>
      <p:sp>
        <p:nvSpPr>
          <p:cNvPr id="17424" name="Oval 16">
            <a:extLst>
              <a:ext uri="{FF2B5EF4-FFF2-40B4-BE49-F238E27FC236}">
                <a16:creationId xmlns:a16="http://schemas.microsoft.com/office/drawing/2014/main" xmlns="" id="{4EC18B24-BCD8-46DA-86AA-668725A379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4115" y="2787652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sp</a:t>
            </a:r>
          </a:p>
        </p:txBody>
      </p:sp>
      <p:sp>
        <p:nvSpPr>
          <p:cNvPr id="17425" name="Oval 17">
            <a:extLst>
              <a:ext uri="{FF2B5EF4-FFF2-40B4-BE49-F238E27FC236}">
                <a16:creationId xmlns:a16="http://schemas.microsoft.com/office/drawing/2014/main" xmlns="" id="{57019751-2F58-429D-8ED8-C7F6485C40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3827" y="2984501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Val</a:t>
            </a:r>
          </a:p>
        </p:txBody>
      </p:sp>
      <p:sp>
        <p:nvSpPr>
          <p:cNvPr id="17426" name="Oval 18">
            <a:extLst>
              <a:ext uri="{FF2B5EF4-FFF2-40B4-BE49-F238E27FC236}">
                <a16:creationId xmlns:a16="http://schemas.microsoft.com/office/drawing/2014/main" xmlns="" id="{0FCB21E6-8DDB-4819-B8A3-4EA36445C0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6526" y="3297237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Ser</a:t>
            </a:r>
          </a:p>
        </p:txBody>
      </p:sp>
      <p:sp>
        <p:nvSpPr>
          <p:cNvPr id="17427" name="Oval 19">
            <a:extLst>
              <a:ext uri="{FF2B5EF4-FFF2-40B4-BE49-F238E27FC236}">
                <a16:creationId xmlns:a16="http://schemas.microsoft.com/office/drawing/2014/main" xmlns="" id="{E706B8A8-EA55-4D9F-836D-DEAAD89AA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540" y="3575052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Ser</a:t>
            </a:r>
          </a:p>
        </p:txBody>
      </p:sp>
      <p:sp>
        <p:nvSpPr>
          <p:cNvPr id="17428" name="Oval 20">
            <a:extLst>
              <a:ext uri="{FF2B5EF4-FFF2-40B4-BE49-F238E27FC236}">
                <a16:creationId xmlns:a16="http://schemas.microsoft.com/office/drawing/2014/main" xmlns="" id="{AAEECA56-91D1-4AAA-929E-4E4A3B045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2975" y="3576637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yr</a:t>
            </a:r>
          </a:p>
        </p:txBody>
      </p:sp>
      <p:sp>
        <p:nvSpPr>
          <p:cNvPr id="17429" name="Oval 21">
            <a:extLst>
              <a:ext uri="{FF2B5EF4-FFF2-40B4-BE49-F238E27FC236}">
                <a16:creationId xmlns:a16="http://schemas.microsoft.com/office/drawing/2014/main" xmlns="" id="{59AEB143-4CAF-4F9A-AA13-79791720E3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5478" y="3576637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eu</a:t>
            </a:r>
          </a:p>
        </p:txBody>
      </p:sp>
      <p:sp>
        <p:nvSpPr>
          <p:cNvPr id="17430" name="Oval 22">
            <a:extLst>
              <a:ext uri="{FF2B5EF4-FFF2-40B4-BE49-F238E27FC236}">
                <a16:creationId xmlns:a16="http://schemas.microsoft.com/office/drawing/2014/main" xmlns="" id="{C8B3FA7F-2CE6-4DD7-93C4-689D4338B7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7501" y="3576637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u</a:t>
            </a:r>
          </a:p>
        </p:txBody>
      </p:sp>
      <p:sp>
        <p:nvSpPr>
          <p:cNvPr id="17431" name="Oval 23">
            <a:extLst>
              <a:ext uri="{FF2B5EF4-FFF2-40B4-BE49-F238E27FC236}">
                <a16:creationId xmlns:a16="http://schemas.microsoft.com/office/drawing/2014/main" xmlns="" id="{45DDCF6B-9B7C-4622-8168-F27BD63C7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940" y="3576637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y</a:t>
            </a:r>
          </a:p>
        </p:txBody>
      </p:sp>
      <p:sp>
        <p:nvSpPr>
          <p:cNvPr id="17432" name="Oval 24">
            <a:extLst>
              <a:ext uri="{FF2B5EF4-FFF2-40B4-BE49-F238E27FC236}">
                <a16:creationId xmlns:a16="http://schemas.microsoft.com/office/drawing/2014/main" xmlns="" id="{1BCCCCE1-123F-4DAC-8F3D-D192A96A5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9290" y="3576637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la</a:t>
            </a:r>
          </a:p>
        </p:txBody>
      </p:sp>
      <p:sp>
        <p:nvSpPr>
          <p:cNvPr id="17433" name="Oval 25">
            <a:extLst>
              <a:ext uri="{FF2B5EF4-FFF2-40B4-BE49-F238E27FC236}">
                <a16:creationId xmlns:a16="http://schemas.microsoft.com/office/drawing/2014/main" xmlns="" id="{0FD02285-1EE4-41CC-A3D7-430B17E9B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8140" y="3576637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la</a:t>
            </a:r>
          </a:p>
        </p:txBody>
      </p:sp>
      <p:sp>
        <p:nvSpPr>
          <p:cNvPr id="17434" name="Oval 26">
            <a:extLst>
              <a:ext uri="{FF2B5EF4-FFF2-40B4-BE49-F238E27FC236}">
                <a16:creationId xmlns:a16="http://schemas.microsoft.com/office/drawing/2014/main" xmlns="" id="{42E0724B-2DD8-47D5-B119-0CDCBC349B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5202" y="3576637"/>
            <a:ext cx="307975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n</a:t>
            </a:r>
          </a:p>
        </p:txBody>
      </p:sp>
      <p:sp>
        <p:nvSpPr>
          <p:cNvPr id="17435" name="Oval 27">
            <a:extLst>
              <a:ext uri="{FF2B5EF4-FFF2-40B4-BE49-F238E27FC236}">
                <a16:creationId xmlns:a16="http://schemas.microsoft.com/office/drawing/2014/main" xmlns="" id="{42A7743F-10F5-43DE-9E49-C6AB86969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2226" y="3576637"/>
            <a:ext cx="306388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ys</a:t>
            </a:r>
          </a:p>
        </p:txBody>
      </p:sp>
      <p:sp>
        <p:nvSpPr>
          <p:cNvPr id="17436" name="Oval 28">
            <a:extLst>
              <a:ext uri="{FF2B5EF4-FFF2-40B4-BE49-F238E27FC236}">
                <a16:creationId xmlns:a16="http://schemas.microsoft.com/office/drawing/2014/main" xmlns="" id="{AED5D138-C71C-4CC4-9E0B-2CF8184B6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3465" y="4076701"/>
            <a:ext cx="306387" cy="311151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Phe</a:t>
            </a:r>
          </a:p>
        </p:txBody>
      </p:sp>
      <p:sp>
        <p:nvSpPr>
          <p:cNvPr id="17437" name="Oval 29">
            <a:extLst>
              <a:ext uri="{FF2B5EF4-FFF2-40B4-BE49-F238E27FC236}">
                <a16:creationId xmlns:a16="http://schemas.microsoft.com/office/drawing/2014/main" xmlns="" id="{ECB14DA6-03E9-4F50-984B-388434127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3465" y="3760788"/>
            <a:ext cx="306387" cy="309563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u</a:t>
            </a:r>
          </a:p>
        </p:txBody>
      </p:sp>
      <p:sp>
        <p:nvSpPr>
          <p:cNvPr id="17438" name="Oval 30">
            <a:extLst>
              <a:ext uri="{FF2B5EF4-FFF2-40B4-BE49-F238E27FC236}">
                <a16:creationId xmlns:a16="http://schemas.microsoft.com/office/drawing/2014/main" xmlns="" id="{44AB7557-7844-4257-A131-14B0730AF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4440" y="4335466"/>
            <a:ext cx="306387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Ile</a:t>
            </a:r>
          </a:p>
        </p:txBody>
      </p:sp>
      <p:sp>
        <p:nvSpPr>
          <p:cNvPr id="17439" name="Oval 31">
            <a:extLst>
              <a:ext uri="{FF2B5EF4-FFF2-40B4-BE49-F238E27FC236}">
                <a16:creationId xmlns:a16="http://schemas.microsoft.com/office/drawing/2014/main" xmlns="" id="{348BA996-CF42-4E2D-8523-F2ED402F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7178" y="4335466"/>
            <a:ext cx="307975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la</a:t>
            </a:r>
          </a:p>
        </p:txBody>
      </p:sp>
      <p:sp>
        <p:nvSpPr>
          <p:cNvPr id="17440" name="Oval 32">
            <a:extLst>
              <a:ext uri="{FF2B5EF4-FFF2-40B4-BE49-F238E27FC236}">
                <a16:creationId xmlns:a16="http://schemas.microsoft.com/office/drawing/2014/main" xmlns="" id="{798845B8-12E4-453D-9086-CC7470D97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9915" y="4335466"/>
            <a:ext cx="307975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rp</a:t>
            </a:r>
          </a:p>
        </p:txBody>
      </p:sp>
      <p:sp>
        <p:nvSpPr>
          <p:cNvPr id="17441" name="Oval 33">
            <a:extLst>
              <a:ext uri="{FF2B5EF4-FFF2-40B4-BE49-F238E27FC236}">
                <a16:creationId xmlns:a16="http://schemas.microsoft.com/office/drawing/2014/main" xmlns="" id="{DBFB53A4-FD19-4E77-B423-705B621C4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7415" y="4335463"/>
            <a:ext cx="307975" cy="311151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Leu</a:t>
            </a:r>
          </a:p>
        </p:txBody>
      </p:sp>
      <p:sp>
        <p:nvSpPr>
          <p:cNvPr id="17442" name="Oval 34">
            <a:extLst>
              <a:ext uri="{FF2B5EF4-FFF2-40B4-BE49-F238E27FC236}">
                <a16:creationId xmlns:a16="http://schemas.microsoft.com/office/drawing/2014/main" xmlns="" id="{5E06F3AA-A2E3-4EE2-A162-0CB39EFC4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388" y="4335463"/>
            <a:ext cx="309563" cy="311151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y</a:t>
            </a:r>
          </a:p>
        </p:txBody>
      </p:sp>
      <p:sp>
        <p:nvSpPr>
          <p:cNvPr id="17443" name="Oval 35">
            <a:extLst>
              <a:ext uri="{FF2B5EF4-FFF2-40B4-BE49-F238E27FC236}">
                <a16:creationId xmlns:a16="http://schemas.microsoft.com/office/drawing/2014/main" xmlns="" id="{D61DB371-F939-4237-AE82-EC5B83ADB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15" y="4335466"/>
            <a:ext cx="306387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Val</a:t>
            </a:r>
          </a:p>
        </p:txBody>
      </p:sp>
      <p:sp>
        <p:nvSpPr>
          <p:cNvPr id="17444" name="Oval 36">
            <a:extLst>
              <a:ext uri="{FF2B5EF4-FFF2-40B4-BE49-F238E27FC236}">
                <a16:creationId xmlns:a16="http://schemas.microsoft.com/office/drawing/2014/main" xmlns="" id="{C58A35E3-73AB-4F15-96EB-EC9F136AA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0390" y="4335466"/>
            <a:ext cx="307975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y</a:t>
            </a:r>
          </a:p>
        </p:txBody>
      </p:sp>
      <p:sp>
        <p:nvSpPr>
          <p:cNvPr id="17445" name="Oval 37">
            <a:extLst>
              <a:ext uri="{FF2B5EF4-FFF2-40B4-BE49-F238E27FC236}">
                <a16:creationId xmlns:a16="http://schemas.microsoft.com/office/drawing/2014/main" xmlns="" id="{9A597B79-4001-413B-86D6-FE80ECCCE4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4335466"/>
            <a:ext cx="309563" cy="307975"/>
          </a:xfrm>
          <a:prstGeom prst="ellipse">
            <a:avLst/>
          </a:prstGeom>
          <a:solidFill>
            <a:srgbClr val="A8C903"/>
          </a:solidFill>
          <a:ln w="126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0000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200" b="1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rg</a:t>
            </a:r>
          </a:p>
        </p:txBody>
      </p:sp>
      <p:sp>
        <p:nvSpPr>
          <p:cNvPr id="17446" name="Rectangle 38">
            <a:extLst>
              <a:ext uri="{FF2B5EF4-FFF2-40B4-BE49-F238E27FC236}">
                <a16:creationId xmlns:a16="http://schemas.microsoft.com/office/drawing/2014/main" xmlns="" id="{D3E55534-6048-48BD-A978-426D6BEF5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333" y="6403448"/>
            <a:ext cx="5976939" cy="216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160" tIns="46080" rIns="92160" bIns="46080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800" i="1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Adapted from Vilsbøll et al. J Clin Endocrinol Metab 2003;88:220–4.</a:t>
            </a:r>
          </a:p>
        </p:txBody>
      </p:sp>
      <p:sp>
        <p:nvSpPr>
          <p:cNvPr id="17447" name="Text Box 39">
            <a:extLst>
              <a:ext uri="{FF2B5EF4-FFF2-40B4-BE49-F238E27FC236}">
                <a16:creationId xmlns:a16="http://schemas.microsoft.com/office/drawing/2014/main" xmlns="" id="{4706CE2C-0E85-48B8-8BFB-88A3EF6301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40639" y="2386014"/>
            <a:ext cx="229261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Diabete tipo II </a:t>
            </a:r>
            <a:r>
              <a:rPr lang="en-US" altLang="en-US" sz="14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(n=6)</a:t>
            </a:r>
            <a:r>
              <a:rPr lang="ar-SA" altLang="en-US" sz="14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US" altLang="en-US" sz="1400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48" name="Text Box 40">
            <a:extLst>
              <a:ext uri="{FF2B5EF4-FFF2-40B4-BE49-F238E27FC236}">
                <a16:creationId xmlns:a16="http://schemas.microsoft.com/office/drawing/2014/main" xmlns="" id="{6D5DA267-04FE-4595-8A53-DE5EF9779F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7789" y="2135190"/>
            <a:ext cx="188224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Sogg. sani </a:t>
            </a:r>
            <a:r>
              <a:rPr lang="en-US" altLang="en-US" sz="14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(n=6)</a:t>
            </a:r>
            <a:r>
              <a:rPr lang="ar-SA" altLang="en-US" sz="14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US" altLang="en-US" sz="1400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49" name="Text Box 41">
            <a:extLst>
              <a:ext uri="{FF2B5EF4-FFF2-40B4-BE49-F238E27FC236}">
                <a16:creationId xmlns:a16="http://schemas.microsoft.com/office/drawing/2014/main" xmlns="" id="{7B4ED5F3-865E-4A46-9E37-38464B81EC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000" y="1639888"/>
            <a:ext cx="3886200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Bolo ev GLP-1 (15 nmol/L)</a:t>
            </a:r>
            <a:r>
              <a:rPr lang="ar-SA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GB" altLang="en-US" sz="1900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50" name="Text Box 42">
            <a:extLst>
              <a:ext uri="{FF2B5EF4-FFF2-40B4-BE49-F238E27FC236}">
                <a16:creationId xmlns:a16="http://schemas.microsoft.com/office/drawing/2014/main" xmlns="" id="{AD2F5281-6499-4B7B-AF51-FB1F5D1B3C4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5125334" y="3141940"/>
            <a:ext cx="27398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GLP-1intatto (pmol/L)</a:t>
            </a:r>
            <a:r>
              <a:rPr lang="ar-SA" altLang="en-US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US" altLang="en-US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51" name="Text Box 43">
            <a:extLst>
              <a:ext uri="{FF2B5EF4-FFF2-40B4-BE49-F238E27FC236}">
                <a16:creationId xmlns:a16="http://schemas.microsoft.com/office/drawing/2014/main" xmlns="" id="{EAF10C1B-98A0-4B49-9284-7D90D83192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9909" y="4643437"/>
            <a:ext cx="167308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empo (min)</a:t>
            </a:r>
            <a:r>
              <a:rPr lang="ar-SA" altLang="en-US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US" altLang="en-US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52" name="Oval 44">
            <a:extLst>
              <a:ext uri="{FF2B5EF4-FFF2-40B4-BE49-F238E27FC236}">
                <a16:creationId xmlns:a16="http://schemas.microsoft.com/office/drawing/2014/main" xmlns="" id="{683248C6-B1B4-41D8-A846-CE5B50DA1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2378" y="2506663"/>
            <a:ext cx="130175" cy="139700"/>
          </a:xfrm>
          <a:prstGeom prst="ellipse">
            <a:avLst/>
          </a:prstGeom>
          <a:solidFill>
            <a:srgbClr val="000066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53" name="AutoShape 45">
            <a:extLst>
              <a:ext uri="{FF2B5EF4-FFF2-40B4-BE49-F238E27FC236}">
                <a16:creationId xmlns:a16="http://schemas.microsoft.com/office/drawing/2014/main" xmlns="" id="{A0C06637-1FAA-4EFF-922E-17A712D475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3802" y="2209801"/>
            <a:ext cx="163513" cy="173039"/>
          </a:xfrm>
          <a:prstGeom prst="triangle">
            <a:avLst>
              <a:gd name="adj" fmla="val 50000"/>
            </a:avLst>
          </a:prstGeom>
          <a:solidFill>
            <a:srgbClr val="FF6600"/>
          </a:solidFill>
          <a:ln w="936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54" name="Text Box 46">
            <a:extLst>
              <a:ext uri="{FF2B5EF4-FFF2-40B4-BE49-F238E27FC236}">
                <a16:creationId xmlns:a16="http://schemas.microsoft.com/office/drawing/2014/main" xmlns="" id="{01313DD5-E0AF-4B9C-B4FC-622ACC9882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21601" y="433546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–5</a:t>
            </a:r>
          </a:p>
        </p:txBody>
      </p:sp>
      <p:sp>
        <p:nvSpPr>
          <p:cNvPr id="17455" name="Text Box 47">
            <a:extLst>
              <a:ext uri="{FF2B5EF4-FFF2-40B4-BE49-F238E27FC236}">
                <a16:creationId xmlns:a16="http://schemas.microsoft.com/office/drawing/2014/main" xmlns="" id="{70879679-F9D0-41AB-A3A4-811A37C4D1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2764" y="4335464"/>
            <a:ext cx="31450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7456" name="Text Box 48">
            <a:extLst>
              <a:ext uri="{FF2B5EF4-FFF2-40B4-BE49-F238E27FC236}">
                <a16:creationId xmlns:a16="http://schemas.microsoft.com/office/drawing/2014/main" xmlns="" id="{366A6BCA-8B2C-4698-BD2E-B47599122F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35194" y="433546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7457" name="Text Box 49">
            <a:extLst>
              <a:ext uri="{FF2B5EF4-FFF2-40B4-BE49-F238E27FC236}">
                <a16:creationId xmlns:a16="http://schemas.microsoft.com/office/drawing/2014/main" xmlns="" id="{4AC5F928-9F4F-4D73-AE46-98ADDC1AA2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5932" y="433546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35</a:t>
            </a:r>
          </a:p>
        </p:txBody>
      </p:sp>
      <p:sp>
        <p:nvSpPr>
          <p:cNvPr id="17458" name="Text Box 50">
            <a:extLst>
              <a:ext uri="{FF2B5EF4-FFF2-40B4-BE49-F238E27FC236}">
                <a16:creationId xmlns:a16="http://schemas.microsoft.com/office/drawing/2014/main" xmlns="" id="{F407182B-05F1-4C29-8D4F-53BADC3DF7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094" y="433546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45</a:t>
            </a:r>
          </a:p>
        </p:txBody>
      </p:sp>
      <p:sp>
        <p:nvSpPr>
          <p:cNvPr id="17459" name="Text Box 51">
            <a:extLst>
              <a:ext uri="{FF2B5EF4-FFF2-40B4-BE49-F238E27FC236}">
                <a16:creationId xmlns:a16="http://schemas.microsoft.com/office/drawing/2014/main" xmlns="" id="{B8EC3BB0-E902-43CE-929A-6A8186CD44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8155" y="4094164"/>
            <a:ext cx="31450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460" name="Text Box 52">
            <a:extLst>
              <a:ext uri="{FF2B5EF4-FFF2-40B4-BE49-F238E27FC236}">
                <a16:creationId xmlns:a16="http://schemas.microsoft.com/office/drawing/2014/main" xmlns="" id="{B104F3AB-0F0C-4E1E-A35F-1CD7E66829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75930" y="3141664"/>
            <a:ext cx="57419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500</a:t>
            </a:r>
          </a:p>
        </p:txBody>
      </p:sp>
      <p:sp>
        <p:nvSpPr>
          <p:cNvPr id="17461" name="Text Box 53">
            <a:extLst>
              <a:ext uri="{FF2B5EF4-FFF2-40B4-BE49-F238E27FC236}">
                <a16:creationId xmlns:a16="http://schemas.microsoft.com/office/drawing/2014/main" xmlns="" id="{D24C95AB-A658-41DC-9276-C3E3BAB7FB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4025" y="2214564"/>
            <a:ext cx="70403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1000</a:t>
            </a:r>
          </a:p>
        </p:txBody>
      </p:sp>
      <p:sp>
        <p:nvSpPr>
          <p:cNvPr id="17462" name="Text Box 54">
            <a:extLst>
              <a:ext uri="{FF2B5EF4-FFF2-40B4-BE49-F238E27FC236}">
                <a16:creationId xmlns:a16="http://schemas.microsoft.com/office/drawing/2014/main" xmlns="" id="{1D0D92D9-F647-40D0-A311-775C671284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54294" y="4335464"/>
            <a:ext cx="44435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6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25</a:t>
            </a:r>
          </a:p>
        </p:txBody>
      </p:sp>
      <p:grpSp>
        <p:nvGrpSpPr>
          <p:cNvPr id="17463" name="Group 55">
            <a:extLst>
              <a:ext uri="{FF2B5EF4-FFF2-40B4-BE49-F238E27FC236}">
                <a16:creationId xmlns:a16="http://schemas.microsoft.com/office/drawing/2014/main" xmlns="" id="{BC2914DD-EF49-4557-AB5F-493805A9379D}"/>
              </a:ext>
            </a:extLst>
          </p:cNvPr>
          <p:cNvGrpSpPr>
            <a:grpSpLocks/>
          </p:cNvGrpSpPr>
          <p:nvPr/>
        </p:nvGrpSpPr>
        <p:grpSpPr bwMode="auto">
          <a:xfrm>
            <a:off x="7283450" y="2389188"/>
            <a:ext cx="2114551" cy="1935163"/>
            <a:chOff x="3628" y="1585"/>
            <a:chExt cx="1332" cy="1219"/>
          </a:xfrm>
        </p:grpSpPr>
        <p:sp>
          <p:nvSpPr>
            <p:cNvPr id="17495" name="Freeform 56">
              <a:extLst>
                <a:ext uri="{FF2B5EF4-FFF2-40B4-BE49-F238E27FC236}">
                  <a16:creationId xmlns:a16="http://schemas.microsoft.com/office/drawing/2014/main" xmlns="" id="{F6C95EBF-C32F-4249-8C17-624050811E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8" y="1585"/>
              <a:ext cx="1333" cy="1214"/>
            </a:xfrm>
            <a:custGeom>
              <a:avLst/>
              <a:gdLst>
                <a:gd name="T0" fmla="*/ 0 w 1912"/>
                <a:gd name="T1" fmla="*/ 0 h 1888"/>
                <a:gd name="T2" fmla="*/ 23 w 1912"/>
                <a:gd name="T3" fmla="*/ 0 h 1888"/>
                <a:gd name="T4" fmla="*/ 23 w 1912"/>
                <a:gd name="T5" fmla="*/ 761 h 1888"/>
                <a:gd name="T6" fmla="*/ 929 w 1912"/>
                <a:gd name="T7" fmla="*/ 761 h 1888"/>
                <a:gd name="T8" fmla="*/ 929 w 1912"/>
                <a:gd name="T9" fmla="*/ 781 h 18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12" h="1888">
                  <a:moveTo>
                    <a:pt x="0" y="0"/>
                  </a:moveTo>
                  <a:lnTo>
                    <a:pt x="48" y="0"/>
                  </a:lnTo>
                  <a:lnTo>
                    <a:pt x="48" y="1840"/>
                  </a:lnTo>
                  <a:lnTo>
                    <a:pt x="1912" y="1840"/>
                  </a:lnTo>
                  <a:lnTo>
                    <a:pt x="1912" y="1888"/>
                  </a:lnTo>
                </a:path>
              </a:pathLst>
            </a:custGeom>
            <a:noFill/>
            <a:ln w="1908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496" name="Line 57">
              <a:extLst>
                <a:ext uri="{FF2B5EF4-FFF2-40B4-BE49-F238E27FC236}">
                  <a16:creationId xmlns:a16="http://schemas.microsoft.com/office/drawing/2014/main" xmlns="" id="{4FCE2112-983E-413F-BD30-823896918C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27" y="2770"/>
              <a:ext cx="40" cy="1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497" name="Line 58">
              <a:extLst>
                <a:ext uri="{FF2B5EF4-FFF2-40B4-BE49-F238E27FC236}">
                  <a16:creationId xmlns:a16="http://schemas.microsoft.com/office/drawing/2014/main" xmlns="" id="{AF5C4C31-CF60-48C9-BA39-A29CEEBCF0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1" y="2762"/>
              <a:ext cx="1" cy="39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498" name="Line 59">
              <a:extLst>
                <a:ext uri="{FF2B5EF4-FFF2-40B4-BE49-F238E27FC236}">
                  <a16:creationId xmlns:a16="http://schemas.microsoft.com/office/drawing/2014/main" xmlns="" id="{F5D9264C-E24F-44F3-9FBD-FFA016E0DC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3" y="2766"/>
              <a:ext cx="1" cy="39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499" name="Line 60">
              <a:extLst>
                <a:ext uri="{FF2B5EF4-FFF2-40B4-BE49-F238E27FC236}">
                  <a16:creationId xmlns:a16="http://schemas.microsoft.com/office/drawing/2014/main" xmlns="" id="{52DD5200-F938-4176-B019-3759B35B0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80" y="2766"/>
              <a:ext cx="1" cy="39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500" name="Line 61">
              <a:extLst>
                <a:ext uri="{FF2B5EF4-FFF2-40B4-BE49-F238E27FC236}">
                  <a16:creationId xmlns:a16="http://schemas.microsoft.com/office/drawing/2014/main" xmlns="" id="{FD98E962-0B33-4335-ADCA-1B76EEC750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3" y="2766"/>
              <a:ext cx="1" cy="39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501" name="Line 62">
              <a:extLst>
                <a:ext uri="{FF2B5EF4-FFF2-40B4-BE49-F238E27FC236}">
                  <a16:creationId xmlns:a16="http://schemas.microsoft.com/office/drawing/2014/main" xmlns="" id="{87479C4D-46A7-46A0-B765-0452D01514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9" y="2766"/>
              <a:ext cx="1" cy="39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17502" name="Line 63">
              <a:extLst>
                <a:ext uri="{FF2B5EF4-FFF2-40B4-BE49-F238E27FC236}">
                  <a16:creationId xmlns:a16="http://schemas.microsoft.com/office/drawing/2014/main" xmlns="" id="{23A547AD-41B7-4104-A713-7F37C5D1E4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27" y="2174"/>
              <a:ext cx="40" cy="1"/>
            </a:xfrm>
            <a:prstGeom prst="line">
              <a:avLst/>
            </a:prstGeom>
            <a:noFill/>
            <a:ln w="1908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7">
                <a:defRPr/>
              </a:pPr>
              <a:endParaRPr lang="en-GB">
                <a:solidFill>
                  <a:srgbClr val="001965"/>
                </a:solidFill>
                <a:latin typeface="Verdana"/>
              </a:endParaRPr>
            </a:p>
          </p:txBody>
        </p:sp>
      </p:grpSp>
      <p:sp>
        <p:nvSpPr>
          <p:cNvPr id="17464" name="Freeform 64">
            <a:extLst>
              <a:ext uri="{FF2B5EF4-FFF2-40B4-BE49-F238E27FC236}">
                <a16:creationId xmlns:a16="http://schemas.microsoft.com/office/drawing/2014/main" xmlns="" id="{58DFD60A-4C79-4BCE-B28A-54121AE5AE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6349" y="2913066"/>
            <a:ext cx="69851" cy="79375"/>
          </a:xfrm>
          <a:custGeom>
            <a:avLst/>
            <a:gdLst>
              <a:gd name="T0" fmla="*/ 38117363 w 64"/>
              <a:gd name="T1" fmla="*/ 112506975 h 56"/>
              <a:gd name="T2" fmla="*/ 0 w 64"/>
              <a:gd name="T3" fmla="*/ 112506975 h 56"/>
              <a:gd name="T4" fmla="*/ 19059227 w 64"/>
              <a:gd name="T5" fmla="*/ 64289498 h 56"/>
              <a:gd name="T6" fmla="*/ 38117363 w 64"/>
              <a:gd name="T7" fmla="*/ 0 h 56"/>
              <a:gd name="T8" fmla="*/ 57176591 w 64"/>
              <a:gd name="T9" fmla="*/ 64289498 h 56"/>
              <a:gd name="T10" fmla="*/ 76234727 w 64"/>
              <a:gd name="T11" fmla="*/ 112506975 h 56"/>
              <a:gd name="T12" fmla="*/ 38117363 w 64"/>
              <a:gd name="T13" fmla="*/ 11250697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65" name="Freeform 65">
            <a:extLst>
              <a:ext uri="{FF2B5EF4-FFF2-40B4-BE49-F238E27FC236}">
                <a16:creationId xmlns:a16="http://schemas.microsoft.com/office/drawing/2014/main" xmlns="" id="{9CDA2571-0E1D-4E40-BF93-C62F3A662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6037" y="3230566"/>
            <a:ext cx="69851" cy="79375"/>
          </a:xfrm>
          <a:custGeom>
            <a:avLst/>
            <a:gdLst>
              <a:gd name="T0" fmla="*/ 38117363 w 64"/>
              <a:gd name="T1" fmla="*/ 112506975 h 56"/>
              <a:gd name="T2" fmla="*/ 0 w 64"/>
              <a:gd name="T3" fmla="*/ 112506975 h 56"/>
              <a:gd name="T4" fmla="*/ 19059227 w 64"/>
              <a:gd name="T5" fmla="*/ 64289498 h 56"/>
              <a:gd name="T6" fmla="*/ 38117363 w 64"/>
              <a:gd name="T7" fmla="*/ 0 h 56"/>
              <a:gd name="T8" fmla="*/ 57176591 w 64"/>
              <a:gd name="T9" fmla="*/ 64289498 h 56"/>
              <a:gd name="T10" fmla="*/ 76234727 w 64"/>
              <a:gd name="T11" fmla="*/ 112506975 h 56"/>
              <a:gd name="T12" fmla="*/ 38117363 w 64"/>
              <a:gd name="T13" fmla="*/ 11250697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B2B2B2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66" name="Freeform 66">
            <a:extLst>
              <a:ext uri="{FF2B5EF4-FFF2-40B4-BE49-F238E27FC236}">
                <a16:creationId xmlns:a16="http://schemas.microsoft.com/office/drawing/2014/main" xmlns="" id="{6FD89470-61A5-4A6D-B951-3CB7E36462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7963" y="4037015"/>
            <a:ext cx="69851" cy="79375"/>
          </a:xfrm>
          <a:custGeom>
            <a:avLst/>
            <a:gdLst>
              <a:gd name="T0" fmla="*/ 38117363 w 64"/>
              <a:gd name="T1" fmla="*/ 112506975 h 56"/>
              <a:gd name="T2" fmla="*/ 0 w 64"/>
              <a:gd name="T3" fmla="*/ 112506975 h 56"/>
              <a:gd name="T4" fmla="*/ 19059227 w 64"/>
              <a:gd name="T5" fmla="*/ 64289498 h 56"/>
              <a:gd name="T6" fmla="*/ 38117363 w 64"/>
              <a:gd name="T7" fmla="*/ 0 h 56"/>
              <a:gd name="T8" fmla="*/ 57176591 w 64"/>
              <a:gd name="T9" fmla="*/ 64289498 h 56"/>
              <a:gd name="T10" fmla="*/ 76234727 w 64"/>
              <a:gd name="T11" fmla="*/ 112506975 h 56"/>
              <a:gd name="T12" fmla="*/ 38117363 w 64"/>
              <a:gd name="T13" fmla="*/ 11250697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67" name="Freeform 67">
            <a:extLst>
              <a:ext uri="{FF2B5EF4-FFF2-40B4-BE49-F238E27FC236}">
                <a16:creationId xmlns:a16="http://schemas.microsoft.com/office/drawing/2014/main" xmlns="" id="{B26CEA77-1B8F-4CF7-A11B-D969EBE966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2101" y="4102101"/>
            <a:ext cx="71439" cy="82551"/>
          </a:xfrm>
          <a:custGeom>
            <a:avLst/>
            <a:gdLst>
              <a:gd name="T0" fmla="*/ 39870218 w 64"/>
              <a:gd name="T1" fmla="*/ 121687545 h 56"/>
              <a:gd name="T2" fmla="*/ 0 w 64"/>
              <a:gd name="T3" fmla="*/ 121687545 h 56"/>
              <a:gd name="T4" fmla="*/ 19935667 w 64"/>
              <a:gd name="T5" fmla="*/ 69535108 h 56"/>
              <a:gd name="T6" fmla="*/ 39870218 w 64"/>
              <a:gd name="T7" fmla="*/ 0 h 56"/>
              <a:gd name="T8" fmla="*/ 59805884 w 64"/>
              <a:gd name="T9" fmla="*/ 69535108 h 56"/>
              <a:gd name="T10" fmla="*/ 79740435 w 64"/>
              <a:gd name="T11" fmla="*/ 121687545 h 56"/>
              <a:gd name="T12" fmla="*/ 39870218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68" name="Freeform 68">
            <a:extLst>
              <a:ext uri="{FF2B5EF4-FFF2-40B4-BE49-F238E27FC236}">
                <a16:creationId xmlns:a16="http://schemas.microsoft.com/office/drawing/2014/main" xmlns="" id="{37173F3C-6DDB-4B3F-A0E3-03D3EBB32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6663" y="3087689"/>
            <a:ext cx="69851" cy="82551"/>
          </a:xfrm>
          <a:custGeom>
            <a:avLst/>
            <a:gdLst>
              <a:gd name="T0" fmla="*/ 38117363 w 64"/>
              <a:gd name="T1" fmla="*/ 121687545 h 56"/>
              <a:gd name="T2" fmla="*/ 0 w 64"/>
              <a:gd name="T3" fmla="*/ 121687545 h 56"/>
              <a:gd name="T4" fmla="*/ 19059227 w 64"/>
              <a:gd name="T5" fmla="*/ 69535108 h 56"/>
              <a:gd name="T6" fmla="*/ 38117363 w 64"/>
              <a:gd name="T7" fmla="*/ 0 h 56"/>
              <a:gd name="T8" fmla="*/ 57176591 w 64"/>
              <a:gd name="T9" fmla="*/ 69535108 h 56"/>
              <a:gd name="T10" fmla="*/ 76234727 w 64"/>
              <a:gd name="T11" fmla="*/ 121687545 h 56"/>
              <a:gd name="T12" fmla="*/ 38117363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69" name="Freeform 69">
            <a:extLst>
              <a:ext uri="{FF2B5EF4-FFF2-40B4-BE49-F238E27FC236}">
                <a16:creationId xmlns:a16="http://schemas.microsoft.com/office/drawing/2014/main" xmlns="" id="{080FE2A7-101C-44E2-868B-0E77926FBB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9841" y="2903539"/>
            <a:ext cx="58737" cy="61912"/>
          </a:xfrm>
          <a:custGeom>
            <a:avLst/>
            <a:gdLst>
              <a:gd name="T0" fmla="*/ 61607771 w 56"/>
              <a:gd name="T1" fmla="*/ 29335232 h 56"/>
              <a:gd name="T2" fmla="*/ 52806661 w 56"/>
              <a:gd name="T3" fmla="*/ 58669359 h 56"/>
              <a:gd name="T4" fmla="*/ 35204441 w 56"/>
              <a:gd name="T5" fmla="*/ 68448138 h 56"/>
              <a:gd name="T6" fmla="*/ 8801110 w 56"/>
              <a:gd name="T7" fmla="*/ 58669359 h 56"/>
              <a:gd name="T8" fmla="*/ 0 w 56"/>
              <a:gd name="T9" fmla="*/ 29335232 h 56"/>
              <a:gd name="T10" fmla="*/ 8801110 w 56"/>
              <a:gd name="T11" fmla="*/ 9778779 h 56"/>
              <a:gd name="T12" fmla="*/ 35204441 w 56"/>
              <a:gd name="T13" fmla="*/ 0 h 56"/>
              <a:gd name="T14" fmla="*/ 52806661 w 56"/>
              <a:gd name="T15" fmla="*/ 9778779 h 56"/>
              <a:gd name="T16" fmla="*/ 52806661 w 56"/>
              <a:gd name="T17" fmla="*/ 29335232 h 56"/>
              <a:gd name="T18" fmla="*/ 61607771 w 56"/>
              <a:gd name="T19" fmla="*/ 293352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0" name="Freeform 70">
            <a:extLst>
              <a:ext uri="{FF2B5EF4-FFF2-40B4-BE49-F238E27FC236}">
                <a16:creationId xmlns:a16="http://schemas.microsoft.com/office/drawing/2014/main" xmlns="" id="{47680A5C-5CF8-467D-9BED-1EBEBDB75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1575" y="2995615"/>
            <a:ext cx="1868488" cy="1246187"/>
          </a:xfrm>
          <a:custGeom>
            <a:avLst/>
            <a:gdLst>
              <a:gd name="T0" fmla="*/ 2068274530 w 1688"/>
              <a:gd name="T1" fmla="*/ 2147483647 h 608"/>
              <a:gd name="T2" fmla="*/ 1391919509 w 1688"/>
              <a:gd name="T3" fmla="*/ 2147483647 h 608"/>
              <a:gd name="T4" fmla="*/ 921411428 w 1688"/>
              <a:gd name="T5" fmla="*/ 2147483647 h 608"/>
              <a:gd name="T6" fmla="*/ 705761568 w 1688"/>
              <a:gd name="T7" fmla="*/ 2147483647 h 608"/>
              <a:gd name="T8" fmla="*/ 480309895 w 1688"/>
              <a:gd name="T9" fmla="*/ 2147483647 h 608"/>
              <a:gd name="T10" fmla="*/ 362683705 w 1688"/>
              <a:gd name="T11" fmla="*/ 2147483647 h 608"/>
              <a:gd name="T12" fmla="*/ 294067689 w 1688"/>
              <a:gd name="T13" fmla="*/ 1848468357 h 608"/>
              <a:gd name="T14" fmla="*/ 196045126 w 1688"/>
              <a:gd name="T15" fmla="*/ 571343945 h 608"/>
              <a:gd name="T16" fmla="*/ 156835658 w 1688"/>
              <a:gd name="T17" fmla="*/ 0 h 608"/>
              <a:gd name="T18" fmla="*/ 107824377 w 1688"/>
              <a:gd name="T19" fmla="*/ 336085156 h 608"/>
              <a:gd name="T20" fmla="*/ 0 w 1688"/>
              <a:gd name="T21" fmla="*/ 2147483647 h 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688" h="608">
                <a:moveTo>
                  <a:pt x="1688" y="608"/>
                </a:moveTo>
                <a:lnTo>
                  <a:pt x="1136" y="600"/>
                </a:lnTo>
                <a:lnTo>
                  <a:pt x="752" y="592"/>
                </a:lnTo>
                <a:lnTo>
                  <a:pt x="576" y="592"/>
                </a:lnTo>
                <a:lnTo>
                  <a:pt x="392" y="568"/>
                </a:lnTo>
                <a:lnTo>
                  <a:pt x="296" y="536"/>
                </a:lnTo>
                <a:lnTo>
                  <a:pt x="240" y="440"/>
                </a:lnTo>
                <a:lnTo>
                  <a:pt x="160" y="136"/>
                </a:lnTo>
                <a:lnTo>
                  <a:pt x="128" y="0"/>
                </a:lnTo>
                <a:lnTo>
                  <a:pt x="88" y="80"/>
                </a:lnTo>
                <a:lnTo>
                  <a:pt x="0" y="608"/>
                </a:lnTo>
              </a:path>
            </a:pathLst>
          </a:custGeom>
          <a:noFill/>
          <a:ln w="2556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1" name="Freeform 71">
            <a:extLst>
              <a:ext uri="{FF2B5EF4-FFF2-40B4-BE49-F238E27FC236}">
                <a16:creationId xmlns:a16="http://schemas.microsoft.com/office/drawing/2014/main" xmlns="" id="{E72BB43D-2FD8-4460-BD2F-C78EE852D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0175" y="3810001"/>
            <a:ext cx="69851" cy="80963"/>
          </a:xfrm>
          <a:custGeom>
            <a:avLst/>
            <a:gdLst>
              <a:gd name="T0" fmla="*/ 38117363 w 64"/>
              <a:gd name="T1" fmla="*/ 117053703 h 56"/>
              <a:gd name="T2" fmla="*/ 0 w 64"/>
              <a:gd name="T3" fmla="*/ 117053703 h 56"/>
              <a:gd name="T4" fmla="*/ 19059227 w 64"/>
              <a:gd name="T5" fmla="*/ 66888450 h 56"/>
              <a:gd name="T6" fmla="*/ 38117363 w 64"/>
              <a:gd name="T7" fmla="*/ 0 h 56"/>
              <a:gd name="T8" fmla="*/ 57176591 w 64"/>
              <a:gd name="T9" fmla="*/ 66888450 h 56"/>
              <a:gd name="T10" fmla="*/ 76234727 w 64"/>
              <a:gd name="T11" fmla="*/ 117053703 h 56"/>
              <a:gd name="T12" fmla="*/ 38117363 w 64"/>
              <a:gd name="T13" fmla="*/ 117053703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2" name="Freeform 72">
            <a:extLst>
              <a:ext uri="{FF2B5EF4-FFF2-40B4-BE49-F238E27FC236}">
                <a16:creationId xmlns:a16="http://schemas.microsoft.com/office/drawing/2014/main" xmlns="" id="{63E0C28A-0A06-490D-A629-E8727C843A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8475" y="4129089"/>
            <a:ext cx="69851" cy="82551"/>
          </a:xfrm>
          <a:custGeom>
            <a:avLst/>
            <a:gdLst>
              <a:gd name="T0" fmla="*/ 38117363 w 64"/>
              <a:gd name="T1" fmla="*/ 121687545 h 56"/>
              <a:gd name="T2" fmla="*/ 0 w 64"/>
              <a:gd name="T3" fmla="*/ 121687545 h 56"/>
              <a:gd name="T4" fmla="*/ 19059227 w 64"/>
              <a:gd name="T5" fmla="*/ 69535108 h 56"/>
              <a:gd name="T6" fmla="*/ 38117363 w 64"/>
              <a:gd name="T7" fmla="*/ 0 h 56"/>
              <a:gd name="T8" fmla="*/ 57176591 w 64"/>
              <a:gd name="T9" fmla="*/ 69535108 h 56"/>
              <a:gd name="T10" fmla="*/ 76234727 w 64"/>
              <a:gd name="T11" fmla="*/ 121687545 h 56"/>
              <a:gd name="T12" fmla="*/ 38117363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3" name="Freeform 73">
            <a:extLst>
              <a:ext uri="{FF2B5EF4-FFF2-40B4-BE49-F238E27FC236}">
                <a16:creationId xmlns:a16="http://schemas.microsoft.com/office/drawing/2014/main" xmlns="" id="{9B84C971-B2E4-4FF0-A612-F3EB87FF7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7388" y="4165601"/>
            <a:ext cx="69851" cy="82551"/>
          </a:xfrm>
          <a:custGeom>
            <a:avLst/>
            <a:gdLst>
              <a:gd name="T0" fmla="*/ 38117363 w 64"/>
              <a:gd name="T1" fmla="*/ 121687545 h 56"/>
              <a:gd name="T2" fmla="*/ 0 w 64"/>
              <a:gd name="T3" fmla="*/ 121687545 h 56"/>
              <a:gd name="T4" fmla="*/ 19059227 w 64"/>
              <a:gd name="T5" fmla="*/ 69535108 h 56"/>
              <a:gd name="T6" fmla="*/ 38117363 w 64"/>
              <a:gd name="T7" fmla="*/ 0 h 56"/>
              <a:gd name="T8" fmla="*/ 57176591 w 64"/>
              <a:gd name="T9" fmla="*/ 69535108 h 56"/>
              <a:gd name="T10" fmla="*/ 76234727 w 64"/>
              <a:gd name="T11" fmla="*/ 121687545 h 56"/>
              <a:gd name="T12" fmla="*/ 38117363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4" name="Freeform 74">
            <a:extLst>
              <a:ext uri="{FF2B5EF4-FFF2-40B4-BE49-F238E27FC236}">
                <a16:creationId xmlns:a16="http://schemas.microsoft.com/office/drawing/2014/main" xmlns="" id="{19E47456-D9DB-4464-87A5-CB35D641E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7600" y="4170363"/>
            <a:ext cx="69851" cy="82551"/>
          </a:xfrm>
          <a:custGeom>
            <a:avLst/>
            <a:gdLst>
              <a:gd name="T0" fmla="*/ 38117363 w 64"/>
              <a:gd name="T1" fmla="*/ 121687545 h 56"/>
              <a:gd name="T2" fmla="*/ 0 w 64"/>
              <a:gd name="T3" fmla="*/ 121687545 h 56"/>
              <a:gd name="T4" fmla="*/ 19059227 w 64"/>
              <a:gd name="T5" fmla="*/ 69535108 h 56"/>
              <a:gd name="T6" fmla="*/ 38117363 w 64"/>
              <a:gd name="T7" fmla="*/ 0 h 56"/>
              <a:gd name="T8" fmla="*/ 57176591 w 64"/>
              <a:gd name="T9" fmla="*/ 69535108 h 56"/>
              <a:gd name="T10" fmla="*/ 76234727 w 64"/>
              <a:gd name="T11" fmla="*/ 121687545 h 56"/>
              <a:gd name="T12" fmla="*/ 38117363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5" name="Freeform 75">
            <a:extLst>
              <a:ext uri="{FF2B5EF4-FFF2-40B4-BE49-F238E27FC236}">
                <a16:creationId xmlns:a16="http://schemas.microsoft.com/office/drawing/2014/main" xmlns="" id="{EA2C0A83-524A-4D67-920F-F42571E1B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7200" y="4195763"/>
            <a:ext cx="69851" cy="82551"/>
          </a:xfrm>
          <a:custGeom>
            <a:avLst/>
            <a:gdLst>
              <a:gd name="T0" fmla="*/ 38117363 w 64"/>
              <a:gd name="T1" fmla="*/ 121687545 h 56"/>
              <a:gd name="T2" fmla="*/ 0 w 64"/>
              <a:gd name="T3" fmla="*/ 121687545 h 56"/>
              <a:gd name="T4" fmla="*/ 19059227 w 64"/>
              <a:gd name="T5" fmla="*/ 69535108 h 56"/>
              <a:gd name="T6" fmla="*/ 38117363 w 64"/>
              <a:gd name="T7" fmla="*/ 0 h 56"/>
              <a:gd name="T8" fmla="*/ 57176591 w 64"/>
              <a:gd name="T9" fmla="*/ 69535108 h 56"/>
              <a:gd name="T10" fmla="*/ 76234727 w 64"/>
              <a:gd name="T11" fmla="*/ 121687545 h 56"/>
              <a:gd name="T12" fmla="*/ 38117363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6" name="Freeform 76">
            <a:extLst>
              <a:ext uri="{FF2B5EF4-FFF2-40B4-BE49-F238E27FC236}">
                <a16:creationId xmlns:a16="http://schemas.microsoft.com/office/drawing/2014/main" xmlns="" id="{DDA5BBA0-D23B-49CD-BD57-96632ABE2E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9826" y="4160838"/>
            <a:ext cx="71439" cy="82551"/>
          </a:xfrm>
          <a:custGeom>
            <a:avLst/>
            <a:gdLst>
              <a:gd name="T0" fmla="*/ 39870218 w 64"/>
              <a:gd name="T1" fmla="*/ 121687545 h 56"/>
              <a:gd name="T2" fmla="*/ 0 w 64"/>
              <a:gd name="T3" fmla="*/ 121687545 h 56"/>
              <a:gd name="T4" fmla="*/ 19935667 w 64"/>
              <a:gd name="T5" fmla="*/ 69535108 h 56"/>
              <a:gd name="T6" fmla="*/ 39870218 w 64"/>
              <a:gd name="T7" fmla="*/ 0 h 56"/>
              <a:gd name="T8" fmla="*/ 59805884 w 64"/>
              <a:gd name="T9" fmla="*/ 69535108 h 56"/>
              <a:gd name="T10" fmla="*/ 79740435 w 64"/>
              <a:gd name="T11" fmla="*/ 121687545 h 56"/>
              <a:gd name="T12" fmla="*/ 39870218 w 64"/>
              <a:gd name="T13" fmla="*/ 121687545 h 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6">
                <a:moveTo>
                  <a:pt x="32" y="56"/>
                </a:moveTo>
                <a:lnTo>
                  <a:pt x="0" y="56"/>
                </a:lnTo>
                <a:lnTo>
                  <a:pt x="16" y="32"/>
                </a:lnTo>
                <a:lnTo>
                  <a:pt x="32" y="0"/>
                </a:lnTo>
                <a:lnTo>
                  <a:pt x="48" y="32"/>
                </a:lnTo>
                <a:lnTo>
                  <a:pt x="64" y="56"/>
                </a:lnTo>
                <a:lnTo>
                  <a:pt x="32" y="56"/>
                </a:lnTo>
                <a:close/>
              </a:path>
            </a:pathLst>
          </a:custGeom>
          <a:solidFill>
            <a:srgbClr val="FF6600"/>
          </a:solidFill>
          <a:ln w="9360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7" name="Freeform 77">
            <a:extLst>
              <a:ext uri="{FF2B5EF4-FFF2-40B4-BE49-F238E27FC236}">
                <a16:creationId xmlns:a16="http://schemas.microsoft.com/office/drawing/2014/main" xmlns="" id="{F221BE85-5951-4C18-BD44-92E3AB3F99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0" y="3833814"/>
            <a:ext cx="58739" cy="63500"/>
          </a:xfrm>
          <a:custGeom>
            <a:avLst/>
            <a:gdLst>
              <a:gd name="T0" fmla="*/ 61609869 w 56"/>
              <a:gd name="T1" fmla="*/ 30858732 h 56"/>
              <a:gd name="T2" fmla="*/ 52808609 w 56"/>
              <a:gd name="T3" fmla="*/ 61718598 h 56"/>
              <a:gd name="T4" fmla="*/ 35206089 w 56"/>
              <a:gd name="T5" fmla="*/ 72004464 h 56"/>
              <a:gd name="T6" fmla="*/ 8801260 w 56"/>
              <a:gd name="T7" fmla="*/ 61718598 h 56"/>
              <a:gd name="T8" fmla="*/ 0 w 56"/>
              <a:gd name="T9" fmla="*/ 30858732 h 56"/>
              <a:gd name="T10" fmla="*/ 8801260 w 56"/>
              <a:gd name="T11" fmla="*/ 10285866 h 56"/>
              <a:gd name="T12" fmla="*/ 35206089 w 56"/>
              <a:gd name="T13" fmla="*/ 0 h 56"/>
              <a:gd name="T14" fmla="*/ 52808609 w 56"/>
              <a:gd name="T15" fmla="*/ 10285866 h 56"/>
              <a:gd name="T16" fmla="*/ 52808609 w 56"/>
              <a:gd name="T17" fmla="*/ 30858732 h 56"/>
              <a:gd name="T18" fmla="*/ 6160986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8" name="Freeform 78">
            <a:extLst>
              <a:ext uri="{FF2B5EF4-FFF2-40B4-BE49-F238E27FC236}">
                <a16:creationId xmlns:a16="http://schemas.microsoft.com/office/drawing/2014/main" xmlns="" id="{AE1D2B73-B5B4-4507-95AD-E16C3ED93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3690" y="4186239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79" name="Freeform 79">
            <a:extLst>
              <a:ext uri="{FF2B5EF4-FFF2-40B4-BE49-F238E27FC236}">
                <a16:creationId xmlns:a16="http://schemas.microsoft.com/office/drawing/2014/main" xmlns="" id="{4F8E7AEB-FFFD-4B31-A912-311F9E06D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0065" y="4195763"/>
            <a:ext cx="58737" cy="63500"/>
          </a:xfrm>
          <a:custGeom>
            <a:avLst/>
            <a:gdLst>
              <a:gd name="T0" fmla="*/ 61607771 w 56"/>
              <a:gd name="T1" fmla="*/ 30858732 h 56"/>
              <a:gd name="T2" fmla="*/ 52806661 w 56"/>
              <a:gd name="T3" fmla="*/ 61718598 h 56"/>
              <a:gd name="T4" fmla="*/ 35204441 w 56"/>
              <a:gd name="T5" fmla="*/ 72004464 h 56"/>
              <a:gd name="T6" fmla="*/ 8801110 w 56"/>
              <a:gd name="T7" fmla="*/ 61718598 h 56"/>
              <a:gd name="T8" fmla="*/ 0 w 56"/>
              <a:gd name="T9" fmla="*/ 30858732 h 56"/>
              <a:gd name="T10" fmla="*/ 8801110 w 56"/>
              <a:gd name="T11" fmla="*/ 10285866 h 56"/>
              <a:gd name="T12" fmla="*/ 35204441 w 56"/>
              <a:gd name="T13" fmla="*/ 0 h 56"/>
              <a:gd name="T14" fmla="*/ 52806661 w 56"/>
              <a:gd name="T15" fmla="*/ 10285866 h 56"/>
              <a:gd name="T16" fmla="*/ 52806661 w 56"/>
              <a:gd name="T17" fmla="*/ 30858732 h 56"/>
              <a:gd name="T18" fmla="*/ 61607771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0" name="Freeform 80">
            <a:extLst>
              <a:ext uri="{FF2B5EF4-FFF2-40B4-BE49-F238E27FC236}">
                <a16:creationId xmlns:a16="http://schemas.microsoft.com/office/drawing/2014/main" xmlns="" id="{02191E66-96FF-4920-8883-CD2926E06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7964" y="4116388"/>
            <a:ext cx="60325" cy="61912"/>
          </a:xfrm>
          <a:custGeom>
            <a:avLst/>
            <a:gdLst>
              <a:gd name="T0" fmla="*/ 64984029 w 56"/>
              <a:gd name="T1" fmla="*/ 29335232 h 56"/>
              <a:gd name="T2" fmla="*/ 55700442 w 56"/>
              <a:gd name="T3" fmla="*/ 58669359 h 56"/>
              <a:gd name="T4" fmla="*/ 37133269 w 56"/>
              <a:gd name="T5" fmla="*/ 68448138 h 56"/>
              <a:gd name="T6" fmla="*/ 9283587 w 56"/>
              <a:gd name="T7" fmla="*/ 58669359 h 56"/>
              <a:gd name="T8" fmla="*/ 0 w 56"/>
              <a:gd name="T9" fmla="*/ 29335232 h 56"/>
              <a:gd name="T10" fmla="*/ 9283587 w 56"/>
              <a:gd name="T11" fmla="*/ 9778779 h 56"/>
              <a:gd name="T12" fmla="*/ 37133269 w 56"/>
              <a:gd name="T13" fmla="*/ 0 h 56"/>
              <a:gd name="T14" fmla="*/ 55700442 w 56"/>
              <a:gd name="T15" fmla="*/ 9778779 h 56"/>
              <a:gd name="T16" fmla="*/ 55700442 w 56"/>
              <a:gd name="T17" fmla="*/ 29335232 h 56"/>
              <a:gd name="T18" fmla="*/ 64984029 w 56"/>
              <a:gd name="T19" fmla="*/ 293352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1" name="Freeform 81">
            <a:extLst>
              <a:ext uri="{FF2B5EF4-FFF2-40B4-BE49-F238E27FC236}">
                <a16:creationId xmlns:a16="http://schemas.microsoft.com/office/drawing/2014/main" xmlns="" id="{3A5F285C-96C8-4D4E-AEA2-B11900A4C4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02" y="4189414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2" name="Freeform 82">
            <a:extLst>
              <a:ext uri="{FF2B5EF4-FFF2-40B4-BE49-F238E27FC236}">
                <a16:creationId xmlns:a16="http://schemas.microsoft.com/office/drawing/2014/main" xmlns="" id="{D9C6A7A7-ABF7-49CE-B657-29D4EAB4B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42364" y="4195763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3" name="Freeform 83">
            <a:extLst>
              <a:ext uri="{FF2B5EF4-FFF2-40B4-BE49-F238E27FC236}">
                <a16:creationId xmlns:a16="http://schemas.microsoft.com/office/drawing/2014/main" xmlns="" id="{116E4A42-7033-42FC-9C40-27A3E1EECD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3552" y="4217988"/>
            <a:ext cx="60325" cy="61912"/>
          </a:xfrm>
          <a:custGeom>
            <a:avLst/>
            <a:gdLst>
              <a:gd name="T0" fmla="*/ 64984029 w 56"/>
              <a:gd name="T1" fmla="*/ 29335232 h 56"/>
              <a:gd name="T2" fmla="*/ 55700442 w 56"/>
              <a:gd name="T3" fmla="*/ 58669359 h 56"/>
              <a:gd name="T4" fmla="*/ 37133269 w 56"/>
              <a:gd name="T5" fmla="*/ 68448138 h 56"/>
              <a:gd name="T6" fmla="*/ 9283587 w 56"/>
              <a:gd name="T7" fmla="*/ 58669359 h 56"/>
              <a:gd name="T8" fmla="*/ 0 w 56"/>
              <a:gd name="T9" fmla="*/ 29335232 h 56"/>
              <a:gd name="T10" fmla="*/ 9283587 w 56"/>
              <a:gd name="T11" fmla="*/ 9778779 h 56"/>
              <a:gd name="T12" fmla="*/ 37133269 w 56"/>
              <a:gd name="T13" fmla="*/ 0 h 56"/>
              <a:gd name="T14" fmla="*/ 55700442 w 56"/>
              <a:gd name="T15" fmla="*/ 9778779 h 56"/>
              <a:gd name="T16" fmla="*/ 55700442 w 56"/>
              <a:gd name="T17" fmla="*/ 29335232 h 56"/>
              <a:gd name="T18" fmla="*/ 64984029 w 56"/>
              <a:gd name="T19" fmla="*/ 293352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4" name="Freeform 84">
            <a:extLst>
              <a:ext uri="{FF2B5EF4-FFF2-40B4-BE49-F238E27FC236}">
                <a16:creationId xmlns:a16="http://schemas.microsoft.com/office/drawing/2014/main" xmlns="" id="{687A7DCC-CC98-43FA-842D-1C3D1D73F0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2390" y="3484563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5" name="Freeform 85">
            <a:extLst>
              <a:ext uri="{FF2B5EF4-FFF2-40B4-BE49-F238E27FC236}">
                <a16:creationId xmlns:a16="http://schemas.microsoft.com/office/drawing/2014/main" xmlns="" id="{442D162E-62FB-415C-B892-9857C161C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5876" y="3084514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6" name="Freeform 86">
            <a:extLst>
              <a:ext uri="{FF2B5EF4-FFF2-40B4-BE49-F238E27FC236}">
                <a16:creationId xmlns:a16="http://schemas.microsoft.com/office/drawing/2014/main" xmlns="" id="{8E71CDAA-3A1C-4F1A-8E8F-2B7F755DA6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1575" y="2938463"/>
            <a:ext cx="1868488" cy="1320800"/>
          </a:xfrm>
          <a:custGeom>
            <a:avLst/>
            <a:gdLst>
              <a:gd name="T0" fmla="*/ 0 w 1283"/>
              <a:gd name="T1" fmla="*/ 1991131194 h 865"/>
              <a:gd name="T2" fmla="*/ 125134811 w 1283"/>
              <a:gd name="T3" fmla="*/ 0 h 865"/>
              <a:gd name="T4" fmla="*/ 193004762 w 1283"/>
              <a:gd name="T5" fmla="*/ 263463717 h 865"/>
              <a:gd name="T6" fmla="*/ 258754277 w 1283"/>
              <a:gd name="T7" fmla="*/ 864998791 h 865"/>
              <a:gd name="T8" fmla="*/ 386009523 w 1283"/>
              <a:gd name="T9" fmla="*/ 1466535392 h 865"/>
              <a:gd name="T10" fmla="*/ 489935612 w 1283"/>
              <a:gd name="T11" fmla="*/ 1841912860 h 865"/>
              <a:gd name="T12" fmla="*/ 632038275 w 1283"/>
              <a:gd name="T13" fmla="*/ 1967814875 h 865"/>
              <a:gd name="T14" fmla="*/ 928969126 w 1283"/>
              <a:gd name="T15" fmla="*/ 1991131194 h 865"/>
              <a:gd name="T16" fmla="*/ 1225899976 w 1283"/>
              <a:gd name="T17" fmla="*/ 1967814875 h 865"/>
              <a:gd name="T18" fmla="*/ 1830366767 w 1283"/>
              <a:gd name="T19" fmla="*/ 1967814875 h 865"/>
              <a:gd name="T20" fmla="*/ 2147483647 w 1283"/>
              <a:gd name="T21" fmla="*/ 2016777618 h 86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283" h="865">
                <a:moveTo>
                  <a:pt x="0" y="854"/>
                </a:moveTo>
                <a:lnTo>
                  <a:pt x="59" y="0"/>
                </a:lnTo>
                <a:lnTo>
                  <a:pt x="91" y="113"/>
                </a:lnTo>
                <a:lnTo>
                  <a:pt x="122" y="371"/>
                </a:lnTo>
                <a:lnTo>
                  <a:pt x="182" y="629"/>
                </a:lnTo>
                <a:lnTo>
                  <a:pt x="231" y="790"/>
                </a:lnTo>
                <a:lnTo>
                  <a:pt x="298" y="844"/>
                </a:lnTo>
                <a:lnTo>
                  <a:pt x="438" y="854"/>
                </a:lnTo>
                <a:lnTo>
                  <a:pt x="578" y="844"/>
                </a:lnTo>
                <a:lnTo>
                  <a:pt x="863" y="844"/>
                </a:lnTo>
                <a:lnTo>
                  <a:pt x="1283" y="865"/>
                </a:lnTo>
              </a:path>
            </a:pathLst>
          </a:custGeom>
          <a:noFill/>
          <a:ln w="25560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7" name="Freeform 87">
            <a:extLst>
              <a:ext uri="{FF2B5EF4-FFF2-40B4-BE49-F238E27FC236}">
                <a16:creationId xmlns:a16="http://schemas.microsoft.com/office/drawing/2014/main" xmlns="" id="{4DFD2E43-7529-4163-A06A-225821EBDC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90" y="4164014"/>
            <a:ext cx="60325" cy="63500"/>
          </a:xfrm>
          <a:custGeom>
            <a:avLst/>
            <a:gdLst>
              <a:gd name="T0" fmla="*/ 64984029 w 56"/>
              <a:gd name="T1" fmla="*/ 30858732 h 56"/>
              <a:gd name="T2" fmla="*/ 55700442 w 56"/>
              <a:gd name="T3" fmla="*/ 61718598 h 56"/>
              <a:gd name="T4" fmla="*/ 37133269 w 56"/>
              <a:gd name="T5" fmla="*/ 72004464 h 56"/>
              <a:gd name="T6" fmla="*/ 9283587 w 56"/>
              <a:gd name="T7" fmla="*/ 61718598 h 56"/>
              <a:gd name="T8" fmla="*/ 0 w 56"/>
              <a:gd name="T9" fmla="*/ 30858732 h 56"/>
              <a:gd name="T10" fmla="*/ 9283587 w 56"/>
              <a:gd name="T11" fmla="*/ 10285866 h 56"/>
              <a:gd name="T12" fmla="*/ 37133269 w 56"/>
              <a:gd name="T13" fmla="*/ 0 h 56"/>
              <a:gd name="T14" fmla="*/ 55700442 w 56"/>
              <a:gd name="T15" fmla="*/ 10285866 h 56"/>
              <a:gd name="T16" fmla="*/ 55700442 w 56"/>
              <a:gd name="T17" fmla="*/ 30858732 h 56"/>
              <a:gd name="T18" fmla="*/ 64984029 w 56"/>
              <a:gd name="T19" fmla="*/ 30858732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6" h="56">
                <a:moveTo>
                  <a:pt x="56" y="24"/>
                </a:moveTo>
                <a:lnTo>
                  <a:pt x="48" y="48"/>
                </a:lnTo>
                <a:lnTo>
                  <a:pt x="32" y="56"/>
                </a:lnTo>
                <a:lnTo>
                  <a:pt x="8" y="48"/>
                </a:lnTo>
                <a:lnTo>
                  <a:pt x="0" y="24"/>
                </a:lnTo>
                <a:lnTo>
                  <a:pt x="8" y="8"/>
                </a:lnTo>
                <a:lnTo>
                  <a:pt x="32" y="0"/>
                </a:lnTo>
                <a:lnTo>
                  <a:pt x="48" y="8"/>
                </a:lnTo>
                <a:lnTo>
                  <a:pt x="48" y="24"/>
                </a:lnTo>
                <a:lnTo>
                  <a:pt x="56" y="24"/>
                </a:lnTo>
                <a:close/>
              </a:path>
            </a:pathLst>
          </a:custGeom>
          <a:solidFill>
            <a:srgbClr val="000066"/>
          </a:solidFill>
          <a:ln w="936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377">
              <a:defRPr/>
            </a:pPr>
            <a:endParaRPr lang="en-GB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17488" name="Text Box 88">
            <a:extLst>
              <a:ext uri="{FF2B5EF4-FFF2-40B4-BE49-F238E27FC236}">
                <a16:creationId xmlns:a16="http://schemas.microsoft.com/office/drawing/2014/main" xmlns="" id="{2396A7D3-C73F-42F0-84CC-E7971A3445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8065" y="5156202"/>
            <a:ext cx="37417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t</a:t>
            </a:r>
            <a:r>
              <a:rPr lang="en-GB" altLang="en-US" sz="1900" baseline="-250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½</a:t>
            </a:r>
            <a: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=1.5–2.1 min </a:t>
            </a:r>
            <a:b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en-GB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(bolo ev 2.5–25.0 nmol/L)</a:t>
            </a:r>
            <a:r>
              <a:rPr lang="en-GB" altLang="en-US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   </a:t>
            </a:r>
          </a:p>
        </p:txBody>
      </p:sp>
      <p:sp>
        <p:nvSpPr>
          <p:cNvPr id="17489" name="AutoShape 89">
            <a:extLst>
              <a:ext uri="{FF2B5EF4-FFF2-40B4-BE49-F238E27FC236}">
                <a16:creationId xmlns:a16="http://schemas.microsoft.com/office/drawing/2014/main" xmlns="" id="{71A40F55-5B39-4579-A068-4FD8033D5306}"/>
              </a:ext>
            </a:extLst>
          </p:cNvPr>
          <p:cNvSpPr>
            <a:spLocks/>
          </p:cNvSpPr>
          <p:nvPr/>
        </p:nvSpPr>
        <p:spPr bwMode="auto">
          <a:xfrm>
            <a:off x="5000626" y="5033963"/>
            <a:ext cx="234951" cy="946151"/>
          </a:xfrm>
          <a:prstGeom prst="rightBrace">
            <a:avLst>
              <a:gd name="adj1" fmla="val 33559"/>
              <a:gd name="adj2" fmla="val 50000"/>
            </a:avLst>
          </a:prstGeom>
          <a:noFill/>
          <a:ln w="2844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90" name="Rectangle 90">
            <a:extLst>
              <a:ext uri="{FF2B5EF4-FFF2-40B4-BE49-F238E27FC236}">
                <a16:creationId xmlns:a16="http://schemas.microsoft.com/office/drawing/2014/main" xmlns="" id="{DB96C814-8835-47E9-A065-B18119DAF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1200" y="4902201"/>
            <a:ext cx="2863851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Clivaggio enzimatico</a:t>
            </a:r>
          </a:p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endParaRPr lang="en-US" altLang="en-US" sz="1900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Clearance elevata </a:t>
            </a:r>
          </a:p>
          <a:p>
            <a:pPr algn="ctr" defTabSz="449251" eaLnBrk="1" hangingPunct="1">
              <a:buClr>
                <a:srgbClr val="003366"/>
              </a:buClr>
              <a:buSzPct val="100000"/>
              <a:tabLst>
                <a:tab pos="0" algn="l"/>
                <a:tab pos="914377" algn="l"/>
                <a:tab pos="1828754" algn="l"/>
                <a:tab pos="2743131" algn="l"/>
                <a:tab pos="3657509" algn="l"/>
                <a:tab pos="4571886" algn="l"/>
                <a:tab pos="5486263" algn="l"/>
                <a:tab pos="6400640" algn="l"/>
                <a:tab pos="7315017" algn="l"/>
                <a:tab pos="8229394" algn="l"/>
                <a:tab pos="9143771" algn="l"/>
                <a:tab pos="10058149" algn="l"/>
              </a:tabLst>
              <a:defRPr/>
            </a:pPr>
            <a:r>
              <a:rPr lang="en-US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(4–9 L/min)</a:t>
            </a:r>
            <a:r>
              <a:rPr lang="ar-SA" altLang="en-US" sz="1900">
                <a:solidFill>
                  <a:srgbClr val="003366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‏</a:t>
            </a:r>
            <a:endParaRPr lang="en-US" altLang="en-US" sz="1900">
              <a:solidFill>
                <a:srgbClr val="003366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491" name="AutoShape 91">
            <a:extLst>
              <a:ext uri="{FF2B5EF4-FFF2-40B4-BE49-F238E27FC236}">
                <a16:creationId xmlns:a16="http://schemas.microsoft.com/office/drawing/2014/main" xmlns="" id="{84F9FE3C-7500-4F9B-8B56-CA52FAC66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40" y="1473200"/>
            <a:ext cx="4186237" cy="3600451"/>
          </a:xfrm>
          <a:prstGeom prst="roundRect">
            <a:avLst>
              <a:gd name="adj" fmla="val 4528"/>
            </a:avLst>
          </a:prstGeom>
          <a:noFill/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92" name="AutoShape 92">
            <a:extLst>
              <a:ext uri="{FF2B5EF4-FFF2-40B4-BE49-F238E27FC236}">
                <a16:creationId xmlns:a16="http://schemas.microsoft.com/office/drawing/2014/main" xmlns="" id="{73BF1B2C-D46E-4408-991B-2B606ADA1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0200" y="5359401"/>
            <a:ext cx="431800" cy="241300"/>
          </a:xfrm>
          <a:prstGeom prst="rightArrow">
            <a:avLst>
              <a:gd name="adj1" fmla="val 50000"/>
              <a:gd name="adj2" fmla="val 44737"/>
            </a:avLst>
          </a:prstGeom>
          <a:solidFill>
            <a:srgbClr val="000066"/>
          </a:solidFill>
          <a:ln w="648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17493" name="AutoShape 93">
            <a:extLst>
              <a:ext uri="{FF2B5EF4-FFF2-40B4-BE49-F238E27FC236}">
                <a16:creationId xmlns:a16="http://schemas.microsoft.com/office/drawing/2014/main" xmlns="" id="{F60D6485-A4D1-4A40-8F36-AF57D3E2D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2590" y="2159001"/>
            <a:ext cx="276225" cy="563563"/>
          </a:xfrm>
          <a:prstGeom prst="downArrow">
            <a:avLst>
              <a:gd name="adj1" fmla="val 50000"/>
              <a:gd name="adj2" fmla="val 51006"/>
            </a:avLst>
          </a:prstGeom>
          <a:solidFill>
            <a:srgbClr val="000066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377" eaLnBrk="1" hangingPunct="1">
              <a:defRPr/>
            </a:pPr>
            <a:endParaRPr lang="en-GB" altLang="en-US">
              <a:solidFill>
                <a:srgbClr val="001965"/>
              </a:solidFill>
            </a:endParaRPr>
          </a:p>
        </p:txBody>
      </p:sp>
      <p:sp>
        <p:nvSpPr>
          <p:cNvPr id="248926" name="Text Box 94">
            <a:extLst>
              <a:ext uri="{FF2B5EF4-FFF2-40B4-BE49-F238E27FC236}">
                <a16:creationId xmlns:a16="http://schemas.microsoft.com/office/drawing/2014/main" xmlns="" id="{0C729A83-8CC8-40CE-8D0E-57189BE54A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534" y="203206"/>
            <a:ext cx="11853332" cy="85452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377">
              <a:lnSpc>
                <a:spcPct val="50000"/>
              </a:lnSpc>
              <a:spcBef>
                <a:spcPct val="50000"/>
              </a:spcBef>
              <a:defRPr/>
            </a:pPr>
            <a:r>
              <a:rPr lang="it-IT" sz="3200" b="1" dirty="0">
                <a:solidFill>
                  <a:srgbClr val="001965"/>
                </a:solidFill>
                <a:latin typeface="Verdana" pitchFamily="34" charset="0"/>
                <a:cs typeface="Arial" pitchFamily="34" charset="0"/>
              </a:rPr>
              <a:t>Il GLP-1 ha valore clinico limitato</a:t>
            </a:r>
          </a:p>
          <a:p>
            <a:pPr algn="ctr" defTabSz="914377">
              <a:lnSpc>
                <a:spcPct val="50000"/>
              </a:lnSpc>
              <a:spcBef>
                <a:spcPct val="50000"/>
              </a:spcBef>
              <a:defRPr/>
            </a:pPr>
            <a:r>
              <a:rPr lang="it-IT" sz="3200" b="1" dirty="0">
                <a:solidFill>
                  <a:srgbClr val="001965"/>
                </a:solidFill>
                <a:latin typeface="Verdana" pitchFamily="34" charset="0"/>
                <a:cs typeface="Arial" pitchFamily="34" charset="0"/>
              </a:rPr>
              <a:t>per la sua breve emivita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Box 82"/>
          <p:cNvSpPr txBox="1"/>
          <p:nvPr/>
        </p:nvSpPr>
        <p:spPr>
          <a:xfrm>
            <a:off x="3" y="6568626"/>
            <a:ext cx="6146662" cy="289375"/>
          </a:xfrm>
          <a:prstGeom prst="rect">
            <a:avLst/>
          </a:prstGeom>
          <a:noFill/>
        </p:spPr>
        <p:txBody>
          <a:bodyPr wrap="none" lIns="120227" tIns="61976" rIns="120227" bIns="61976" rtlCol="0" anchor="b">
            <a:sp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Knudsen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J Med </a:t>
            </a:r>
            <a:r>
              <a:rPr lang="en-GB" sz="1067" i="1" dirty="0" err="1">
                <a:solidFill>
                  <a:srgbClr val="82786F"/>
                </a:solidFill>
                <a:latin typeface="Verdana" pitchFamily="34" charset="0"/>
                <a:cs typeface="Arial" charset="0"/>
              </a:rPr>
              <a:t>Chem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2000;43:1664–9; </a:t>
            </a:r>
            <a:r>
              <a:rPr lang="en-GB" sz="1067" dirty="0" err="1">
                <a:solidFill>
                  <a:srgbClr val="82786F"/>
                </a:solidFill>
                <a:latin typeface="Verdana" pitchFamily="34" charset="0"/>
                <a:cs typeface="Arial" charset="0"/>
              </a:rPr>
              <a:t>Degn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 </a:t>
            </a:r>
            <a:r>
              <a:rPr lang="en-GB" sz="1067" i="1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et al. Diabetes </a:t>
            </a:r>
            <a:r>
              <a:rPr lang="en-GB" sz="1067" dirty="0">
                <a:solidFill>
                  <a:srgbClr val="82786F"/>
                </a:solidFill>
                <a:latin typeface="Verdana" pitchFamily="34" charset="0"/>
                <a:cs typeface="Arial" charset="0"/>
              </a:rPr>
              <a:t>2004;53:1187–94</a:t>
            </a:r>
          </a:p>
        </p:txBody>
      </p:sp>
      <p:sp>
        <p:nvSpPr>
          <p:cNvPr id="75778" name="Title 1"/>
          <p:cNvSpPr>
            <a:spLocks noGrp="1"/>
          </p:cNvSpPr>
          <p:nvPr>
            <p:ph type="title"/>
          </p:nvPr>
        </p:nvSpPr>
        <p:spPr>
          <a:xfrm>
            <a:off x="439125" y="460603"/>
            <a:ext cx="11347200" cy="521883"/>
          </a:xfrm>
        </p:spPr>
        <p:txBody>
          <a:bodyPr/>
          <a:lstStyle/>
          <a:p>
            <a:r>
              <a:rPr lang="en-GB" dirty="0"/>
              <a:t>Liraglutide is a once-daily, human GLP-1 analogue</a:t>
            </a:r>
          </a:p>
        </p:txBody>
      </p:sp>
      <p:grpSp>
        <p:nvGrpSpPr>
          <p:cNvPr id="75779" name="Group 3"/>
          <p:cNvGrpSpPr>
            <a:grpSpLocks/>
          </p:cNvGrpSpPr>
          <p:nvPr/>
        </p:nvGrpSpPr>
        <p:grpSpPr bwMode="auto">
          <a:xfrm>
            <a:off x="4482560" y="1785623"/>
            <a:ext cx="3386069" cy="1051594"/>
            <a:chOff x="2803525" y="1514475"/>
            <a:chExt cx="2540000" cy="788695"/>
          </a:xfrm>
        </p:grpSpPr>
        <p:sp>
          <p:nvSpPr>
            <p:cNvPr id="75788" name="AutoShape 4"/>
            <p:cNvSpPr>
              <a:spLocks noChangeArrowheads="1"/>
            </p:cNvSpPr>
            <p:nvPr/>
          </p:nvSpPr>
          <p:spPr bwMode="auto">
            <a:xfrm>
              <a:off x="2803525" y="1514475"/>
              <a:ext cx="2540000" cy="476250"/>
            </a:xfrm>
            <a:prstGeom prst="flowChartAlternateProcess">
              <a:avLst/>
            </a:prstGeom>
            <a:solidFill>
              <a:schemeClr val="bg1"/>
            </a:solidFill>
            <a:ln w="38100" algn="ctr">
              <a:solidFill>
                <a:srgbClr val="00196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867" dirty="0">
                  <a:solidFill>
                    <a:srgbClr val="001965"/>
                  </a:solidFill>
                  <a:latin typeface="Verdana"/>
                  <a:cs typeface="Arial" charset="0"/>
                </a:rPr>
                <a:t>Human endogenous GLP-1</a:t>
              </a:r>
            </a:p>
          </p:txBody>
        </p:sp>
        <p:sp>
          <p:nvSpPr>
            <p:cNvPr id="75790" name="Text Box 140"/>
            <p:cNvSpPr txBox="1">
              <a:spLocks noChangeArrowheads="1"/>
            </p:cNvSpPr>
            <p:nvPr/>
          </p:nvSpPr>
          <p:spPr bwMode="auto">
            <a:xfrm>
              <a:off x="3437926" y="2041525"/>
              <a:ext cx="1342809" cy="261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903" tIns="60951" rIns="121903" bIns="60951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buClr>
                  <a:srgbClr val="009FDA"/>
                </a:buClr>
                <a:defRPr/>
              </a:pPr>
              <a:r>
                <a:rPr lang="en-GB" sz="1467" b="1" dirty="0">
                  <a:solidFill>
                    <a:srgbClr val="009FDA"/>
                  </a:solidFill>
                </a:rPr>
                <a:t>T</a:t>
              </a:r>
              <a:r>
                <a:rPr lang="en-GB" sz="1467" b="1" baseline="-25000" dirty="0">
                  <a:solidFill>
                    <a:srgbClr val="009FDA"/>
                  </a:solidFill>
                </a:rPr>
                <a:t>½</a:t>
              </a:r>
              <a:r>
                <a:rPr lang="en-GB" sz="1467" b="1" dirty="0">
                  <a:solidFill>
                    <a:srgbClr val="009FDA"/>
                  </a:solidFill>
                </a:rPr>
                <a:t>= ~2 mins</a:t>
              </a:r>
            </a:p>
          </p:txBody>
        </p:sp>
      </p:grpSp>
      <p:sp>
        <p:nvSpPr>
          <p:cNvPr id="75780" name="AutoShape 4"/>
          <p:cNvSpPr>
            <a:spLocks noChangeArrowheads="1"/>
          </p:cNvSpPr>
          <p:nvPr/>
        </p:nvSpPr>
        <p:spPr bwMode="auto">
          <a:xfrm>
            <a:off x="7986190" y="3398525"/>
            <a:ext cx="2347383" cy="615951"/>
          </a:xfrm>
          <a:prstGeom prst="flowChartAlternateProcess">
            <a:avLst/>
          </a:prstGeom>
          <a:solidFill>
            <a:schemeClr val="bg1"/>
          </a:solidFill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solidFill>
                  <a:srgbClr val="001965"/>
                </a:solidFill>
                <a:latin typeface="Verdana"/>
                <a:cs typeface="Arial" charset="0"/>
              </a:rPr>
              <a:t>Liraglutide</a:t>
            </a:r>
          </a:p>
        </p:txBody>
      </p:sp>
      <p:sp>
        <p:nvSpPr>
          <p:cNvPr id="75783" name="Text Box 5"/>
          <p:cNvSpPr txBox="1">
            <a:spLocks noChangeArrowheads="1"/>
          </p:cNvSpPr>
          <p:nvPr/>
        </p:nvSpPr>
        <p:spPr bwMode="auto">
          <a:xfrm>
            <a:off x="7521261" y="5142656"/>
            <a:ext cx="3275112" cy="102616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03" tIns="60951" rIns="121903" bIns="60951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467" dirty="0">
                <a:solidFill>
                  <a:srgbClr val="001965"/>
                </a:solidFill>
              </a:rPr>
              <a:t>Slow absorption from </a:t>
            </a:r>
            <a:r>
              <a:rPr lang="en-GB" sz="1467" dirty="0" err="1">
                <a:solidFill>
                  <a:srgbClr val="001965"/>
                </a:solidFill>
              </a:rPr>
              <a:t>subcutis</a:t>
            </a:r>
            <a:endParaRPr lang="en-GB" sz="1467" dirty="0">
              <a:solidFill>
                <a:srgbClr val="001965"/>
              </a:solidFill>
            </a:endParaRPr>
          </a:p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467" dirty="0">
                <a:solidFill>
                  <a:srgbClr val="001965"/>
                </a:solidFill>
              </a:rPr>
              <a:t>Resistant to DPP-4</a:t>
            </a:r>
          </a:p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467" dirty="0">
                <a:solidFill>
                  <a:srgbClr val="001965"/>
                </a:solidFill>
              </a:rPr>
              <a:t>Long plasma half-life</a:t>
            </a:r>
          </a:p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467" b="1" dirty="0">
                <a:solidFill>
                  <a:srgbClr val="009FDA"/>
                </a:solidFill>
              </a:rPr>
              <a:t>(T</a:t>
            </a:r>
            <a:r>
              <a:rPr lang="en-GB" sz="1467" b="1" baseline="-25000" dirty="0">
                <a:solidFill>
                  <a:srgbClr val="009FDA"/>
                </a:solidFill>
              </a:rPr>
              <a:t>½</a:t>
            </a:r>
            <a:r>
              <a:rPr lang="en-GB" sz="1467" b="1" dirty="0">
                <a:solidFill>
                  <a:srgbClr val="009FDA"/>
                </a:solidFill>
              </a:rPr>
              <a:t>=13 h)</a:t>
            </a:r>
          </a:p>
        </p:txBody>
      </p:sp>
      <p:sp>
        <p:nvSpPr>
          <p:cNvPr id="75784" name="Rectangle 3"/>
          <p:cNvSpPr>
            <a:spLocks noChangeArrowheads="1"/>
          </p:cNvSpPr>
          <p:nvPr/>
        </p:nvSpPr>
        <p:spPr bwMode="auto">
          <a:xfrm>
            <a:off x="6879169" y="4037755"/>
            <a:ext cx="4559299" cy="80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2749" tIns="61375" rIns="122749" bIns="61375">
            <a:sp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CCFF"/>
              </a:buClr>
              <a:defRPr/>
            </a:pPr>
            <a:r>
              <a:rPr lang="en-GB" sz="1467" dirty="0">
                <a:solidFill>
                  <a:srgbClr val="001965"/>
                </a:solidFill>
                <a:latin typeface="Verdana"/>
                <a:cs typeface="Arial" charset="0"/>
              </a:rPr>
              <a:t>97% amino acid homology to human GLP-1; </a:t>
            </a:r>
            <a:br>
              <a:rPr lang="en-GB" sz="1467" dirty="0">
                <a:solidFill>
                  <a:srgbClr val="001965"/>
                </a:solidFill>
                <a:latin typeface="Verdana"/>
                <a:cs typeface="Arial" charset="0"/>
              </a:rPr>
            </a:br>
            <a:r>
              <a:rPr lang="en-GB" sz="1467" dirty="0">
                <a:solidFill>
                  <a:srgbClr val="001965"/>
                </a:solidFill>
                <a:latin typeface="Verdana"/>
                <a:cs typeface="Arial" charset="0"/>
              </a:rPr>
              <a:t>improved PK: albumin binding through acylation; </a:t>
            </a:r>
            <a:r>
              <a:rPr lang="en-GB" sz="1467" dirty="0" err="1">
                <a:solidFill>
                  <a:srgbClr val="001965"/>
                </a:solidFill>
                <a:latin typeface="Verdana"/>
                <a:cs typeface="Arial" charset="0"/>
              </a:rPr>
              <a:t>heptamer</a:t>
            </a:r>
            <a:r>
              <a:rPr lang="en-GB" sz="1467" dirty="0">
                <a:solidFill>
                  <a:srgbClr val="001965"/>
                </a:solidFill>
                <a:latin typeface="Verdana"/>
                <a:cs typeface="Arial" charset="0"/>
              </a:rPr>
              <a:t> formation</a:t>
            </a:r>
          </a:p>
        </p:txBody>
      </p:sp>
      <p:sp>
        <p:nvSpPr>
          <p:cNvPr id="75785" name="Line 101"/>
          <p:cNvSpPr>
            <a:spLocks noChangeShapeType="1"/>
          </p:cNvSpPr>
          <p:nvPr/>
        </p:nvSpPr>
        <p:spPr bwMode="auto">
          <a:xfrm>
            <a:off x="9158817" y="4899237"/>
            <a:ext cx="0" cy="287867"/>
          </a:xfrm>
          <a:prstGeom prst="line">
            <a:avLst/>
          </a:prstGeom>
          <a:noFill/>
          <a:ln w="63500">
            <a:solidFill>
              <a:schemeClr val="accent1"/>
            </a:solidFill>
            <a:round/>
            <a:headEnd/>
            <a:tailEnd type="triangle" w="med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001965"/>
              </a:solidFill>
              <a:latin typeface="Verdana"/>
              <a:cs typeface="Arial" charset="0"/>
            </a:endParaRPr>
          </a:p>
        </p:txBody>
      </p:sp>
      <p:grpSp>
        <p:nvGrpSpPr>
          <p:cNvPr id="15" name="Group 175"/>
          <p:cNvGrpSpPr>
            <a:grpSpLocks/>
          </p:cNvGrpSpPr>
          <p:nvPr/>
        </p:nvGrpSpPr>
        <p:grpSpPr bwMode="auto">
          <a:xfrm>
            <a:off x="572273" y="2058645"/>
            <a:ext cx="3597407" cy="1443179"/>
            <a:chOff x="476" y="1528"/>
            <a:chExt cx="2224" cy="100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6" name="Oval 106"/>
            <p:cNvSpPr>
              <a:spLocks noChangeArrowheads="1"/>
            </p:cNvSpPr>
            <p:nvPr/>
          </p:nvSpPr>
          <p:spPr bwMode="auto">
            <a:xfrm>
              <a:off x="1687" y="2362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ys</a:t>
              </a:r>
            </a:p>
          </p:txBody>
        </p:sp>
        <p:sp>
          <p:nvSpPr>
            <p:cNvPr id="17" name="Oval 107"/>
            <p:cNvSpPr>
              <a:spLocks noChangeArrowheads="1"/>
            </p:cNvSpPr>
            <p:nvPr/>
          </p:nvSpPr>
          <p:spPr bwMode="auto">
            <a:xfrm>
              <a:off x="567" y="1528"/>
              <a:ext cx="213" cy="164"/>
            </a:xfrm>
            <a:prstGeom prst="ellipse">
              <a:avLst/>
            </a:prstGeom>
            <a:solidFill>
              <a:srgbClr val="A8C903"/>
            </a:solidFill>
            <a:ln w="1270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His</a:t>
              </a:r>
            </a:p>
          </p:txBody>
        </p:sp>
        <p:sp>
          <p:nvSpPr>
            <p:cNvPr id="18" name="Oval 108"/>
            <p:cNvSpPr>
              <a:spLocks noChangeArrowheads="1"/>
            </p:cNvSpPr>
            <p:nvPr/>
          </p:nvSpPr>
          <p:spPr bwMode="auto">
            <a:xfrm>
              <a:off x="785" y="1528"/>
              <a:ext cx="213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19" name="Oval 109"/>
            <p:cNvSpPr>
              <a:spLocks noChangeArrowheads="1"/>
            </p:cNvSpPr>
            <p:nvPr/>
          </p:nvSpPr>
          <p:spPr bwMode="auto">
            <a:xfrm>
              <a:off x="144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h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0" name="Oval 110"/>
            <p:cNvSpPr>
              <a:spLocks noChangeArrowheads="1"/>
            </p:cNvSpPr>
            <p:nvPr/>
          </p:nvSpPr>
          <p:spPr bwMode="auto">
            <a:xfrm>
              <a:off x="1884" y="1529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h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1" name="Oval 111"/>
            <p:cNvSpPr>
              <a:spLocks noChangeArrowheads="1"/>
            </p:cNvSpPr>
            <p:nvPr/>
          </p:nvSpPr>
          <p:spPr bwMode="auto">
            <a:xfrm>
              <a:off x="2099" y="1529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2" name="Oval 112"/>
            <p:cNvSpPr>
              <a:spLocks noChangeArrowheads="1"/>
            </p:cNvSpPr>
            <p:nvPr/>
          </p:nvSpPr>
          <p:spPr bwMode="auto">
            <a:xfrm>
              <a:off x="1664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Phe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3" name="Oval 113"/>
            <p:cNvSpPr>
              <a:spLocks noChangeArrowheads="1"/>
            </p:cNvSpPr>
            <p:nvPr/>
          </p:nvSpPr>
          <p:spPr bwMode="auto">
            <a:xfrm>
              <a:off x="100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4" name="Oval 114"/>
            <p:cNvSpPr>
              <a:spLocks noChangeArrowheads="1"/>
            </p:cNvSpPr>
            <p:nvPr/>
          </p:nvSpPr>
          <p:spPr bwMode="auto">
            <a:xfrm>
              <a:off x="1225" y="152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5" name="Oval 115"/>
            <p:cNvSpPr>
              <a:spLocks noChangeArrowheads="1"/>
            </p:cNvSpPr>
            <p:nvPr/>
          </p:nvSpPr>
          <p:spPr bwMode="auto">
            <a:xfrm>
              <a:off x="2314" y="1548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sp</a:t>
              </a:r>
            </a:p>
          </p:txBody>
        </p:sp>
        <p:sp>
          <p:nvSpPr>
            <p:cNvPr id="26" name="Oval 116"/>
            <p:cNvSpPr>
              <a:spLocks noChangeArrowheads="1"/>
            </p:cNvSpPr>
            <p:nvPr/>
          </p:nvSpPr>
          <p:spPr bwMode="auto">
            <a:xfrm>
              <a:off x="2480" y="1652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Val</a:t>
              </a:r>
            </a:p>
          </p:txBody>
        </p:sp>
        <p:sp>
          <p:nvSpPr>
            <p:cNvPr id="27" name="Oval 117"/>
            <p:cNvSpPr>
              <a:spLocks noChangeArrowheads="1"/>
            </p:cNvSpPr>
            <p:nvPr/>
          </p:nvSpPr>
          <p:spPr bwMode="auto">
            <a:xfrm>
              <a:off x="2488" y="1817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8" name="Oval 118"/>
            <p:cNvSpPr>
              <a:spLocks noChangeArrowheads="1"/>
            </p:cNvSpPr>
            <p:nvPr/>
          </p:nvSpPr>
          <p:spPr bwMode="auto">
            <a:xfrm>
              <a:off x="2382" y="1964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29" name="Oval 119"/>
            <p:cNvSpPr>
              <a:spLocks noChangeArrowheads="1"/>
            </p:cNvSpPr>
            <p:nvPr/>
          </p:nvSpPr>
          <p:spPr bwMode="auto">
            <a:xfrm>
              <a:off x="2168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yr</a:t>
              </a:r>
            </a:p>
          </p:txBody>
        </p:sp>
        <p:sp>
          <p:nvSpPr>
            <p:cNvPr id="30" name="Oval 120"/>
            <p:cNvSpPr>
              <a:spLocks noChangeArrowheads="1"/>
            </p:cNvSpPr>
            <p:nvPr/>
          </p:nvSpPr>
          <p:spPr bwMode="auto">
            <a:xfrm>
              <a:off x="1949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e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1" name="Oval 121"/>
            <p:cNvSpPr>
              <a:spLocks noChangeArrowheads="1"/>
            </p:cNvSpPr>
            <p:nvPr/>
          </p:nvSpPr>
          <p:spPr bwMode="auto">
            <a:xfrm>
              <a:off x="1736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2" name="Oval 122"/>
            <p:cNvSpPr>
              <a:spLocks noChangeArrowheads="1"/>
            </p:cNvSpPr>
            <p:nvPr/>
          </p:nvSpPr>
          <p:spPr bwMode="auto">
            <a:xfrm>
              <a:off x="1522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3" name="Oval 123"/>
            <p:cNvSpPr>
              <a:spLocks noChangeArrowheads="1"/>
            </p:cNvSpPr>
            <p:nvPr/>
          </p:nvSpPr>
          <p:spPr bwMode="auto">
            <a:xfrm>
              <a:off x="1088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34" name="Oval 124"/>
            <p:cNvSpPr>
              <a:spLocks noChangeArrowheads="1"/>
            </p:cNvSpPr>
            <p:nvPr/>
          </p:nvSpPr>
          <p:spPr bwMode="auto">
            <a:xfrm>
              <a:off x="873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35" name="Oval 125"/>
            <p:cNvSpPr>
              <a:spLocks noChangeArrowheads="1"/>
            </p:cNvSpPr>
            <p:nvPr/>
          </p:nvSpPr>
          <p:spPr bwMode="auto">
            <a:xfrm>
              <a:off x="1306" y="19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n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6" name="Oval 126"/>
            <p:cNvSpPr>
              <a:spLocks noChangeArrowheads="1"/>
            </p:cNvSpPr>
            <p:nvPr/>
          </p:nvSpPr>
          <p:spPr bwMode="auto">
            <a:xfrm>
              <a:off x="655" y="19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ys</a:t>
              </a:r>
            </a:p>
          </p:txBody>
        </p:sp>
        <p:sp>
          <p:nvSpPr>
            <p:cNvPr id="37" name="Oval 127"/>
            <p:cNvSpPr>
              <a:spLocks noChangeArrowheads="1"/>
            </p:cNvSpPr>
            <p:nvPr/>
          </p:nvSpPr>
          <p:spPr bwMode="auto">
            <a:xfrm>
              <a:off x="476" y="2229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Phe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8" name="Oval 128"/>
            <p:cNvSpPr>
              <a:spLocks noChangeArrowheads="1"/>
            </p:cNvSpPr>
            <p:nvPr/>
          </p:nvSpPr>
          <p:spPr bwMode="auto">
            <a:xfrm>
              <a:off x="476" y="2062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39" name="Oval 129"/>
            <p:cNvSpPr>
              <a:spLocks noChangeArrowheads="1"/>
            </p:cNvSpPr>
            <p:nvPr/>
          </p:nvSpPr>
          <p:spPr bwMode="auto">
            <a:xfrm>
              <a:off x="601" y="23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Ile</a:t>
              </a:r>
            </a:p>
          </p:txBody>
        </p:sp>
        <p:sp>
          <p:nvSpPr>
            <p:cNvPr id="40" name="Oval 130"/>
            <p:cNvSpPr>
              <a:spLocks noChangeArrowheads="1"/>
            </p:cNvSpPr>
            <p:nvPr/>
          </p:nvSpPr>
          <p:spPr bwMode="auto">
            <a:xfrm>
              <a:off x="817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41" name="Oval 131"/>
            <p:cNvSpPr>
              <a:spLocks noChangeArrowheads="1"/>
            </p:cNvSpPr>
            <p:nvPr/>
          </p:nvSpPr>
          <p:spPr bwMode="auto">
            <a:xfrm>
              <a:off x="1033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rp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42" name="Oval 132"/>
            <p:cNvSpPr>
              <a:spLocks noChangeArrowheads="1"/>
            </p:cNvSpPr>
            <p:nvPr/>
          </p:nvSpPr>
          <p:spPr bwMode="auto">
            <a:xfrm>
              <a:off x="1253" y="2365"/>
              <a:ext cx="212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e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43" name="Oval 133"/>
            <p:cNvSpPr>
              <a:spLocks noChangeArrowheads="1"/>
            </p:cNvSpPr>
            <p:nvPr/>
          </p:nvSpPr>
          <p:spPr bwMode="auto">
            <a:xfrm>
              <a:off x="2343" y="2365"/>
              <a:ext cx="213" cy="164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44" name="Oval 134"/>
            <p:cNvSpPr>
              <a:spLocks noChangeArrowheads="1"/>
            </p:cNvSpPr>
            <p:nvPr/>
          </p:nvSpPr>
          <p:spPr bwMode="auto">
            <a:xfrm>
              <a:off x="1472" y="2365"/>
              <a:ext cx="212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Val</a:t>
              </a:r>
            </a:p>
          </p:txBody>
        </p:sp>
        <p:sp>
          <p:nvSpPr>
            <p:cNvPr id="45" name="Oval 135"/>
            <p:cNvSpPr>
              <a:spLocks noChangeArrowheads="1"/>
            </p:cNvSpPr>
            <p:nvPr/>
          </p:nvSpPr>
          <p:spPr bwMode="auto">
            <a:xfrm>
              <a:off x="1904" y="2365"/>
              <a:ext cx="213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46" name="Oval 136"/>
            <p:cNvSpPr>
              <a:spLocks noChangeArrowheads="1"/>
            </p:cNvSpPr>
            <p:nvPr/>
          </p:nvSpPr>
          <p:spPr bwMode="auto">
            <a:xfrm>
              <a:off x="2123" y="2365"/>
              <a:ext cx="214" cy="163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none" lIns="121903" tIns="60951" rIns="121903" bIns="60951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rg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757703" y="3855639"/>
            <a:ext cx="5100762" cy="2004684"/>
            <a:chOff x="2869723" y="2204787"/>
            <a:chExt cx="3825573" cy="1503513"/>
          </a:xfrm>
        </p:grpSpPr>
        <p:sp>
          <p:nvSpPr>
            <p:cNvPr id="48" name="Freeform 90"/>
            <p:cNvSpPr>
              <a:spLocks/>
            </p:cNvSpPr>
            <p:nvPr/>
          </p:nvSpPr>
          <p:spPr bwMode="auto">
            <a:xfrm rot="1713454">
              <a:off x="3451321" y="2790022"/>
              <a:ext cx="852848" cy="67330"/>
            </a:xfrm>
            <a:custGeom>
              <a:avLst/>
              <a:gdLst>
                <a:gd name="T0" fmla="*/ 0 w 3717235"/>
                <a:gd name="T1" fmla="*/ 0 h 397565"/>
                <a:gd name="T2" fmla="*/ 0 w 3717235"/>
                <a:gd name="T3" fmla="*/ 0 h 397565"/>
                <a:gd name="T4" fmla="*/ 0 w 3717235"/>
                <a:gd name="T5" fmla="*/ 0 h 397565"/>
                <a:gd name="T6" fmla="*/ 0 w 3717235"/>
                <a:gd name="T7" fmla="*/ 0 h 397565"/>
                <a:gd name="T8" fmla="*/ 0 w 3717235"/>
                <a:gd name="T9" fmla="*/ 0 h 397565"/>
                <a:gd name="T10" fmla="*/ 0 w 3717235"/>
                <a:gd name="T11" fmla="*/ 0 h 397565"/>
                <a:gd name="T12" fmla="*/ 0 w 3717235"/>
                <a:gd name="T13" fmla="*/ 0 h 397565"/>
                <a:gd name="T14" fmla="*/ 0 w 3717235"/>
                <a:gd name="T15" fmla="*/ 0 h 397565"/>
                <a:gd name="T16" fmla="*/ 0 w 3717235"/>
                <a:gd name="T17" fmla="*/ 0 h 397565"/>
                <a:gd name="T18" fmla="*/ 0 w 3717235"/>
                <a:gd name="T19" fmla="*/ 0 h 397565"/>
                <a:gd name="T20" fmla="*/ 0 w 3717235"/>
                <a:gd name="T21" fmla="*/ 0 h 397565"/>
                <a:gd name="T22" fmla="*/ 0 w 3717235"/>
                <a:gd name="T23" fmla="*/ 0 h 397565"/>
                <a:gd name="T24" fmla="*/ 0 w 3717235"/>
                <a:gd name="T25" fmla="*/ 0 h 397565"/>
                <a:gd name="T26" fmla="*/ 0 w 3717235"/>
                <a:gd name="T27" fmla="*/ 0 h 39756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717235"/>
                <a:gd name="T43" fmla="*/ 0 h 397565"/>
                <a:gd name="T44" fmla="*/ 3717235 w 3717235"/>
                <a:gd name="T45" fmla="*/ 397565 h 39756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717235" h="397565">
                  <a:moveTo>
                    <a:pt x="0" y="397565"/>
                  </a:moveTo>
                  <a:lnTo>
                    <a:pt x="238539" y="159026"/>
                  </a:lnTo>
                  <a:lnTo>
                    <a:pt x="536713" y="377687"/>
                  </a:lnTo>
                  <a:lnTo>
                    <a:pt x="854765" y="159026"/>
                  </a:lnTo>
                  <a:lnTo>
                    <a:pt x="1172818" y="357809"/>
                  </a:lnTo>
                  <a:lnTo>
                    <a:pt x="1530626" y="99391"/>
                  </a:lnTo>
                  <a:lnTo>
                    <a:pt x="1789044" y="318052"/>
                  </a:lnTo>
                  <a:lnTo>
                    <a:pt x="2047461" y="79513"/>
                  </a:lnTo>
                  <a:lnTo>
                    <a:pt x="2385391" y="298174"/>
                  </a:lnTo>
                  <a:lnTo>
                    <a:pt x="2623931" y="39757"/>
                  </a:lnTo>
                  <a:lnTo>
                    <a:pt x="2941983" y="318052"/>
                  </a:lnTo>
                  <a:lnTo>
                    <a:pt x="3101009" y="0"/>
                  </a:lnTo>
                  <a:lnTo>
                    <a:pt x="3478696" y="218661"/>
                  </a:lnTo>
                  <a:lnTo>
                    <a:pt x="3717235" y="39757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1440" tIns="45720" rIns="91440" bIns="45720" anchor="ctr"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/>
                <a:cs typeface="Arial" charset="0"/>
              </a:endParaRPr>
            </a:p>
          </p:txBody>
        </p:sp>
        <p:sp>
          <p:nvSpPr>
            <p:cNvPr id="49" name="Text Box 51"/>
            <p:cNvSpPr txBox="1">
              <a:spLocks noChangeArrowheads="1"/>
            </p:cNvSpPr>
            <p:nvPr/>
          </p:nvSpPr>
          <p:spPr bwMode="auto">
            <a:xfrm>
              <a:off x="2869723" y="2204787"/>
              <a:ext cx="1456623" cy="461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lIns="121903" tIns="60951" rIns="121903" bIns="60951">
              <a:spAutoFit/>
            </a:bodyPr>
            <a:lstStyle>
              <a:lvl1pPr eaLnBrk="0" hangingPunct="0"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eaLnBrk="0" hangingPunct="0"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eaLnBrk="0" hangingPunct="0"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eaLnBrk="0" hangingPunct="0"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eaLnBrk="0" hangingPunct="0"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001965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algn="ctr" defTabSz="121914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dirty="0"/>
                <a:t>C-16 fatty acid</a:t>
              </a:r>
              <a:br>
                <a:rPr lang="en-GB" dirty="0"/>
              </a:br>
              <a:r>
                <a:rPr lang="en-GB" dirty="0"/>
                <a:t>(</a:t>
              </a:r>
              <a:r>
                <a:rPr lang="en-GB" dirty="0" err="1"/>
                <a:t>palmitoyl</a:t>
              </a:r>
              <a:r>
                <a:rPr lang="en-GB" dirty="0"/>
                <a:t>)</a:t>
              </a:r>
            </a:p>
          </p:txBody>
        </p:sp>
        <p:sp>
          <p:nvSpPr>
            <p:cNvPr id="50" name="Freeform 90"/>
            <p:cNvSpPr>
              <a:spLocks/>
            </p:cNvSpPr>
            <p:nvPr/>
          </p:nvSpPr>
          <p:spPr bwMode="auto">
            <a:xfrm rot="1713454">
              <a:off x="3487717" y="2852990"/>
              <a:ext cx="852848" cy="107049"/>
            </a:xfrm>
            <a:custGeom>
              <a:avLst/>
              <a:gdLst>
                <a:gd name="T0" fmla="*/ 0 w 3717235"/>
                <a:gd name="T1" fmla="*/ 0 h 397565"/>
                <a:gd name="T2" fmla="*/ 0 w 3717235"/>
                <a:gd name="T3" fmla="*/ 0 h 397565"/>
                <a:gd name="T4" fmla="*/ 0 w 3717235"/>
                <a:gd name="T5" fmla="*/ 0 h 397565"/>
                <a:gd name="T6" fmla="*/ 0 w 3717235"/>
                <a:gd name="T7" fmla="*/ 0 h 397565"/>
                <a:gd name="T8" fmla="*/ 0 w 3717235"/>
                <a:gd name="T9" fmla="*/ 0 h 397565"/>
                <a:gd name="T10" fmla="*/ 0 w 3717235"/>
                <a:gd name="T11" fmla="*/ 0 h 397565"/>
                <a:gd name="T12" fmla="*/ 0 w 3717235"/>
                <a:gd name="T13" fmla="*/ 0 h 397565"/>
                <a:gd name="T14" fmla="*/ 0 w 3717235"/>
                <a:gd name="T15" fmla="*/ 0 h 397565"/>
                <a:gd name="T16" fmla="*/ 0 w 3717235"/>
                <a:gd name="T17" fmla="*/ 0 h 397565"/>
                <a:gd name="T18" fmla="*/ 0 w 3717235"/>
                <a:gd name="T19" fmla="*/ 0 h 397565"/>
                <a:gd name="T20" fmla="*/ 0 w 3717235"/>
                <a:gd name="T21" fmla="*/ 0 h 397565"/>
                <a:gd name="T22" fmla="*/ 0 w 3717235"/>
                <a:gd name="T23" fmla="*/ 0 h 397565"/>
                <a:gd name="T24" fmla="*/ 0 w 3717235"/>
                <a:gd name="T25" fmla="*/ 0 h 397565"/>
                <a:gd name="T26" fmla="*/ 0 w 3717235"/>
                <a:gd name="T27" fmla="*/ 0 h 39756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717235"/>
                <a:gd name="T43" fmla="*/ 0 h 397565"/>
                <a:gd name="T44" fmla="*/ 3717235 w 3717235"/>
                <a:gd name="T45" fmla="*/ 397565 h 39756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717235" h="397565">
                  <a:moveTo>
                    <a:pt x="0" y="397565"/>
                  </a:moveTo>
                  <a:lnTo>
                    <a:pt x="238539" y="159026"/>
                  </a:lnTo>
                  <a:lnTo>
                    <a:pt x="536713" y="377687"/>
                  </a:lnTo>
                  <a:lnTo>
                    <a:pt x="854765" y="159026"/>
                  </a:lnTo>
                  <a:lnTo>
                    <a:pt x="1172818" y="357809"/>
                  </a:lnTo>
                  <a:lnTo>
                    <a:pt x="1530626" y="99391"/>
                  </a:lnTo>
                  <a:lnTo>
                    <a:pt x="1789044" y="318052"/>
                  </a:lnTo>
                  <a:lnTo>
                    <a:pt x="2047461" y="79513"/>
                  </a:lnTo>
                  <a:lnTo>
                    <a:pt x="2385391" y="298174"/>
                  </a:lnTo>
                  <a:lnTo>
                    <a:pt x="2623931" y="39757"/>
                  </a:lnTo>
                  <a:lnTo>
                    <a:pt x="2941983" y="318052"/>
                  </a:lnTo>
                  <a:lnTo>
                    <a:pt x="3101009" y="0"/>
                  </a:lnTo>
                  <a:lnTo>
                    <a:pt x="3478696" y="218661"/>
                  </a:lnTo>
                  <a:lnTo>
                    <a:pt x="3717235" y="39757"/>
                  </a:lnTo>
                </a:path>
              </a:pathLst>
            </a:cu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40" tIns="45720" rIns="91440" bIns="45720" anchor="ctr"/>
            <a:lstStyle/>
            <a:p>
              <a:pPr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1" name="Oval 18"/>
            <p:cNvSpPr>
              <a:spLocks noChangeArrowheads="1"/>
            </p:cNvSpPr>
            <p:nvPr/>
          </p:nvSpPr>
          <p:spPr bwMode="auto">
            <a:xfrm>
              <a:off x="4276279" y="2610778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His</a:t>
              </a:r>
            </a:p>
          </p:txBody>
        </p:sp>
        <p:sp>
          <p:nvSpPr>
            <p:cNvPr id="52" name="Oval 19"/>
            <p:cNvSpPr>
              <a:spLocks noChangeArrowheads="1"/>
            </p:cNvSpPr>
            <p:nvPr/>
          </p:nvSpPr>
          <p:spPr bwMode="auto">
            <a:xfrm>
              <a:off x="4523763" y="2610778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53" name="Oval 20"/>
            <p:cNvSpPr>
              <a:spLocks noChangeArrowheads="1"/>
            </p:cNvSpPr>
            <p:nvPr/>
          </p:nvSpPr>
          <p:spPr bwMode="auto">
            <a:xfrm>
              <a:off x="5271055" y="2610778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h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4" name="Oval 21"/>
            <p:cNvSpPr>
              <a:spLocks noChangeArrowheads="1"/>
            </p:cNvSpPr>
            <p:nvPr/>
          </p:nvSpPr>
          <p:spPr bwMode="auto">
            <a:xfrm>
              <a:off x="5769664" y="2611859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h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5" name="Oval 22"/>
            <p:cNvSpPr>
              <a:spLocks noChangeArrowheads="1"/>
            </p:cNvSpPr>
            <p:nvPr/>
          </p:nvSpPr>
          <p:spPr bwMode="auto">
            <a:xfrm>
              <a:off x="6013512" y="2611859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6" name="Oval 23"/>
            <p:cNvSpPr>
              <a:spLocks noChangeArrowheads="1"/>
            </p:cNvSpPr>
            <p:nvPr/>
          </p:nvSpPr>
          <p:spPr bwMode="auto">
            <a:xfrm>
              <a:off x="5519749" y="2610778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Phe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7" name="Oval 24"/>
            <p:cNvSpPr>
              <a:spLocks noChangeArrowheads="1"/>
            </p:cNvSpPr>
            <p:nvPr/>
          </p:nvSpPr>
          <p:spPr bwMode="auto">
            <a:xfrm>
              <a:off x="4771239" y="2610778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8" name="Oval 25"/>
            <p:cNvSpPr>
              <a:spLocks noChangeArrowheads="1"/>
            </p:cNvSpPr>
            <p:nvPr/>
          </p:nvSpPr>
          <p:spPr bwMode="auto">
            <a:xfrm>
              <a:off x="5022356" y="2610778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59" name="Oval 26"/>
            <p:cNvSpPr>
              <a:spLocks noChangeArrowheads="1"/>
            </p:cNvSpPr>
            <p:nvPr/>
          </p:nvSpPr>
          <p:spPr bwMode="auto">
            <a:xfrm>
              <a:off x="6256146" y="2632403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sp</a:t>
              </a:r>
            </a:p>
          </p:txBody>
        </p:sp>
        <p:sp>
          <p:nvSpPr>
            <p:cNvPr id="60" name="Oval 27"/>
            <p:cNvSpPr>
              <a:spLocks noChangeArrowheads="1"/>
            </p:cNvSpPr>
            <p:nvPr/>
          </p:nvSpPr>
          <p:spPr bwMode="auto">
            <a:xfrm>
              <a:off x="6445399" y="2747024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Val</a:t>
              </a:r>
            </a:p>
          </p:txBody>
        </p:sp>
        <p:sp>
          <p:nvSpPr>
            <p:cNvPr id="61" name="Oval 28"/>
            <p:cNvSpPr>
              <a:spLocks noChangeArrowheads="1"/>
            </p:cNvSpPr>
            <p:nvPr/>
          </p:nvSpPr>
          <p:spPr bwMode="auto">
            <a:xfrm>
              <a:off x="6453879" y="2927601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62" name="Oval 29"/>
            <p:cNvSpPr>
              <a:spLocks noChangeArrowheads="1"/>
            </p:cNvSpPr>
            <p:nvPr/>
          </p:nvSpPr>
          <p:spPr bwMode="auto">
            <a:xfrm>
              <a:off x="6334998" y="3088712"/>
              <a:ext cx="240205" cy="17841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Ser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63" name="Oval 30"/>
            <p:cNvSpPr>
              <a:spLocks noChangeArrowheads="1"/>
            </p:cNvSpPr>
            <p:nvPr/>
          </p:nvSpPr>
          <p:spPr bwMode="auto">
            <a:xfrm>
              <a:off x="6091158" y="3089796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yr</a:t>
              </a:r>
            </a:p>
          </p:txBody>
        </p:sp>
        <p:sp>
          <p:nvSpPr>
            <p:cNvPr id="64" name="Oval 31"/>
            <p:cNvSpPr>
              <a:spLocks noChangeArrowheads="1"/>
            </p:cNvSpPr>
            <p:nvPr/>
          </p:nvSpPr>
          <p:spPr bwMode="auto">
            <a:xfrm>
              <a:off x="5843675" y="3089796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e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65" name="Oval 32"/>
            <p:cNvSpPr>
              <a:spLocks noChangeArrowheads="1"/>
            </p:cNvSpPr>
            <p:nvPr/>
          </p:nvSpPr>
          <p:spPr bwMode="auto">
            <a:xfrm>
              <a:off x="5602244" y="3089796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66" name="Oval 33"/>
            <p:cNvSpPr>
              <a:spLocks noChangeArrowheads="1"/>
            </p:cNvSpPr>
            <p:nvPr/>
          </p:nvSpPr>
          <p:spPr bwMode="auto">
            <a:xfrm>
              <a:off x="5358408" y="3089796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67" name="Oval 34"/>
            <p:cNvSpPr>
              <a:spLocks noChangeArrowheads="1"/>
            </p:cNvSpPr>
            <p:nvPr/>
          </p:nvSpPr>
          <p:spPr bwMode="auto">
            <a:xfrm>
              <a:off x="4867072" y="3089796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68" name="Oval 35"/>
            <p:cNvSpPr>
              <a:spLocks noChangeArrowheads="1"/>
            </p:cNvSpPr>
            <p:nvPr/>
          </p:nvSpPr>
          <p:spPr bwMode="auto">
            <a:xfrm>
              <a:off x="4623235" y="3089796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69" name="Oval 36"/>
            <p:cNvSpPr>
              <a:spLocks noChangeArrowheads="1"/>
            </p:cNvSpPr>
            <p:nvPr/>
          </p:nvSpPr>
          <p:spPr bwMode="auto">
            <a:xfrm>
              <a:off x="5114556" y="3089796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n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0" name="Oval 37"/>
            <p:cNvSpPr>
              <a:spLocks noChangeArrowheads="1"/>
            </p:cNvSpPr>
            <p:nvPr/>
          </p:nvSpPr>
          <p:spPr bwMode="auto">
            <a:xfrm>
              <a:off x="4375758" y="3089796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ys</a:t>
              </a:r>
            </a:p>
          </p:txBody>
        </p:sp>
        <p:sp>
          <p:nvSpPr>
            <p:cNvPr id="71" name="Oval 38"/>
            <p:cNvSpPr>
              <a:spLocks noChangeArrowheads="1"/>
            </p:cNvSpPr>
            <p:nvPr/>
          </p:nvSpPr>
          <p:spPr bwMode="auto">
            <a:xfrm>
              <a:off x="4171948" y="3379586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Phe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2" name="Oval 39"/>
            <p:cNvSpPr>
              <a:spLocks noChangeArrowheads="1"/>
            </p:cNvSpPr>
            <p:nvPr/>
          </p:nvSpPr>
          <p:spPr bwMode="auto">
            <a:xfrm>
              <a:off x="4171948" y="3195764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3" name="Oval 40"/>
            <p:cNvSpPr>
              <a:spLocks noChangeArrowheads="1"/>
            </p:cNvSpPr>
            <p:nvPr/>
          </p:nvSpPr>
          <p:spPr bwMode="auto">
            <a:xfrm>
              <a:off x="4313874" y="3527722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Ile</a:t>
              </a:r>
            </a:p>
          </p:txBody>
        </p:sp>
        <p:sp>
          <p:nvSpPr>
            <p:cNvPr id="74" name="Oval 41"/>
            <p:cNvSpPr>
              <a:spLocks noChangeArrowheads="1"/>
            </p:cNvSpPr>
            <p:nvPr/>
          </p:nvSpPr>
          <p:spPr bwMode="auto">
            <a:xfrm>
              <a:off x="4560150" y="3527722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la</a:t>
              </a:r>
            </a:p>
          </p:txBody>
        </p:sp>
        <p:sp>
          <p:nvSpPr>
            <p:cNvPr id="75" name="Oval 42"/>
            <p:cNvSpPr>
              <a:spLocks noChangeArrowheads="1"/>
            </p:cNvSpPr>
            <p:nvPr/>
          </p:nvSpPr>
          <p:spPr bwMode="auto">
            <a:xfrm>
              <a:off x="4805215" y="3527722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Trp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6" name="Oval 43"/>
            <p:cNvSpPr>
              <a:spLocks noChangeArrowheads="1"/>
            </p:cNvSpPr>
            <p:nvPr/>
          </p:nvSpPr>
          <p:spPr bwMode="auto">
            <a:xfrm>
              <a:off x="5052687" y="3528804"/>
              <a:ext cx="241418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Le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7" name="Oval 45"/>
            <p:cNvSpPr>
              <a:spLocks noChangeArrowheads="1"/>
            </p:cNvSpPr>
            <p:nvPr/>
          </p:nvSpPr>
          <p:spPr bwMode="auto">
            <a:xfrm>
              <a:off x="6291315" y="3528804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78" name="Oval 46"/>
            <p:cNvSpPr>
              <a:spLocks noChangeArrowheads="1"/>
            </p:cNvSpPr>
            <p:nvPr/>
          </p:nvSpPr>
          <p:spPr bwMode="auto">
            <a:xfrm>
              <a:off x="5301381" y="3527722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Val</a:t>
              </a:r>
            </a:p>
          </p:txBody>
        </p:sp>
        <p:sp>
          <p:nvSpPr>
            <p:cNvPr id="79" name="Oval 47"/>
            <p:cNvSpPr>
              <a:spLocks noChangeArrowheads="1"/>
            </p:cNvSpPr>
            <p:nvPr/>
          </p:nvSpPr>
          <p:spPr bwMode="auto">
            <a:xfrm>
              <a:off x="5792722" y="3527722"/>
              <a:ext cx="240205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y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80" name="Oval 48"/>
            <p:cNvSpPr>
              <a:spLocks noChangeArrowheads="1"/>
            </p:cNvSpPr>
            <p:nvPr/>
          </p:nvSpPr>
          <p:spPr bwMode="auto">
            <a:xfrm>
              <a:off x="6041406" y="3527722"/>
              <a:ext cx="241417" cy="179496"/>
            </a:xfrm>
            <a:prstGeom prst="ellipse">
              <a:avLst/>
            </a:prstGeom>
            <a:solidFill>
              <a:srgbClr val="A8C903"/>
            </a:solidFill>
            <a:ln w="12700" algn="ctr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rg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81" name="Oval 49"/>
            <p:cNvSpPr>
              <a:spLocks noChangeArrowheads="1"/>
            </p:cNvSpPr>
            <p:nvPr/>
          </p:nvSpPr>
          <p:spPr bwMode="auto">
            <a:xfrm>
              <a:off x="4213183" y="2951388"/>
              <a:ext cx="241418" cy="17841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905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Glu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  <p:sp>
          <p:nvSpPr>
            <p:cNvPr id="82" name="Oval 50"/>
            <p:cNvSpPr>
              <a:spLocks noChangeArrowheads="1"/>
            </p:cNvSpPr>
            <p:nvPr/>
          </p:nvSpPr>
          <p:spPr bwMode="auto">
            <a:xfrm>
              <a:off x="5547657" y="3525562"/>
              <a:ext cx="241418" cy="17949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noFill/>
              <a:round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91427" tIns="45713" rIns="91427" bIns="45713" anchor="ctr"/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 err="1">
                  <a:solidFill>
                    <a:srgbClr val="001965"/>
                  </a:solidFill>
                  <a:latin typeface="Verdana"/>
                  <a:cs typeface="Verdana" pitchFamily="34" charset="0"/>
                </a:rPr>
                <a:t>Arg</a:t>
              </a:r>
              <a:endParaRPr lang="en-GB" sz="1200" dirty="0">
                <a:solidFill>
                  <a:srgbClr val="001965"/>
                </a:solidFill>
                <a:latin typeface="Verdana"/>
                <a:cs typeface="Verdana" pitchFamily="34" charset="0"/>
              </a:endParaRPr>
            </a:p>
          </p:txBody>
        </p:sp>
      </p:grpSp>
      <p:sp>
        <p:nvSpPr>
          <p:cNvPr id="84" name="Rectangle 1"/>
          <p:cNvSpPr>
            <a:spLocks noChangeArrowheads="1"/>
          </p:cNvSpPr>
          <p:nvPr/>
        </p:nvSpPr>
        <p:spPr bwMode="auto">
          <a:xfrm>
            <a:off x="438575" y="6251974"/>
            <a:ext cx="7603792" cy="28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227" tIns="61976" rIns="120227" bIns="61976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defTabSz="12191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srgbClr val="82786F"/>
                </a:solidFill>
              </a:rPr>
              <a:t>DPP-4, dipeptidyl peptidase-4; GLP-1, glucagon-like peptide-1; PK, pharmacokinetics; T</a:t>
            </a:r>
            <a:r>
              <a:rPr lang="en-GB" sz="1067" baseline="-25000" dirty="0">
                <a:solidFill>
                  <a:srgbClr val="82786F"/>
                </a:solidFill>
              </a:rPr>
              <a:t>½</a:t>
            </a:r>
            <a:r>
              <a:rPr lang="en-GB" sz="1067" dirty="0">
                <a:solidFill>
                  <a:srgbClr val="82786F"/>
                </a:solidFill>
              </a:rPr>
              <a:t>, plasma half-life </a:t>
            </a:r>
          </a:p>
        </p:txBody>
      </p:sp>
    </p:spTree>
    <p:extLst>
      <p:ext uri="{BB962C8B-B14F-4D97-AF65-F5344CB8AC3E}">
        <p14:creationId xmlns:p14="http://schemas.microsoft.com/office/powerpoint/2010/main" val="45638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>
            <a:extLst>
              <a:ext uri="{FF2B5EF4-FFF2-40B4-BE49-F238E27FC236}">
                <a16:creationId xmlns:a16="http://schemas.microsoft.com/office/drawing/2014/main" xmlns="" id="{D99443D4-2B3B-453E-8E89-09A1F42EC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</p:spPr>
        <p:txBody>
          <a:bodyPr/>
          <a:lstStyle/>
          <a:p>
            <a:pPr algn="ctr"/>
            <a:r>
              <a:rPr lang="en-CA" sz="72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raglutide 3.0 mg</a:t>
            </a:r>
            <a:br>
              <a:rPr lang="en-CA" sz="72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sz="72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1026" name="Picture 2" descr="Obese Icon - Download in Glyph Style">
            <a:extLst>
              <a:ext uri="{FF2B5EF4-FFF2-40B4-BE49-F238E27FC236}">
                <a16:creationId xmlns:a16="http://schemas.microsoft.com/office/drawing/2014/main" xmlns="" id="{1050F57C-B061-41ED-8A3A-69369F13E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501" y="4228824"/>
            <a:ext cx="2090163" cy="2090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besity Icon - Download Obesity Icon 5364 | Noun Project">
            <a:extLst>
              <a:ext uri="{FF2B5EF4-FFF2-40B4-BE49-F238E27FC236}">
                <a16:creationId xmlns:a16="http://schemas.microsoft.com/office/drawing/2014/main" xmlns="" id="{D7C1F7FA-FF0D-45F3-9067-AA2323A5DC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501" y="1448882"/>
            <a:ext cx="2090162" cy="209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itle 2">
            <a:extLst>
              <a:ext uri="{FF2B5EF4-FFF2-40B4-BE49-F238E27FC236}">
                <a16:creationId xmlns:a16="http://schemas.microsoft.com/office/drawing/2014/main" xmlns="" id="{825AA73C-2284-49D3-90B8-EBB142E5719F}"/>
              </a:ext>
            </a:extLst>
          </p:cNvPr>
          <p:cNvSpPr txBox="1">
            <a:spLocks/>
          </p:cNvSpPr>
          <p:nvPr/>
        </p:nvSpPr>
        <p:spPr bwMode="auto">
          <a:xfrm>
            <a:off x="4844142" y="4626865"/>
            <a:ext cx="4953000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1" i="0" u="none" strike="noStrike" kern="1200" cap="none" spc="0" normalizeH="0" baseline="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≥ 30 kg/m</a:t>
            </a:r>
            <a:r>
              <a:rPr kumimoji="0" lang="en-CA" sz="4400" b="1" i="0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kumimoji="0" lang="en-GB" sz="4400" b="1" i="0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xmlns="" id="{0E68D5D4-60AF-48C6-A633-080F4F3F3906}"/>
              </a:ext>
            </a:extLst>
          </p:cNvPr>
          <p:cNvSpPr txBox="1">
            <a:spLocks/>
          </p:cNvSpPr>
          <p:nvPr/>
        </p:nvSpPr>
        <p:spPr bwMode="auto">
          <a:xfrm>
            <a:off x="4844142" y="2000358"/>
            <a:ext cx="4953000" cy="12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400" b="1" i="0" u="none" strike="noStrike" kern="1200" cap="none" spc="0" normalizeH="0" baseline="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MI ≥ 27 kg/m</a:t>
            </a:r>
            <a:r>
              <a:rPr kumimoji="0" lang="en-CA" sz="4400" b="1" i="0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</a:t>
            </a:r>
            <a:endParaRPr kumimoji="0" lang="en-GB" sz="4400" b="1" i="0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xmlns="" id="{4C769706-0581-485D-8500-1056E296E965}"/>
              </a:ext>
            </a:extLst>
          </p:cNvPr>
          <p:cNvSpPr txBox="1">
            <a:spLocks/>
          </p:cNvSpPr>
          <p:nvPr/>
        </p:nvSpPr>
        <p:spPr bwMode="auto">
          <a:xfrm>
            <a:off x="1990932" y="3685599"/>
            <a:ext cx="2967299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algn="ctr">
              <a:defRPr/>
            </a:pPr>
            <a:r>
              <a:rPr lang="en-CA" sz="2400" i="1" baseline="30000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. </a:t>
            </a:r>
            <a:r>
              <a:rPr lang="en-CA" sz="2400" i="1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: 1.61 m, w: 70 kg</a:t>
            </a:r>
            <a:endParaRPr lang="en-GB" sz="2400" i="1" baseline="300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xmlns="" id="{70181331-BACB-4630-BF06-5650FC5E9C5F}"/>
              </a:ext>
            </a:extLst>
          </p:cNvPr>
          <p:cNvSpPr txBox="1">
            <a:spLocks/>
          </p:cNvSpPr>
          <p:nvPr/>
        </p:nvSpPr>
        <p:spPr bwMode="auto">
          <a:xfrm>
            <a:off x="1990932" y="6433287"/>
            <a:ext cx="2967299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algn="ctr"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s. </a:t>
            </a:r>
            <a:r>
              <a:rPr lang="en-CA" sz="2400" i="1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: 1.61 m, w: 78 kg</a:t>
            </a:r>
            <a:endParaRPr lang="en-GB" sz="2400" i="1" baseline="300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7" name="Segnaposto numero diapositiva 5">
            <a:extLst>
              <a:ext uri="{FF2B5EF4-FFF2-40B4-BE49-F238E27FC236}">
                <a16:creationId xmlns:a16="http://schemas.microsoft.com/office/drawing/2014/main" xmlns="" id="{A8470288-A62C-4FA5-A72C-83BFADDE6B74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xmlns="" id="{18D7344B-74CA-49C1-8F18-97F2217463DD}"/>
              </a:ext>
            </a:extLst>
          </p:cNvPr>
          <p:cNvSpPr txBox="1">
            <a:spLocks/>
          </p:cNvSpPr>
          <p:nvPr/>
        </p:nvSpPr>
        <p:spPr bwMode="auto">
          <a:xfrm>
            <a:off x="5454626" y="2974664"/>
            <a:ext cx="4274920" cy="1032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+ ≥ 1 comorbidities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[such as </a:t>
            </a:r>
            <a:r>
              <a:rPr kumimoji="0" lang="en-CA" sz="2400" b="1" i="1" u="none" strike="noStrike" kern="1200" cap="none" spc="0" normalizeH="0" baseline="30000" noProof="0" dirty="0" err="1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glycaemia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prediabetes or T2D), hypertension, </a:t>
            </a:r>
            <a:r>
              <a:rPr kumimoji="0" lang="en-CA" sz="2400" b="1" i="1" u="none" strike="noStrike" kern="1200" cap="none" spc="0" normalizeH="0" baseline="30000" noProof="0" dirty="0" err="1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yslipidaemia</a:t>
            </a: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62AC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or OSAS]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62AC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xmlns="" id="{3182D35D-4549-4931-AF95-35582365A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4417" y="6575866"/>
            <a:ext cx="2669749" cy="248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227" tIns="61976" rIns="120227" bIns="61976" anchor="b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panose="020B0604020202020204" pitchFamily="34" charset="0"/>
              </a:rPr>
              <a:t>T2D, type 2 diabetes; OSAS, obstructive sleep apnoea.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D9EFF5E1-DA05-4D98-8661-EEB40068F4FA}"/>
              </a:ext>
            </a:extLst>
          </p:cNvPr>
          <p:cNvSpPr txBox="1">
            <a:spLocks/>
          </p:cNvSpPr>
          <p:nvPr/>
        </p:nvSpPr>
        <p:spPr bwMode="auto">
          <a:xfrm>
            <a:off x="4642688" y="4734096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ity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9D9EA32E-01ED-41FF-8D2B-06076A54FFCF}"/>
              </a:ext>
            </a:extLst>
          </p:cNvPr>
          <p:cNvSpPr txBox="1">
            <a:spLocks/>
          </p:cNvSpPr>
          <p:nvPr/>
        </p:nvSpPr>
        <p:spPr bwMode="auto">
          <a:xfrm>
            <a:off x="4853723" y="2097292"/>
            <a:ext cx="1688442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400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verweight</a:t>
            </a:r>
            <a:endParaRPr kumimoji="0" lang="en-GB" sz="2400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890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6FA6526-4ACF-4E25-9E9C-6D72826A22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GABA, gamma-aminobutyric acid; GLP-1R, glucagon-like peptide-1 receptor; NPY, neuropeptide Y; POMC, pro-opiomelanocortin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xmlns="" id="{DD5CF8B5-546F-48B5-B8EC-7A2D68D294FD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ech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J Clin Invest 2014;124:4473–88</a:t>
            </a:r>
          </a:p>
        </p:txBody>
      </p:sp>
      <p:sp>
        <p:nvSpPr>
          <p:cNvPr id="47" name="Segnaposto numero diapositiva 5">
            <a:extLst>
              <a:ext uri="{FF2B5EF4-FFF2-40B4-BE49-F238E27FC236}">
                <a16:creationId xmlns:a16="http://schemas.microsoft.com/office/drawing/2014/main" xmlns="" id="{391270B0-9DE1-4090-9E2C-60B083BF7023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28</a:t>
            </a:fld>
            <a:endParaRPr lang="en-GB" sz="700" dirty="0"/>
          </a:p>
        </p:txBody>
      </p:sp>
      <p:sp>
        <p:nvSpPr>
          <p:cNvPr id="48" name="Title 5">
            <a:extLst>
              <a:ext uri="{FF2B5EF4-FFF2-40B4-BE49-F238E27FC236}">
                <a16:creationId xmlns:a16="http://schemas.microsoft.com/office/drawing/2014/main" xmlns="" id="{0B218923-5A6C-455C-A8D0-D830EF955958}"/>
              </a:ext>
            </a:extLst>
          </p:cNvPr>
          <p:cNvSpPr txBox="1">
            <a:spLocks/>
          </p:cNvSpPr>
          <p:nvPr/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Liraglutide increases satiety and reduces hunger</a:t>
            </a:r>
            <a:br>
              <a:rPr lang="en-GB" dirty="0"/>
            </a:br>
            <a:r>
              <a:rPr lang="en-GB" sz="1867" dirty="0">
                <a:solidFill>
                  <a:schemeClr val="accent5"/>
                </a:solidFill>
              </a:rPr>
              <a:t>Via neurons in the arcuate nucleus</a:t>
            </a:r>
          </a:p>
        </p:txBody>
      </p:sp>
      <p:sp>
        <p:nvSpPr>
          <p:cNvPr id="73" name="TextBox 39">
            <a:extLst>
              <a:ext uri="{FF2B5EF4-FFF2-40B4-BE49-F238E27FC236}">
                <a16:creationId xmlns:a16="http://schemas.microsoft.com/office/drawing/2014/main" xmlns="" id="{698DBA9F-8F21-4AD6-AAA4-6F36F92D4E40}"/>
              </a:ext>
            </a:extLst>
          </p:cNvPr>
          <p:cNvSpPr txBox="1"/>
          <p:nvPr/>
        </p:nvSpPr>
        <p:spPr>
          <a:xfrm>
            <a:off x="8434303" y="4178562"/>
            <a:ext cx="122822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defRPr/>
            </a:pPr>
            <a:r>
              <a:rPr lang="en-GB" sz="1867" b="1" dirty="0">
                <a:solidFill>
                  <a:srgbClr val="001965"/>
                </a:solidFill>
                <a:latin typeface="Verdana"/>
                <a:cs typeface="Arial" charset="0"/>
              </a:rPr>
              <a:t>Arcuate</a:t>
            </a:r>
          </a:p>
          <a:p>
            <a:pPr defTabSz="1219170">
              <a:defRPr/>
            </a:pPr>
            <a:r>
              <a:rPr lang="en-GB" sz="1867" b="1" dirty="0">
                <a:solidFill>
                  <a:srgbClr val="001965"/>
                </a:solidFill>
                <a:latin typeface="Verdana"/>
                <a:cs typeface="Arial" charset="0"/>
              </a:rPr>
              <a:t>nucleus</a:t>
            </a:r>
          </a:p>
        </p:txBody>
      </p:sp>
      <p:sp>
        <p:nvSpPr>
          <p:cNvPr id="74" name="Oval 1028">
            <a:extLst>
              <a:ext uri="{FF2B5EF4-FFF2-40B4-BE49-F238E27FC236}">
                <a16:creationId xmlns:a16="http://schemas.microsoft.com/office/drawing/2014/main" xmlns="" id="{87CD8B92-5152-45C9-A9BC-88819BA717D3}"/>
              </a:ext>
            </a:extLst>
          </p:cNvPr>
          <p:cNvSpPr/>
          <p:nvPr/>
        </p:nvSpPr>
        <p:spPr>
          <a:xfrm>
            <a:off x="3734089" y="4180756"/>
            <a:ext cx="4544508" cy="882145"/>
          </a:xfrm>
          <a:prstGeom prst="ellipse">
            <a:avLst/>
          </a:prstGeom>
          <a:solidFill>
            <a:srgbClr val="C7C2BA"/>
          </a:solidFill>
          <a:ln w="38100"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 defTabSz="1219170">
              <a:defRPr/>
            </a:pPr>
            <a:endParaRPr lang="en-GB" sz="1867" b="1" dirty="0">
              <a:solidFill>
                <a:srgbClr val="001965"/>
              </a:solidFill>
              <a:latin typeface="Verdana"/>
              <a:cs typeface="Arial" charset="0"/>
            </a:endParaRPr>
          </a:p>
        </p:txBody>
      </p:sp>
      <p:sp>
        <p:nvSpPr>
          <p:cNvPr id="75" name="Oval 1029">
            <a:extLst>
              <a:ext uri="{FF2B5EF4-FFF2-40B4-BE49-F238E27FC236}">
                <a16:creationId xmlns:a16="http://schemas.microsoft.com/office/drawing/2014/main" xmlns="" id="{73569187-9329-439D-B402-A8837253C6CD}"/>
              </a:ext>
            </a:extLst>
          </p:cNvPr>
          <p:cNvSpPr/>
          <p:nvPr/>
        </p:nvSpPr>
        <p:spPr>
          <a:xfrm>
            <a:off x="4211986" y="4394099"/>
            <a:ext cx="1621189" cy="473888"/>
          </a:xfrm>
          <a:prstGeom prst="ellipse">
            <a:avLst/>
          </a:prstGeom>
          <a:solidFill>
            <a:srgbClr val="82786F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pPr algn="ctr" defTabSz="1219170">
              <a:defRPr/>
            </a:pPr>
            <a:r>
              <a:rPr lang="en-GB" sz="1467" b="1" dirty="0">
                <a:solidFill>
                  <a:srgbClr val="FFFFFF"/>
                </a:solidFill>
                <a:latin typeface="Verdana"/>
                <a:cs typeface="Arial" charset="0"/>
              </a:rPr>
              <a:t>POMC/ CART</a:t>
            </a:r>
          </a:p>
        </p:txBody>
      </p:sp>
      <p:sp>
        <p:nvSpPr>
          <p:cNvPr id="76" name="Oval 38">
            <a:extLst>
              <a:ext uri="{FF2B5EF4-FFF2-40B4-BE49-F238E27FC236}">
                <a16:creationId xmlns:a16="http://schemas.microsoft.com/office/drawing/2014/main" xmlns="" id="{4A29422F-92C8-4389-B3B6-79616CA5A644}"/>
              </a:ext>
            </a:extLst>
          </p:cNvPr>
          <p:cNvSpPr/>
          <p:nvPr/>
        </p:nvSpPr>
        <p:spPr>
          <a:xfrm>
            <a:off x="6359433" y="4394099"/>
            <a:ext cx="1524979" cy="473888"/>
          </a:xfrm>
          <a:prstGeom prst="ellipse">
            <a:avLst/>
          </a:prstGeom>
          <a:solidFill>
            <a:srgbClr val="82786F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pPr algn="ctr" defTabSz="1219170">
              <a:defRPr/>
            </a:pPr>
            <a:r>
              <a:rPr lang="en-GB" sz="1467" b="1" dirty="0">
                <a:solidFill>
                  <a:srgbClr val="FFFFFF"/>
                </a:solidFill>
                <a:latin typeface="Verdana"/>
                <a:cs typeface="Arial" charset="0"/>
              </a:rPr>
              <a:t>NPY/ AgRP</a:t>
            </a:r>
          </a:p>
        </p:txBody>
      </p:sp>
      <p:cxnSp>
        <p:nvCxnSpPr>
          <p:cNvPr id="77" name="Straight Arrow Connector 20">
            <a:extLst>
              <a:ext uri="{FF2B5EF4-FFF2-40B4-BE49-F238E27FC236}">
                <a16:creationId xmlns:a16="http://schemas.microsoft.com/office/drawing/2014/main" xmlns="" id="{948ACF88-9D97-4CFB-825F-D958AD85BD4B}"/>
              </a:ext>
            </a:extLst>
          </p:cNvPr>
          <p:cNvCxnSpPr>
            <a:stCxn id="75" idx="0"/>
            <a:endCxn id="89" idx="4"/>
          </p:cNvCxnSpPr>
          <p:nvPr/>
        </p:nvCxnSpPr>
        <p:spPr bwMode="auto">
          <a:xfrm flipH="1" flipV="1">
            <a:off x="4931494" y="3823992"/>
            <a:ext cx="91089" cy="570107"/>
          </a:xfrm>
          <a:prstGeom prst="straightConnector1">
            <a:avLst/>
          </a:prstGeom>
          <a:solidFill>
            <a:srgbClr val="00FF00"/>
          </a:solidFill>
          <a:ln w="38100" cap="flat" cmpd="sng" algn="ctr">
            <a:solidFill>
              <a:srgbClr val="3F9C35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8" name="Straight Arrow Connector 22">
            <a:extLst>
              <a:ext uri="{FF2B5EF4-FFF2-40B4-BE49-F238E27FC236}">
                <a16:creationId xmlns:a16="http://schemas.microsoft.com/office/drawing/2014/main" xmlns="" id="{8C549A41-46F2-4B78-A5A5-9EFB1CDE5189}"/>
              </a:ext>
            </a:extLst>
          </p:cNvPr>
          <p:cNvCxnSpPr>
            <a:stCxn id="76" idx="0"/>
            <a:endCxn id="88" idx="4"/>
          </p:cNvCxnSpPr>
          <p:nvPr/>
        </p:nvCxnSpPr>
        <p:spPr bwMode="auto">
          <a:xfrm flipV="1">
            <a:off x="7121926" y="3823735"/>
            <a:ext cx="155087" cy="570364"/>
          </a:xfrm>
          <a:prstGeom prst="straightConnector1">
            <a:avLst/>
          </a:prstGeom>
          <a:solidFill>
            <a:srgbClr val="00FF00"/>
          </a:solidFill>
          <a:ln w="38100" cap="flat" cmpd="sng" algn="ctr">
            <a:solidFill>
              <a:srgbClr val="E64A0E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9" name="TextBox 27">
            <a:extLst>
              <a:ext uri="{FF2B5EF4-FFF2-40B4-BE49-F238E27FC236}">
                <a16:creationId xmlns:a16="http://schemas.microsoft.com/office/drawing/2014/main" xmlns="" id="{BB04D60F-C058-4009-A28A-E87E766DA367}"/>
              </a:ext>
            </a:extLst>
          </p:cNvPr>
          <p:cNvSpPr txBox="1"/>
          <p:nvPr/>
        </p:nvSpPr>
        <p:spPr>
          <a:xfrm>
            <a:off x="5166470" y="1588048"/>
            <a:ext cx="185577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b="1" dirty="0">
                <a:solidFill>
                  <a:srgbClr val="001965"/>
                </a:solidFill>
                <a:latin typeface="Verdana"/>
                <a:cs typeface="Arial" charset="0"/>
              </a:rPr>
              <a:t>Appetite</a:t>
            </a:r>
          </a:p>
        </p:txBody>
      </p:sp>
      <p:cxnSp>
        <p:nvCxnSpPr>
          <p:cNvPr id="80" name="Straight Connector 13">
            <a:extLst>
              <a:ext uri="{FF2B5EF4-FFF2-40B4-BE49-F238E27FC236}">
                <a16:creationId xmlns:a16="http://schemas.microsoft.com/office/drawing/2014/main" xmlns="" id="{3DBA0884-1389-4D92-BED4-9A20D6EADE77}"/>
              </a:ext>
            </a:extLst>
          </p:cNvPr>
          <p:cNvCxnSpPr>
            <a:endCxn id="83" idx="0"/>
          </p:cNvCxnSpPr>
          <p:nvPr/>
        </p:nvCxnSpPr>
        <p:spPr>
          <a:xfrm flipH="1">
            <a:off x="5975057" y="4994255"/>
            <a:ext cx="912164" cy="490172"/>
          </a:xfrm>
          <a:prstGeom prst="line">
            <a:avLst/>
          </a:prstGeom>
          <a:ln w="38100">
            <a:solidFill>
              <a:srgbClr val="E64A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32">
            <a:extLst>
              <a:ext uri="{FF2B5EF4-FFF2-40B4-BE49-F238E27FC236}">
                <a16:creationId xmlns:a16="http://schemas.microsoft.com/office/drawing/2014/main" xmlns="" id="{65A21D45-7434-4C98-A6FC-7439864A5076}"/>
              </a:ext>
            </a:extLst>
          </p:cNvPr>
          <p:cNvCxnSpPr/>
          <p:nvPr/>
        </p:nvCxnSpPr>
        <p:spPr>
          <a:xfrm>
            <a:off x="6867218" y="4916905"/>
            <a:ext cx="88087" cy="142631"/>
          </a:xfrm>
          <a:prstGeom prst="line">
            <a:avLst/>
          </a:prstGeom>
          <a:ln w="38100">
            <a:solidFill>
              <a:srgbClr val="E64A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14">
            <a:extLst>
              <a:ext uri="{FF2B5EF4-FFF2-40B4-BE49-F238E27FC236}">
                <a16:creationId xmlns:a16="http://schemas.microsoft.com/office/drawing/2014/main" xmlns="" id="{5ED1800E-F94C-4AAB-BCA3-1BE5070F915C}"/>
              </a:ext>
            </a:extLst>
          </p:cNvPr>
          <p:cNvCxnSpPr>
            <a:stCxn id="83" idx="0"/>
          </p:cNvCxnSpPr>
          <p:nvPr/>
        </p:nvCxnSpPr>
        <p:spPr>
          <a:xfrm flipH="1" flipV="1">
            <a:off x="5118229" y="4916903"/>
            <a:ext cx="856828" cy="567524"/>
          </a:xfrm>
          <a:prstGeom prst="straightConnector1">
            <a:avLst/>
          </a:prstGeom>
          <a:ln w="31750">
            <a:solidFill>
              <a:srgbClr val="3F9C3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34">
            <a:extLst>
              <a:ext uri="{FF2B5EF4-FFF2-40B4-BE49-F238E27FC236}">
                <a16:creationId xmlns:a16="http://schemas.microsoft.com/office/drawing/2014/main" xmlns="" id="{BF5DB90F-07CF-4377-A681-373E2D20C0E2}"/>
              </a:ext>
            </a:extLst>
          </p:cNvPr>
          <p:cNvSpPr/>
          <p:nvPr/>
        </p:nvSpPr>
        <p:spPr>
          <a:xfrm>
            <a:off x="4977038" y="5484427"/>
            <a:ext cx="1996036" cy="709984"/>
          </a:xfrm>
          <a:prstGeom prst="ellipse">
            <a:avLst/>
          </a:prstGeom>
          <a:solidFill>
            <a:srgbClr val="001965"/>
          </a:solidFill>
          <a:ln w="19050">
            <a:solidFill>
              <a:srgbClr val="00196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67" b="1" dirty="0">
                <a:solidFill>
                  <a:srgbClr val="FFFFFF"/>
                </a:solidFill>
                <a:latin typeface="Verdana"/>
              </a:rPr>
              <a:t>Liraglutide</a:t>
            </a:r>
          </a:p>
        </p:txBody>
      </p:sp>
      <p:cxnSp>
        <p:nvCxnSpPr>
          <p:cNvPr id="84" name="Straight Arrow Connector 44">
            <a:extLst>
              <a:ext uri="{FF2B5EF4-FFF2-40B4-BE49-F238E27FC236}">
                <a16:creationId xmlns:a16="http://schemas.microsoft.com/office/drawing/2014/main" xmlns="" id="{509921F0-ABF9-4B1C-BB11-E5F5CA985E2F}"/>
              </a:ext>
            </a:extLst>
          </p:cNvPr>
          <p:cNvCxnSpPr/>
          <p:nvPr/>
        </p:nvCxnSpPr>
        <p:spPr bwMode="auto">
          <a:xfrm flipH="1" flipV="1">
            <a:off x="6457425" y="2491789"/>
            <a:ext cx="819588" cy="656305"/>
          </a:xfrm>
          <a:prstGeom prst="straightConnector1">
            <a:avLst/>
          </a:prstGeom>
          <a:solidFill>
            <a:srgbClr val="00FF00"/>
          </a:solidFill>
          <a:ln w="38100" cap="flat" cmpd="sng" algn="ctr">
            <a:solidFill>
              <a:srgbClr val="E64A0E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5" name="Straight Arrow Connector 48">
            <a:extLst>
              <a:ext uri="{FF2B5EF4-FFF2-40B4-BE49-F238E27FC236}">
                <a16:creationId xmlns:a16="http://schemas.microsoft.com/office/drawing/2014/main" xmlns="" id="{639677C3-57F5-464C-AA73-A07D5D2F02FF}"/>
              </a:ext>
            </a:extLst>
          </p:cNvPr>
          <p:cNvCxnSpPr/>
          <p:nvPr/>
        </p:nvCxnSpPr>
        <p:spPr bwMode="auto">
          <a:xfrm flipV="1">
            <a:off x="4931494" y="2491788"/>
            <a:ext cx="653751" cy="656563"/>
          </a:xfrm>
          <a:prstGeom prst="straightConnector1">
            <a:avLst/>
          </a:prstGeom>
          <a:solidFill>
            <a:srgbClr val="00FF00"/>
          </a:solidFill>
          <a:ln w="38100" cap="flat" cmpd="sng" algn="ctr">
            <a:solidFill>
              <a:srgbClr val="3F9C35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6" name="Up Arrow 49">
            <a:extLst>
              <a:ext uri="{FF2B5EF4-FFF2-40B4-BE49-F238E27FC236}">
                <a16:creationId xmlns:a16="http://schemas.microsoft.com/office/drawing/2014/main" xmlns="" id="{530C820E-20FD-4917-BADA-DDCFF4F9ECBE}"/>
              </a:ext>
            </a:extLst>
          </p:cNvPr>
          <p:cNvSpPr/>
          <p:nvPr/>
        </p:nvSpPr>
        <p:spPr>
          <a:xfrm flipV="1">
            <a:off x="6756600" y="1605545"/>
            <a:ext cx="449424" cy="422433"/>
          </a:xfrm>
          <a:prstGeom prst="upArrow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87" name="Picture 6">
            <a:extLst>
              <a:ext uri="{FF2B5EF4-FFF2-40B4-BE49-F238E27FC236}">
                <a16:creationId xmlns:a16="http://schemas.microsoft.com/office/drawing/2014/main" xmlns="" id="{6F296938-BD06-4DFF-A853-D33731DFF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245" y="1989831"/>
            <a:ext cx="872180" cy="935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8" name="Oval 18">
            <a:extLst>
              <a:ext uri="{FF2B5EF4-FFF2-40B4-BE49-F238E27FC236}">
                <a16:creationId xmlns:a16="http://schemas.microsoft.com/office/drawing/2014/main" xmlns="" id="{504513B3-E0E6-4068-9151-E095BCEAD9C7}"/>
              </a:ext>
            </a:extLst>
          </p:cNvPr>
          <p:cNvSpPr/>
          <p:nvPr/>
        </p:nvSpPr>
        <p:spPr>
          <a:xfrm>
            <a:off x="6278994" y="3113751"/>
            <a:ext cx="1996036" cy="709984"/>
          </a:xfrm>
          <a:prstGeom prst="ellipse">
            <a:avLst/>
          </a:prstGeom>
          <a:solidFill>
            <a:srgbClr val="E64A0E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67" b="1" dirty="0">
                <a:solidFill>
                  <a:srgbClr val="FFFFFF"/>
                </a:solidFill>
                <a:latin typeface="Verdana"/>
              </a:rPr>
              <a:t>Hunger</a:t>
            </a:r>
          </a:p>
        </p:txBody>
      </p:sp>
      <p:sp>
        <p:nvSpPr>
          <p:cNvPr id="89" name="Oval 19">
            <a:extLst>
              <a:ext uri="{FF2B5EF4-FFF2-40B4-BE49-F238E27FC236}">
                <a16:creationId xmlns:a16="http://schemas.microsoft.com/office/drawing/2014/main" xmlns="" id="{996B660A-A8D3-4D02-AE34-24018730F680}"/>
              </a:ext>
            </a:extLst>
          </p:cNvPr>
          <p:cNvSpPr/>
          <p:nvPr/>
        </p:nvSpPr>
        <p:spPr>
          <a:xfrm>
            <a:off x="3933475" y="3114008"/>
            <a:ext cx="1996036" cy="709984"/>
          </a:xfrm>
          <a:prstGeom prst="ellipse">
            <a:avLst/>
          </a:prstGeom>
          <a:solidFill>
            <a:srgbClr val="3F9C35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67" b="1" dirty="0">
                <a:solidFill>
                  <a:srgbClr val="FFFFFF"/>
                </a:solidFill>
                <a:latin typeface="Verdana"/>
              </a:rPr>
              <a:t>Satiety</a:t>
            </a:r>
          </a:p>
        </p:txBody>
      </p:sp>
      <p:grpSp>
        <p:nvGrpSpPr>
          <p:cNvPr id="90" name="Group 23">
            <a:extLst>
              <a:ext uri="{FF2B5EF4-FFF2-40B4-BE49-F238E27FC236}">
                <a16:creationId xmlns:a16="http://schemas.microsoft.com/office/drawing/2014/main" xmlns="" id="{6DE8AED7-E675-434B-80CF-2B2BF0301D00}"/>
              </a:ext>
            </a:extLst>
          </p:cNvPr>
          <p:cNvGrpSpPr/>
          <p:nvPr/>
        </p:nvGrpSpPr>
        <p:grpSpPr>
          <a:xfrm>
            <a:off x="9789299" y="3941115"/>
            <a:ext cx="1093675" cy="1172520"/>
            <a:chOff x="1549673" y="3488967"/>
            <a:chExt cx="820256" cy="879390"/>
          </a:xfrm>
        </p:grpSpPr>
        <p:sp>
          <p:nvSpPr>
            <p:cNvPr id="91" name="Freeform 64">
              <a:extLst>
                <a:ext uri="{FF2B5EF4-FFF2-40B4-BE49-F238E27FC236}">
                  <a16:creationId xmlns:a16="http://schemas.microsoft.com/office/drawing/2014/main" xmlns="" id="{02B5C14F-F740-4059-B41E-CA3B02B7FD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673" y="3488967"/>
              <a:ext cx="820256" cy="823549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rgbClr val="001965"/>
            </a:solidFill>
            <a:ln>
              <a:noFill/>
            </a:ln>
          </p:spPr>
          <p:txBody>
            <a:bodyPr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xmlns="" id="{9C31389F-F7FB-4C31-A0AD-71DE714C3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725" y="3544805"/>
              <a:ext cx="700152" cy="823552"/>
            </a:xfrm>
            <a:custGeom>
              <a:avLst/>
              <a:gdLst>
                <a:gd name="T0" fmla="*/ 1352 w 2264"/>
                <a:gd name="T1" fmla="*/ 966 h 2658"/>
                <a:gd name="T2" fmla="*/ 1352 w 2264"/>
                <a:gd name="T3" fmla="*/ 966 h 2658"/>
                <a:gd name="T4" fmla="*/ 1044 w 2264"/>
                <a:gd name="T5" fmla="*/ 1110 h 2658"/>
                <a:gd name="T6" fmla="*/ 777 w 2264"/>
                <a:gd name="T7" fmla="*/ 1414 h 2658"/>
                <a:gd name="T8" fmla="*/ 369 w 2264"/>
                <a:gd name="T9" fmla="*/ 1482 h 2658"/>
                <a:gd name="T10" fmla="*/ 261 w 2264"/>
                <a:gd name="T11" fmla="*/ 1254 h 2658"/>
                <a:gd name="T12" fmla="*/ 62 w 2264"/>
                <a:gd name="T13" fmla="*/ 887 h 2658"/>
                <a:gd name="T14" fmla="*/ 1032 w 2264"/>
                <a:gd name="T15" fmla="*/ 63 h 2658"/>
                <a:gd name="T16" fmla="*/ 1930 w 2264"/>
                <a:gd name="T17" fmla="*/ 703 h 2658"/>
                <a:gd name="T18" fmla="*/ 1352 w 2264"/>
                <a:gd name="T19" fmla="*/ 966 h 2658"/>
                <a:gd name="T20" fmla="*/ 2006 w 2264"/>
                <a:gd name="T21" fmla="*/ 1016 h 2658"/>
                <a:gd name="T22" fmla="*/ 2006 w 2264"/>
                <a:gd name="T23" fmla="*/ 1016 h 2658"/>
                <a:gd name="T24" fmla="*/ 2043 w 2264"/>
                <a:gd name="T25" fmla="*/ 847 h 2658"/>
                <a:gd name="T26" fmla="*/ 2015 w 2264"/>
                <a:gd name="T27" fmla="*/ 631 h 2658"/>
                <a:gd name="T28" fmla="*/ 1044 w 2264"/>
                <a:gd name="T29" fmla="*/ 0 h 2658"/>
                <a:gd name="T30" fmla="*/ 0 w 2264"/>
                <a:gd name="T31" fmla="*/ 894 h 2658"/>
                <a:gd name="T32" fmla="*/ 441 w 2264"/>
                <a:gd name="T33" fmla="*/ 1677 h 2658"/>
                <a:gd name="T34" fmla="*/ 399 w 2264"/>
                <a:gd name="T35" fmla="*/ 2492 h 2658"/>
                <a:gd name="T36" fmla="*/ 1064 w 2264"/>
                <a:gd name="T37" fmla="*/ 2658 h 2658"/>
                <a:gd name="T38" fmla="*/ 1381 w 2264"/>
                <a:gd name="T39" fmla="*/ 2622 h 2658"/>
                <a:gd name="T40" fmla="*/ 1407 w 2264"/>
                <a:gd name="T41" fmla="*/ 2131 h 2658"/>
                <a:gd name="T42" fmla="*/ 1880 w 2264"/>
                <a:gd name="T43" fmla="*/ 2228 h 2658"/>
                <a:gd name="T44" fmla="*/ 2039 w 2264"/>
                <a:gd name="T45" fmla="*/ 2128 h 2658"/>
                <a:gd name="T46" fmla="*/ 2039 w 2264"/>
                <a:gd name="T47" fmla="*/ 1954 h 2658"/>
                <a:gd name="T48" fmla="*/ 2090 w 2264"/>
                <a:gd name="T49" fmla="*/ 1845 h 2658"/>
                <a:gd name="T50" fmla="*/ 2074 w 2264"/>
                <a:gd name="T51" fmla="*/ 1789 h 2658"/>
                <a:gd name="T52" fmla="*/ 2124 w 2264"/>
                <a:gd name="T53" fmla="*/ 1731 h 2658"/>
                <a:gd name="T54" fmla="*/ 2101 w 2264"/>
                <a:gd name="T55" fmla="*/ 1661 h 2658"/>
                <a:gd name="T56" fmla="*/ 2106 w 2264"/>
                <a:gd name="T57" fmla="*/ 1577 h 2658"/>
                <a:gd name="T58" fmla="*/ 2223 w 2264"/>
                <a:gd name="T59" fmla="*/ 1547 h 2658"/>
                <a:gd name="T60" fmla="*/ 2263 w 2264"/>
                <a:gd name="T61" fmla="*/ 1479 h 2658"/>
                <a:gd name="T62" fmla="*/ 2006 w 2264"/>
                <a:gd name="T63" fmla="*/ 1016 h 2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64" h="2658">
                  <a:moveTo>
                    <a:pt x="1352" y="966"/>
                  </a:moveTo>
                  <a:lnTo>
                    <a:pt x="1352" y="966"/>
                  </a:lnTo>
                  <a:cubicBezTo>
                    <a:pt x="1340" y="1062"/>
                    <a:pt x="1220" y="1190"/>
                    <a:pt x="1044" y="1110"/>
                  </a:cubicBezTo>
                  <a:cubicBezTo>
                    <a:pt x="1096" y="1214"/>
                    <a:pt x="949" y="1414"/>
                    <a:pt x="777" y="1414"/>
                  </a:cubicBezTo>
                  <a:cubicBezTo>
                    <a:pt x="733" y="1666"/>
                    <a:pt x="513" y="1626"/>
                    <a:pt x="369" y="1482"/>
                  </a:cubicBezTo>
                  <a:cubicBezTo>
                    <a:pt x="319" y="1432"/>
                    <a:pt x="261" y="1314"/>
                    <a:pt x="261" y="1254"/>
                  </a:cubicBezTo>
                  <a:cubicBezTo>
                    <a:pt x="206" y="1247"/>
                    <a:pt x="62" y="1195"/>
                    <a:pt x="62" y="887"/>
                  </a:cubicBezTo>
                  <a:cubicBezTo>
                    <a:pt x="62" y="439"/>
                    <a:pt x="325" y="63"/>
                    <a:pt x="1032" y="63"/>
                  </a:cubicBezTo>
                  <a:cubicBezTo>
                    <a:pt x="1528" y="63"/>
                    <a:pt x="1930" y="427"/>
                    <a:pt x="1930" y="703"/>
                  </a:cubicBezTo>
                  <a:cubicBezTo>
                    <a:pt x="1930" y="978"/>
                    <a:pt x="1652" y="986"/>
                    <a:pt x="1352" y="966"/>
                  </a:cubicBezTo>
                  <a:close/>
                  <a:moveTo>
                    <a:pt x="2006" y="1016"/>
                  </a:moveTo>
                  <a:lnTo>
                    <a:pt x="2006" y="1016"/>
                  </a:lnTo>
                  <a:cubicBezTo>
                    <a:pt x="2004" y="1002"/>
                    <a:pt x="2042" y="911"/>
                    <a:pt x="2043" y="847"/>
                  </a:cubicBezTo>
                  <a:cubicBezTo>
                    <a:pt x="2044" y="783"/>
                    <a:pt x="2030" y="689"/>
                    <a:pt x="2015" y="631"/>
                  </a:cubicBezTo>
                  <a:cubicBezTo>
                    <a:pt x="2001" y="574"/>
                    <a:pt x="1836" y="0"/>
                    <a:pt x="1044" y="0"/>
                  </a:cubicBezTo>
                  <a:cubicBezTo>
                    <a:pt x="233" y="0"/>
                    <a:pt x="0" y="411"/>
                    <a:pt x="0" y="894"/>
                  </a:cubicBezTo>
                  <a:cubicBezTo>
                    <a:pt x="0" y="1389"/>
                    <a:pt x="410" y="1557"/>
                    <a:pt x="441" y="1677"/>
                  </a:cubicBezTo>
                  <a:cubicBezTo>
                    <a:pt x="524" y="2005"/>
                    <a:pt x="476" y="2295"/>
                    <a:pt x="399" y="2492"/>
                  </a:cubicBezTo>
                  <a:cubicBezTo>
                    <a:pt x="597" y="2598"/>
                    <a:pt x="824" y="2658"/>
                    <a:pt x="1064" y="2658"/>
                  </a:cubicBezTo>
                  <a:cubicBezTo>
                    <a:pt x="1173" y="2658"/>
                    <a:pt x="1279" y="2645"/>
                    <a:pt x="1381" y="2622"/>
                  </a:cubicBezTo>
                  <a:cubicBezTo>
                    <a:pt x="1378" y="2404"/>
                    <a:pt x="1385" y="2153"/>
                    <a:pt x="1407" y="2131"/>
                  </a:cubicBezTo>
                  <a:cubicBezTo>
                    <a:pt x="1462" y="2147"/>
                    <a:pt x="1822" y="2227"/>
                    <a:pt x="1880" y="2228"/>
                  </a:cubicBezTo>
                  <a:cubicBezTo>
                    <a:pt x="1935" y="2229"/>
                    <a:pt x="2017" y="2228"/>
                    <a:pt x="2039" y="2128"/>
                  </a:cubicBezTo>
                  <a:cubicBezTo>
                    <a:pt x="2058" y="2041"/>
                    <a:pt x="2034" y="1972"/>
                    <a:pt x="2039" y="1954"/>
                  </a:cubicBezTo>
                  <a:cubicBezTo>
                    <a:pt x="2051" y="1914"/>
                    <a:pt x="2088" y="1861"/>
                    <a:pt x="2090" y="1845"/>
                  </a:cubicBezTo>
                  <a:cubicBezTo>
                    <a:pt x="2092" y="1829"/>
                    <a:pt x="2074" y="1789"/>
                    <a:pt x="2074" y="1789"/>
                  </a:cubicBezTo>
                  <a:cubicBezTo>
                    <a:pt x="2074" y="1789"/>
                    <a:pt x="2121" y="1752"/>
                    <a:pt x="2124" y="1731"/>
                  </a:cubicBezTo>
                  <a:cubicBezTo>
                    <a:pt x="2127" y="1709"/>
                    <a:pt x="2103" y="1669"/>
                    <a:pt x="2101" y="1661"/>
                  </a:cubicBezTo>
                  <a:cubicBezTo>
                    <a:pt x="2099" y="1653"/>
                    <a:pt x="2106" y="1577"/>
                    <a:pt x="2106" y="1577"/>
                  </a:cubicBezTo>
                  <a:cubicBezTo>
                    <a:pt x="2106" y="1577"/>
                    <a:pt x="2202" y="1559"/>
                    <a:pt x="2223" y="1547"/>
                  </a:cubicBezTo>
                  <a:cubicBezTo>
                    <a:pt x="2243" y="1535"/>
                    <a:pt x="2264" y="1495"/>
                    <a:pt x="2263" y="1479"/>
                  </a:cubicBezTo>
                  <a:cubicBezTo>
                    <a:pt x="2262" y="1464"/>
                    <a:pt x="2014" y="1085"/>
                    <a:pt x="2006" y="1016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001965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93" name="CasellaDiTesto 92">
            <a:extLst>
              <a:ext uri="{FF2B5EF4-FFF2-40B4-BE49-F238E27FC236}">
                <a16:creationId xmlns:a16="http://schemas.microsoft.com/office/drawing/2014/main" xmlns="" id="{68EEB9AD-4F25-40D2-BD5E-272458080474}"/>
              </a:ext>
            </a:extLst>
          </p:cNvPr>
          <p:cNvSpPr txBox="1"/>
          <p:nvPr/>
        </p:nvSpPr>
        <p:spPr>
          <a:xfrm>
            <a:off x="4572003" y="4996074"/>
            <a:ext cx="3824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rgbClr val="00B050"/>
                </a:solidFill>
              </a:rPr>
              <a:t>+</a:t>
            </a:r>
          </a:p>
        </p:txBody>
      </p:sp>
      <p:sp>
        <p:nvSpPr>
          <p:cNvPr id="94" name="CasellaDiTesto 93">
            <a:extLst>
              <a:ext uri="{FF2B5EF4-FFF2-40B4-BE49-F238E27FC236}">
                <a16:creationId xmlns:a16="http://schemas.microsoft.com/office/drawing/2014/main" xmlns="" id="{38859B2D-1D55-462E-9CB4-45622EC41BA7}"/>
              </a:ext>
            </a:extLst>
          </p:cNvPr>
          <p:cNvSpPr txBox="1"/>
          <p:nvPr/>
        </p:nvSpPr>
        <p:spPr>
          <a:xfrm>
            <a:off x="7001567" y="5000494"/>
            <a:ext cx="382435" cy="584775"/>
          </a:xfrm>
          <a:prstGeom prst="rect">
            <a:avLst/>
          </a:prstGeom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rgbClr val="FFC000"/>
                </a:solidFill>
              </a:defRPr>
            </a:lvl1pPr>
          </a:lstStyle>
          <a:p>
            <a:r>
              <a:rPr lang="it-IT" sz="3200" dirty="0">
                <a:solidFill>
                  <a:srgbClr val="FF1400"/>
                </a:solidFill>
              </a:rPr>
              <a:t>-</a:t>
            </a:r>
          </a:p>
        </p:txBody>
      </p:sp>
      <p:sp>
        <p:nvSpPr>
          <p:cNvPr id="95" name="Up Arrow 49">
            <a:extLst>
              <a:ext uri="{FF2B5EF4-FFF2-40B4-BE49-F238E27FC236}">
                <a16:creationId xmlns:a16="http://schemas.microsoft.com/office/drawing/2014/main" xmlns="" id="{1FD7ECD2-DDFE-4A8A-B946-16E91DC1C1CF}"/>
              </a:ext>
            </a:extLst>
          </p:cNvPr>
          <p:cNvSpPr/>
          <p:nvPr/>
        </p:nvSpPr>
        <p:spPr>
          <a:xfrm rot="10800000" flipV="1">
            <a:off x="3987274" y="3231453"/>
            <a:ext cx="449424" cy="422433"/>
          </a:xfrm>
          <a:prstGeom prst="upArrow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6" name="Up Arrow 49">
            <a:extLst>
              <a:ext uri="{FF2B5EF4-FFF2-40B4-BE49-F238E27FC236}">
                <a16:creationId xmlns:a16="http://schemas.microsoft.com/office/drawing/2014/main" xmlns="" id="{56AC4CB5-7E9E-47E0-825D-F6B3E78875BA}"/>
              </a:ext>
            </a:extLst>
          </p:cNvPr>
          <p:cNvSpPr/>
          <p:nvPr/>
        </p:nvSpPr>
        <p:spPr>
          <a:xfrm flipV="1">
            <a:off x="7751617" y="3267574"/>
            <a:ext cx="449424" cy="422433"/>
          </a:xfrm>
          <a:prstGeom prst="upArrow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1" name="TextBox 39">
            <a:extLst>
              <a:ext uri="{FF2B5EF4-FFF2-40B4-BE49-F238E27FC236}">
                <a16:creationId xmlns:a16="http://schemas.microsoft.com/office/drawing/2014/main" xmlns="" id="{063AB6D2-30FE-4A3C-9DAD-FC52F9FB2912}"/>
              </a:ext>
            </a:extLst>
          </p:cNvPr>
          <p:cNvSpPr txBox="1"/>
          <p:nvPr/>
        </p:nvSpPr>
        <p:spPr>
          <a:xfrm>
            <a:off x="8434303" y="3303375"/>
            <a:ext cx="3206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GB" sz="2800" b="1" dirty="0">
                <a:solidFill>
                  <a:srgbClr val="001965"/>
                </a:solidFill>
                <a:latin typeface="Verdana"/>
                <a:cs typeface="Arial" charset="0"/>
              </a:rPr>
              <a:t>Hypothalamus</a:t>
            </a:r>
          </a:p>
        </p:txBody>
      </p:sp>
    </p:spTree>
    <p:extLst>
      <p:ext uri="{BB962C8B-B14F-4D97-AF65-F5344CB8AC3E}">
        <p14:creationId xmlns:p14="http://schemas.microsoft.com/office/powerpoint/2010/main" val="596908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tangolo 19">
            <a:extLst>
              <a:ext uri="{FF2B5EF4-FFF2-40B4-BE49-F238E27FC236}">
                <a16:creationId xmlns:a16="http://schemas.microsoft.com/office/drawing/2014/main" xmlns="" id="{8D242C36-E549-4F06-98EE-677EE31AC6FA}"/>
              </a:ext>
            </a:extLst>
          </p:cNvPr>
          <p:cNvSpPr/>
          <p:nvPr/>
        </p:nvSpPr>
        <p:spPr>
          <a:xfrm>
            <a:off x="8052291" y="1216667"/>
            <a:ext cx="3563288" cy="46503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CEC905D9-9937-4980-9BA5-86F66489212D}"/>
              </a:ext>
            </a:extLst>
          </p:cNvPr>
          <p:cNvSpPr txBox="1">
            <a:spLocks/>
          </p:cNvSpPr>
          <p:nvPr/>
        </p:nvSpPr>
        <p:spPr bwMode="auto">
          <a:xfrm>
            <a:off x="8557769" y="1433961"/>
            <a:ext cx="3113963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ost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29</a:t>
            </a:fld>
            <a:endParaRPr lang="en-GB" sz="700" dirty="0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xmlns="" id="{FC8617D1-D0DF-46F9-89D3-91ECB7DC4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527762"/>
            <a:ext cx="11347200" cy="521883"/>
          </a:xfrm>
        </p:spPr>
        <p:txBody>
          <a:bodyPr/>
          <a:lstStyle/>
          <a:p>
            <a:r>
              <a:rPr lang="it-IT" sz="3600" dirty="0"/>
              <a:t>The </a:t>
            </a:r>
            <a:r>
              <a:rPr lang="it-IT" sz="3600" dirty="0" err="1"/>
              <a:t>Role</a:t>
            </a:r>
            <a:r>
              <a:rPr lang="it-IT" sz="3600" dirty="0"/>
              <a:t> of </a:t>
            </a:r>
            <a:r>
              <a:rPr lang="it-IT" sz="3600" dirty="0" err="1"/>
              <a:t>Pharmacotherapy</a:t>
            </a:r>
            <a:endParaRPr lang="en-GB" sz="3600" dirty="0"/>
          </a:p>
        </p:txBody>
      </p:sp>
      <p:pic>
        <p:nvPicPr>
          <p:cNvPr id="2050" name="Picture 2" descr="79 Bariatric Surgery Icon Illustrations &amp;amp; Clip Art - iStock">
            <a:extLst>
              <a:ext uri="{FF2B5EF4-FFF2-40B4-BE49-F238E27FC236}">
                <a16:creationId xmlns:a16="http://schemas.microsoft.com/office/drawing/2014/main" xmlns="" id="{315284F3-D514-4A3F-8D13-606D52B08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047" y="1863784"/>
            <a:ext cx="3713906" cy="371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ccia destra rientrata 5">
            <a:extLst>
              <a:ext uri="{FF2B5EF4-FFF2-40B4-BE49-F238E27FC236}">
                <a16:creationId xmlns:a16="http://schemas.microsoft.com/office/drawing/2014/main" xmlns="" id="{9F279898-99E4-4FF5-9524-6E623BC947A4}"/>
              </a:ext>
            </a:extLst>
          </p:cNvPr>
          <p:cNvSpPr/>
          <p:nvPr/>
        </p:nvSpPr>
        <p:spPr>
          <a:xfrm>
            <a:off x="947064" y="6005660"/>
            <a:ext cx="10426330" cy="696685"/>
          </a:xfrm>
          <a:prstGeom prst="notched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xmlns="" id="{6F3837D3-0A57-4C5A-A285-5911AFA3F917}"/>
              </a:ext>
            </a:extLst>
          </p:cNvPr>
          <p:cNvCxnSpPr/>
          <p:nvPr/>
        </p:nvCxnSpPr>
        <p:spPr>
          <a:xfrm>
            <a:off x="4310747" y="1621973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xmlns="" id="{7F24E4D9-CCE7-4A1E-BF47-A06C4936EF38}"/>
              </a:ext>
            </a:extLst>
          </p:cNvPr>
          <p:cNvCxnSpPr/>
          <p:nvPr/>
        </p:nvCxnSpPr>
        <p:spPr>
          <a:xfrm>
            <a:off x="8007531" y="1621972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66F35D49-F0D4-48C8-9D32-8FC4679E7494}"/>
              </a:ext>
            </a:extLst>
          </p:cNvPr>
          <p:cNvSpPr txBox="1">
            <a:spLocks/>
          </p:cNvSpPr>
          <p:nvPr/>
        </p:nvSpPr>
        <p:spPr bwMode="auto">
          <a:xfrm>
            <a:off x="947064" y="1430380"/>
            <a:ext cx="2873821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re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12" name="Picture 2" descr="Obese Icon - Download in Glyph Style">
            <a:extLst>
              <a:ext uri="{FF2B5EF4-FFF2-40B4-BE49-F238E27FC236}">
                <a16:creationId xmlns:a16="http://schemas.microsoft.com/office/drawing/2014/main" xmlns="" id="{88592EA5-5BD8-4A94-8641-05DD2ACBC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rgbClr val="00196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0" y="5785536"/>
            <a:ext cx="974684" cy="97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85">
            <a:extLst>
              <a:ext uri="{FF2B5EF4-FFF2-40B4-BE49-F238E27FC236}">
                <a16:creationId xmlns:a16="http://schemas.microsoft.com/office/drawing/2014/main" xmlns="" id="{6A89ABAC-C963-4853-8361-168C2CBA9C3C}"/>
              </a:ext>
            </a:extLst>
          </p:cNvPr>
          <p:cNvGrpSpPr/>
          <p:nvPr/>
        </p:nvGrpSpPr>
        <p:grpSpPr>
          <a:xfrm>
            <a:off x="11522108" y="5796405"/>
            <a:ext cx="443926" cy="963815"/>
            <a:chOff x="4597006" y="3350024"/>
            <a:chExt cx="211872" cy="530750"/>
          </a:xfrm>
        </p:grpSpPr>
        <p:sp>
          <p:nvSpPr>
            <p:cNvPr id="16" name="Oval 372">
              <a:extLst>
                <a:ext uri="{FF2B5EF4-FFF2-40B4-BE49-F238E27FC236}">
                  <a16:creationId xmlns:a16="http://schemas.microsoft.com/office/drawing/2014/main" xmlns="" id="{36AEFB23-C9BD-4DD4-BDBB-6BA9F81E2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742" y="3350024"/>
              <a:ext cx="86400" cy="86759"/>
            </a:xfrm>
            <a:prstGeom prst="ellipse">
              <a:avLst/>
            </a:pr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22" name="Freeform 373">
              <a:extLst>
                <a:ext uri="{FF2B5EF4-FFF2-40B4-BE49-F238E27FC236}">
                  <a16:creationId xmlns:a16="http://schemas.microsoft.com/office/drawing/2014/main" xmlns="" id="{D3C6E2A6-294E-4D8A-A486-FBEC79EDB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006" y="3449532"/>
              <a:ext cx="211872" cy="431242"/>
            </a:xfrm>
            <a:custGeom>
              <a:avLst/>
              <a:gdLst>
                <a:gd name="T0" fmla="*/ 53 w 78"/>
                <a:gd name="T1" fmla="*/ 0 h 173"/>
                <a:gd name="T2" fmla="*/ 78 w 78"/>
                <a:gd name="T3" fmla="*/ 22 h 173"/>
                <a:gd name="T4" fmla="*/ 78 w 78"/>
                <a:gd name="T5" fmla="*/ 78 h 173"/>
                <a:gd name="T6" fmla="*/ 71 w 78"/>
                <a:gd name="T7" fmla="*/ 86 h 173"/>
                <a:gd name="T8" fmla="*/ 67 w 78"/>
                <a:gd name="T9" fmla="*/ 86 h 173"/>
                <a:gd name="T10" fmla="*/ 67 w 78"/>
                <a:gd name="T11" fmla="*/ 27 h 173"/>
                <a:gd name="T12" fmla="*/ 60 w 78"/>
                <a:gd name="T13" fmla="*/ 27 h 173"/>
                <a:gd name="T14" fmla="*/ 60 w 78"/>
                <a:gd name="T15" fmla="*/ 163 h 173"/>
                <a:gd name="T16" fmla="*/ 52 w 78"/>
                <a:gd name="T17" fmla="*/ 173 h 173"/>
                <a:gd name="T18" fmla="*/ 43 w 78"/>
                <a:gd name="T19" fmla="*/ 163 h 173"/>
                <a:gd name="T20" fmla="*/ 43 w 78"/>
                <a:gd name="T21" fmla="*/ 84 h 173"/>
                <a:gd name="T22" fmla="*/ 36 w 78"/>
                <a:gd name="T23" fmla="*/ 84 h 173"/>
                <a:gd name="T24" fmla="*/ 36 w 78"/>
                <a:gd name="T25" fmla="*/ 163 h 173"/>
                <a:gd name="T26" fmla="*/ 27 w 78"/>
                <a:gd name="T27" fmla="*/ 173 h 173"/>
                <a:gd name="T28" fmla="*/ 18 w 78"/>
                <a:gd name="T29" fmla="*/ 163 h 173"/>
                <a:gd name="T30" fmla="*/ 18 w 78"/>
                <a:gd name="T31" fmla="*/ 27 h 173"/>
                <a:gd name="T32" fmla="*/ 11 w 78"/>
                <a:gd name="T33" fmla="*/ 27 h 173"/>
                <a:gd name="T34" fmla="*/ 11 w 78"/>
                <a:gd name="T35" fmla="*/ 86 h 173"/>
                <a:gd name="T36" fmla="*/ 8 w 78"/>
                <a:gd name="T37" fmla="*/ 86 h 173"/>
                <a:gd name="T38" fmla="*/ 0 w 78"/>
                <a:gd name="T39" fmla="*/ 78 h 173"/>
                <a:gd name="T40" fmla="*/ 0 w 78"/>
                <a:gd name="T41" fmla="*/ 22 h 173"/>
                <a:gd name="T42" fmla="*/ 26 w 78"/>
                <a:gd name="T43" fmla="*/ 0 h 173"/>
                <a:gd name="T44" fmla="*/ 53 w 78"/>
                <a:gd name="T45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173">
                  <a:moveTo>
                    <a:pt x="53" y="0"/>
                  </a:moveTo>
                  <a:cubicBezTo>
                    <a:pt x="65" y="0"/>
                    <a:pt x="78" y="10"/>
                    <a:pt x="78" y="22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82"/>
                    <a:pt x="75" y="86"/>
                    <a:pt x="71" y="86"/>
                  </a:cubicBezTo>
                  <a:cubicBezTo>
                    <a:pt x="69" y="86"/>
                    <a:pt x="70" y="86"/>
                    <a:pt x="67" y="8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8"/>
                    <a:pt x="57" y="173"/>
                    <a:pt x="52" y="173"/>
                  </a:cubicBezTo>
                  <a:cubicBezTo>
                    <a:pt x="46" y="173"/>
                    <a:pt x="43" y="168"/>
                    <a:pt x="43" y="163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63"/>
                    <a:pt x="36" y="163"/>
                    <a:pt x="36" y="163"/>
                  </a:cubicBezTo>
                  <a:cubicBezTo>
                    <a:pt x="36" y="168"/>
                    <a:pt x="32" y="173"/>
                    <a:pt x="27" y="173"/>
                  </a:cubicBezTo>
                  <a:cubicBezTo>
                    <a:pt x="21" y="173"/>
                    <a:pt x="18" y="168"/>
                    <a:pt x="18" y="16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8" y="86"/>
                    <a:pt x="9" y="86"/>
                    <a:pt x="8" y="86"/>
                  </a:cubicBezTo>
                  <a:cubicBezTo>
                    <a:pt x="3" y="86"/>
                    <a:pt x="0" y="82"/>
                    <a:pt x="0" y="7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3" y="0"/>
                    <a:pt x="26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</p:grpSp>
      <p:sp>
        <p:nvSpPr>
          <p:cNvPr id="23" name="Insert title here">
            <a:extLst>
              <a:ext uri="{FF2B5EF4-FFF2-40B4-BE49-F238E27FC236}">
                <a16:creationId xmlns:a16="http://schemas.microsoft.com/office/drawing/2014/main" xmlns="" id="{0406C57B-1415-4696-8CA3-360A8CBDD09A}"/>
              </a:ext>
            </a:extLst>
          </p:cNvPr>
          <p:cNvSpPr/>
          <p:nvPr/>
        </p:nvSpPr>
        <p:spPr>
          <a:xfrm>
            <a:off x="647998" y="2053105"/>
            <a:ext cx="3462443" cy="30675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Treat Metabolic Syndrome: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↑ </a:t>
            </a:r>
            <a:r>
              <a:rPr lang="en-US" sz="14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EWL post-op </a:t>
            </a:r>
            <a:r>
              <a:rPr lang="en-US" sz="1400" baseline="300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Apis Light" panose="020B04040101010101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Reduce hospital stay </a:t>
            </a:r>
            <a:r>
              <a:rPr lang="en-US" sz="1400" baseline="30000" dirty="0">
                <a:solidFill>
                  <a:schemeClr val="tx2"/>
                </a:solidFill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Post-op complications </a:t>
            </a:r>
            <a:r>
              <a:rPr lang="en-US" sz="1400" baseline="30000" dirty="0">
                <a:solidFill>
                  <a:schemeClr val="tx2"/>
                </a:solidFill>
              </a:rPr>
              <a:t>2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Risk in </a:t>
            </a:r>
            <a:r>
              <a:rPr lang="en-GB" sz="1400" b="1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nesthesia</a:t>
            </a: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lvl="1"/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BMI &gt; 65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re-surgical weight loss is mandatory to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intra-abdominal volume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and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chieve operabilit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3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non-responsive to lifestyle intervention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4</a:t>
            </a:r>
          </a:p>
        </p:txBody>
      </p:sp>
      <p:sp>
        <p:nvSpPr>
          <p:cNvPr id="24" name="Insert title here">
            <a:extLst>
              <a:ext uri="{FF2B5EF4-FFF2-40B4-BE49-F238E27FC236}">
                <a16:creationId xmlns:a16="http://schemas.microsoft.com/office/drawing/2014/main" xmlns="" id="{3C8DFCCB-B4C0-4C90-BE05-522A4A185ED2}"/>
              </a:ext>
            </a:extLst>
          </p:cNvPr>
          <p:cNvSpPr/>
          <p:nvPr/>
        </p:nvSpPr>
        <p:spPr>
          <a:xfrm>
            <a:off x="1089221" y="5437990"/>
            <a:ext cx="3139038" cy="389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* BMI &gt; 55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main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risk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factor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for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unfavourable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outcom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(SICOB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guidelin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2016)</a:t>
            </a:r>
            <a:endParaRPr lang="en-GB" sz="1100" baseline="300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xmlns="" id="{79FED764-E6CB-4C89-9045-6460A018F8B6}"/>
              </a:ext>
            </a:extLst>
          </p:cNvPr>
          <p:cNvSpPr/>
          <p:nvPr/>
        </p:nvSpPr>
        <p:spPr>
          <a:xfrm>
            <a:off x="870864" y="6531026"/>
            <a:ext cx="93685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. Hutcheon DA et al. J Am Coll Surg. 2018;226(4):514-524; 2. 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Cassie S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ela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is. 2011;7(6):760-7; 3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i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iabet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5;64:A43; 4. Malone et al. Ann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harmacoth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2;46:779–84; 5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nciguerra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F, et al. 2021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p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1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i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 10.23736/S2724-6507.21.03311-3; 6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aku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U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31(1):84-92; 7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adurdeen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astrointes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ndosc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 Jun;93(6):1316-1324.e1. </a:t>
            </a:r>
          </a:p>
        </p:txBody>
      </p:sp>
      <p:sp>
        <p:nvSpPr>
          <p:cNvPr id="25" name="Insert title here">
            <a:extLst>
              <a:ext uri="{FF2B5EF4-FFF2-40B4-BE49-F238E27FC236}">
                <a16:creationId xmlns:a16="http://schemas.microsoft.com/office/drawing/2014/main" xmlns="" id="{5B6532E2-4CB1-4CAE-8CC5-0D8E48D8E5C1}"/>
              </a:ext>
            </a:extLst>
          </p:cNvPr>
          <p:cNvSpPr/>
          <p:nvPr/>
        </p:nvSpPr>
        <p:spPr>
          <a:xfrm>
            <a:off x="8278954" y="2053108"/>
            <a:ext cx="3392778" cy="34983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Weight Regain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 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   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≥ 25 weight loss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Insufficient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&lt; 50% EWL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desiring further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6</a:t>
            </a: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with no indication for bariatric surger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7                                  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BMI &lt; 40): endoscopic surgery</a:t>
            </a:r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xmlns="" id="{AE736D7E-AFFB-42D6-A942-815A1E76D3EE}"/>
              </a:ext>
            </a:extLst>
          </p:cNvPr>
          <p:cNvSpPr/>
          <p:nvPr/>
        </p:nvSpPr>
        <p:spPr>
          <a:xfrm>
            <a:off x="8080368" y="1303579"/>
            <a:ext cx="3563288" cy="46503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106109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19" y="732243"/>
            <a:ext cx="10889672" cy="612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sellaDiTesto 3"/>
          <p:cNvSpPr txBox="1"/>
          <p:nvPr/>
        </p:nvSpPr>
        <p:spPr>
          <a:xfrm>
            <a:off x="914402" y="-42956"/>
            <a:ext cx="9864436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it-IT" sz="3733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Weight</a:t>
            </a:r>
            <a:r>
              <a:rPr lang="it-IT" sz="3733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733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loss</a:t>
            </a:r>
            <a:r>
              <a:rPr lang="it-IT" sz="3733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 – </a:t>
            </a:r>
            <a:r>
              <a:rPr lang="it-IT" sz="3733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treat</a:t>
            </a:r>
            <a:r>
              <a:rPr lang="it-IT" sz="3733" b="1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rPr>
              <a:t> to target</a:t>
            </a:r>
            <a:endParaRPr lang="it-IT" sz="3733" b="1" dirty="0">
              <a:solidFill>
                <a:schemeClr val="accent2">
                  <a:lumMod val="60000"/>
                  <a:lumOff val="4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17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A9E7E337-0647-4978-8C22-40898D6E2C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GB" sz="800" dirty="0">
                <a:solidFill>
                  <a:schemeClr val="tx2"/>
                </a:solidFill>
              </a:rPr>
              <a:t>FAS, fasting visit data only. Line graphs are observed means (±SE). Statistical analysis is ANCOVA.</a:t>
            </a:r>
          </a:p>
          <a:p>
            <a:pPr lvl="0"/>
            <a:r>
              <a:rPr lang="en-GB" sz="800" dirty="0">
                <a:solidFill>
                  <a:schemeClr val="tx2"/>
                </a:solidFill>
              </a:rPr>
              <a:t>FAS, full analysis set; LOCF, last observation carried forward; SE, standard error</a:t>
            </a:r>
          </a:p>
        </p:txBody>
      </p:sp>
      <p:sp>
        <p:nvSpPr>
          <p:cNvPr id="2969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Change in body weight (%)</a:t>
            </a:r>
            <a:r>
              <a:rPr lang="en-GB" dirty="0"/>
              <a:t/>
            </a:r>
            <a:br>
              <a:rPr lang="en-GB" dirty="0"/>
            </a:br>
            <a:r>
              <a:rPr lang="en-GB" sz="2000" dirty="0">
                <a:solidFill>
                  <a:srgbClr val="3B97DE"/>
                </a:solidFill>
              </a:rPr>
              <a:t>SCALE Obesity and Prediabetes: 0-56 weeks</a:t>
            </a: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105341902"/>
              </p:ext>
            </p:extLst>
          </p:nvPr>
        </p:nvGraphicFramePr>
        <p:xfrm>
          <a:off x="1008699" y="2079756"/>
          <a:ext cx="9408000" cy="355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Rectangle 1"/>
          <p:cNvSpPr>
            <a:spLocks noChangeArrowheads="1"/>
          </p:cNvSpPr>
          <p:nvPr/>
        </p:nvSpPr>
        <p:spPr bwMode="auto">
          <a:xfrm>
            <a:off x="5518915" y="5637763"/>
            <a:ext cx="74372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Week</a:t>
            </a:r>
          </a:p>
        </p:txBody>
      </p:sp>
      <p:sp>
        <p:nvSpPr>
          <p:cNvPr id="27" name="Rectangle 79"/>
          <p:cNvSpPr>
            <a:spLocks noChangeArrowheads="1"/>
          </p:cNvSpPr>
          <p:nvPr/>
        </p:nvSpPr>
        <p:spPr bwMode="auto">
          <a:xfrm>
            <a:off x="4474367" y="2200395"/>
            <a:ext cx="144000" cy="143999"/>
          </a:xfrm>
          <a:prstGeom prst="ellipse">
            <a:avLst/>
          </a:prstGeom>
          <a:solidFill>
            <a:srgbClr val="001965"/>
          </a:solidFill>
          <a:ln w="19050" algn="ctr">
            <a:solidFill>
              <a:srgbClr val="001965"/>
            </a:solidFill>
            <a:round/>
            <a:headEnd/>
            <a:tailEnd/>
          </a:ln>
        </p:spPr>
        <p:txBody>
          <a:bodyPr wrap="none" lIns="96000" tIns="96000" rIns="96000" bIns="9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 bwMode="auto">
          <a:xfrm>
            <a:off x="6831304" y="2200395"/>
            <a:ext cx="144000" cy="143999"/>
          </a:xfrm>
          <a:prstGeom prst="ellipse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6000" tIns="96000" rIns="96000" bIns="9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40" name="Rectangle 478"/>
          <p:cNvSpPr>
            <a:spLocks noChangeArrowheads="1"/>
          </p:cNvSpPr>
          <p:nvPr/>
        </p:nvSpPr>
        <p:spPr bwMode="auto">
          <a:xfrm>
            <a:off x="7201301" y="2169803"/>
            <a:ext cx="1742465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Observed mean LOCF</a:t>
            </a:r>
          </a:p>
        </p:txBody>
      </p:sp>
      <p:sp>
        <p:nvSpPr>
          <p:cNvPr id="46" name="Rectangle 478"/>
          <p:cNvSpPr>
            <a:spLocks noChangeArrowheads="1"/>
          </p:cNvSpPr>
          <p:nvPr/>
        </p:nvSpPr>
        <p:spPr bwMode="auto">
          <a:xfrm>
            <a:off x="4852296" y="2169803"/>
            <a:ext cx="1742465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Observed mean LOCF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836368" y="3538321"/>
            <a:ext cx="8451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&lt;0.0001</a:t>
            </a:r>
          </a:p>
        </p:txBody>
      </p:sp>
      <p:sp>
        <p:nvSpPr>
          <p:cNvPr id="48" name="Right Bracket 47"/>
          <p:cNvSpPr/>
          <p:nvPr/>
        </p:nvSpPr>
        <p:spPr>
          <a:xfrm>
            <a:off x="10587836" y="3044208"/>
            <a:ext cx="96000" cy="1296000"/>
          </a:xfrm>
          <a:prstGeom prst="rightBracket">
            <a:avLst>
              <a:gd name="adj" fmla="val 0"/>
            </a:avLst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944139" y="4158002"/>
            <a:ext cx="5918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8.0%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9924475" y="2881722"/>
            <a:ext cx="5918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2.6%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9818535" y="4480145"/>
            <a:ext cx="793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9.2%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818535" y="3114657"/>
            <a:ext cx="793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3.5%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674921" y="4787922"/>
            <a:ext cx="1063256" cy="632703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852019" y="5033654"/>
            <a:ext cx="1063256" cy="632703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 rot="16200000">
            <a:off x="-545905" y="3653432"/>
            <a:ext cx="2746265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Change in body weight (%)</a:t>
            </a:r>
          </a:p>
        </p:txBody>
      </p:sp>
      <p:sp>
        <p:nvSpPr>
          <p:cNvPr id="34" name="Rectangle 474">
            <a:extLst>
              <a:ext uri="{FF2B5EF4-FFF2-40B4-BE49-F238E27FC236}">
                <a16:creationId xmlns:a16="http://schemas.microsoft.com/office/drawing/2014/main" xmlns="" id="{A013532E-EC68-455F-B59A-F5888B4B9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296" y="1944000"/>
            <a:ext cx="1463542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Liraglutide 3.0 mg</a:t>
            </a:r>
          </a:p>
        </p:txBody>
      </p:sp>
      <p:sp>
        <p:nvSpPr>
          <p:cNvPr id="36" name="Rectangle 478">
            <a:extLst>
              <a:ext uri="{FF2B5EF4-FFF2-40B4-BE49-F238E27FC236}">
                <a16:creationId xmlns:a16="http://schemas.microsoft.com/office/drawing/2014/main" xmlns="" id="{8B5AF6DC-A382-44F4-89AC-DE8244D74D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1301" y="1944000"/>
            <a:ext cx="633187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Placebo</a:t>
            </a:r>
          </a:p>
        </p:txBody>
      </p:sp>
      <p:cxnSp>
        <p:nvCxnSpPr>
          <p:cNvPr id="37" name="Straight Connector 38">
            <a:extLst>
              <a:ext uri="{FF2B5EF4-FFF2-40B4-BE49-F238E27FC236}">
                <a16:creationId xmlns:a16="http://schemas.microsoft.com/office/drawing/2014/main" xmlns="" id="{AAB64F7C-FB5A-40F1-ABAD-A19FE9448FD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57512" y="2036333"/>
            <a:ext cx="377710" cy="0"/>
          </a:xfrm>
          <a:prstGeom prst="line">
            <a:avLst/>
          </a:prstGeom>
          <a:noFill/>
          <a:ln w="38100" algn="ctr">
            <a:solidFill>
              <a:srgbClr val="00196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Straight Connector 41">
            <a:extLst>
              <a:ext uri="{FF2B5EF4-FFF2-40B4-BE49-F238E27FC236}">
                <a16:creationId xmlns:a16="http://schemas.microsoft.com/office/drawing/2014/main" xmlns="" id="{D7F6E0E2-2103-44E4-9A2F-1499A8DC417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14449" y="2036333"/>
            <a:ext cx="377710" cy="0"/>
          </a:xfrm>
          <a:prstGeom prst="line">
            <a:avLst/>
          </a:prstGeom>
          <a:noFill/>
          <a:ln w="38100" algn="ctr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E619B84A-5F3C-468F-8B6A-B4BD3D890FDD}"/>
              </a:ext>
            </a:extLst>
          </p:cNvPr>
          <p:cNvSpPr/>
          <p:nvPr/>
        </p:nvSpPr>
        <p:spPr>
          <a:xfrm>
            <a:off x="548706" y="1694752"/>
            <a:ext cx="3037119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1333" dirty="0">
                <a:solidFill>
                  <a:srgbClr val="001965"/>
                </a:solidFill>
              </a:rPr>
              <a:t>Mean baseline weight: 106 kg</a:t>
            </a:r>
          </a:p>
        </p:txBody>
      </p:sp>
      <p:sp>
        <p:nvSpPr>
          <p:cNvPr id="26" name="Segnaposto numero diapositiva 5">
            <a:extLst>
              <a:ext uri="{FF2B5EF4-FFF2-40B4-BE49-F238E27FC236}">
                <a16:creationId xmlns:a16="http://schemas.microsoft.com/office/drawing/2014/main" xmlns="" id="{239EBB36-BB79-4591-8BF5-4F6FAD8DDAA4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0</a:t>
            </a:fld>
            <a:endParaRPr lang="en-GB" sz="700" dirty="0"/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xmlns="" id="{6B97714A-8B5B-428B-A0A0-BA664B27EA26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i-Sunyer et al. N Engl J Med 2015;373:11–22; 2</a:t>
            </a:r>
            <a:endParaRPr lang="pt-B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xmlns="" id="{2EEF8D08-C6D8-4135-A41F-451145998916}"/>
              </a:ext>
            </a:extLst>
          </p:cNvPr>
          <p:cNvCxnSpPr>
            <a:cxnSpLocks/>
          </p:cNvCxnSpPr>
          <p:nvPr/>
        </p:nvCxnSpPr>
        <p:spPr>
          <a:xfrm flipV="1">
            <a:off x="2723745" y="3677056"/>
            <a:ext cx="0" cy="1595335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diritto 28">
            <a:extLst>
              <a:ext uri="{FF2B5EF4-FFF2-40B4-BE49-F238E27FC236}">
                <a16:creationId xmlns:a16="http://schemas.microsoft.com/office/drawing/2014/main" xmlns="" id="{2383F534-9643-4534-A252-4AB7D1501ED2}"/>
              </a:ext>
            </a:extLst>
          </p:cNvPr>
          <p:cNvCxnSpPr>
            <a:cxnSpLocks/>
          </p:cNvCxnSpPr>
          <p:nvPr/>
        </p:nvCxnSpPr>
        <p:spPr>
          <a:xfrm>
            <a:off x="1585609" y="3675607"/>
            <a:ext cx="1138136" cy="1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diritto 32">
            <a:extLst>
              <a:ext uri="{FF2B5EF4-FFF2-40B4-BE49-F238E27FC236}">
                <a16:creationId xmlns:a16="http://schemas.microsoft.com/office/drawing/2014/main" xmlns="" id="{E5FAF8A2-AA75-4023-A506-1B3CAA16F189}"/>
              </a:ext>
            </a:extLst>
          </p:cNvPr>
          <p:cNvCxnSpPr>
            <a:cxnSpLocks/>
          </p:cNvCxnSpPr>
          <p:nvPr/>
        </p:nvCxnSpPr>
        <p:spPr>
          <a:xfrm flipV="1">
            <a:off x="7321685" y="4614666"/>
            <a:ext cx="0" cy="657725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>
            <a:extLst>
              <a:ext uri="{FF2B5EF4-FFF2-40B4-BE49-F238E27FC236}">
                <a16:creationId xmlns:a16="http://schemas.microsoft.com/office/drawing/2014/main" xmlns="" id="{780EFD94-43EC-401B-8271-10C0443BB2C4}"/>
              </a:ext>
            </a:extLst>
          </p:cNvPr>
          <p:cNvCxnSpPr>
            <a:cxnSpLocks/>
          </p:cNvCxnSpPr>
          <p:nvPr/>
        </p:nvCxnSpPr>
        <p:spPr>
          <a:xfrm flipH="1" flipV="1">
            <a:off x="3858813" y="4086007"/>
            <a:ext cx="12051" cy="1210232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diritto 40">
            <a:extLst>
              <a:ext uri="{FF2B5EF4-FFF2-40B4-BE49-F238E27FC236}">
                <a16:creationId xmlns:a16="http://schemas.microsoft.com/office/drawing/2014/main" xmlns="" id="{076E57B6-C8F7-4335-A2B4-86857FF44125}"/>
              </a:ext>
            </a:extLst>
          </p:cNvPr>
          <p:cNvCxnSpPr>
            <a:cxnSpLocks/>
          </p:cNvCxnSpPr>
          <p:nvPr/>
        </p:nvCxnSpPr>
        <p:spPr>
          <a:xfrm flipV="1">
            <a:off x="1557759" y="4073557"/>
            <a:ext cx="2269140" cy="12450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diritto 41">
            <a:extLst>
              <a:ext uri="{FF2B5EF4-FFF2-40B4-BE49-F238E27FC236}">
                <a16:creationId xmlns:a16="http://schemas.microsoft.com/office/drawing/2014/main" xmlns="" id="{BCCD6BF8-5530-4277-9A23-917E4B0B3C16}"/>
              </a:ext>
            </a:extLst>
          </p:cNvPr>
          <p:cNvCxnSpPr>
            <a:cxnSpLocks/>
          </p:cNvCxnSpPr>
          <p:nvPr/>
        </p:nvCxnSpPr>
        <p:spPr>
          <a:xfrm>
            <a:off x="1568682" y="4616339"/>
            <a:ext cx="5753003" cy="0"/>
          </a:xfrm>
          <a:prstGeom prst="line">
            <a:avLst/>
          </a:prstGeom>
          <a:ln w="6350">
            <a:solidFill>
              <a:schemeClr val="tx2">
                <a:lumMod val="10000"/>
                <a:lumOff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magine 3">
            <a:extLst>
              <a:ext uri="{FF2B5EF4-FFF2-40B4-BE49-F238E27FC236}">
                <a16:creationId xmlns:a16="http://schemas.microsoft.com/office/drawing/2014/main" xmlns="" id="{D5BEFAC2-A963-45AC-832C-72AB3F19B41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867" t="18912" r="18863" b="38617"/>
          <a:stretch/>
        </p:blipFill>
        <p:spPr>
          <a:xfrm>
            <a:off x="8018466" y="238226"/>
            <a:ext cx="3812017" cy="1296000"/>
          </a:xfrm>
          <a:prstGeom prst="rect">
            <a:avLst/>
          </a:prstGeom>
        </p:spPr>
      </p:pic>
      <p:sp>
        <p:nvSpPr>
          <p:cNvPr id="43" name="TextBox 51">
            <a:extLst>
              <a:ext uri="{FF2B5EF4-FFF2-40B4-BE49-F238E27FC236}">
                <a16:creationId xmlns:a16="http://schemas.microsoft.com/office/drawing/2014/main" xmlns="" id="{40F9D64F-6506-450C-9BEE-2D8934F43127}"/>
              </a:ext>
            </a:extLst>
          </p:cNvPr>
          <p:cNvSpPr txBox="1"/>
          <p:nvPr/>
        </p:nvSpPr>
        <p:spPr>
          <a:xfrm>
            <a:off x="2692329" y="3353655"/>
            <a:ext cx="793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5.1%</a:t>
            </a:r>
          </a:p>
        </p:txBody>
      </p:sp>
      <p:sp>
        <p:nvSpPr>
          <p:cNvPr id="44" name="TextBox 51">
            <a:extLst>
              <a:ext uri="{FF2B5EF4-FFF2-40B4-BE49-F238E27FC236}">
                <a16:creationId xmlns:a16="http://schemas.microsoft.com/office/drawing/2014/main" xmlns="" id="{9B63CDD7-61BA-468B-922C-B53690E8716E}"/>
              </a:ext>
            </a:extLst>
          </p:cNvPr>
          <p:cNvSpPr txBox="1"/>
          <p:nvPr/>
        </p:nvSpPr>
        <p:spPr>
          <a:xfrm>
            <a:off x="3765800" y="3723716"/>
            <a:ext cx="793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6.9%</a:t>
            </a:r>
          </a:p>
        </p:txBody>
      </p:sp>
      <p:sp>
        <p:nvSpPr>
          <p:cNvPr id="45" name="Rounded Rectangle 65">
            <a:extLst>
              <a:ext uri="{FF2B5EF4-FFF2-40B4-BE49-F238E27FC236}">
                <a16:creationId xmlns:a16="http://schemas.microsoft.com/office/drawing/2014/main" xmlns="" id="{20C9CC3B-0E63-4129-8393-E62989ACA27D}"/>
              </a:ext>
            </a:extLst>
          </p:cNvPr>
          <p:cNvSpPr/>
          <p:nvPr/>
        </p:nvSpPr>
        <p:spPr>
          <a:xfrm>
            <a:off x="6262644" y="6293091"/>
            <a:ext cx="5692182" cy="240909"/>
          </a:xfrm>
          <a:prstGeom prst="roundRect">
            <a:avLst/>
          </a:prstGeom>
          <a:solidFill>
            <a:schemeClr val="bg1"/>
          </a:solidFill>
          <a:ln w="15875">
            <a:solidFill>
              <a:srgbClr val="0019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8000" tIns="24000" rIns="48000" bIns="24000" rtlCol="0" anchor="ctr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GB" sz="1100" dirty="0">
                <a:solidFill>
                  <a:srgbClr val="001965"/>
                </a:solidFill>
                <a:latin typeface="Apis For Office"/>
                <a:cs typeface="Apis For Office" panose="020B0504010101010104" pitchFamily="34" charset="0"/>
              </a:rPr>
              <a:t>Lifestyle intervention: -500 kcal/day diet + 150 min/week physical activity</a:t>
            </a:r>
            <a:endParaRPr lang="en-GB" sz="1100" dirty="0">
              <a:solidFill>
                <a:srgbClr val="001965"/>
              </a:solidFill>
              <a:latin typeface="Apis For Office"/>
            </a:endParaRPr>
          </a:p>
        </p:txBody>
      </p:sp>
    </p:spTree>
    <p:extLst>
      <p:ext uri="{BB962C8B-B14F-4D97-AF65-F5344CB8AC3E}">
        <p14:creationId xmlns:p14="http://schemas.microsoft.com/office/powerpoint/2010/main" val="291833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84A33764-D597-4482-8941-E96A8DFB63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800" dirty="0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ata are observed means for the full analysis set (with LOCF) and the odds ratios (OR) shown are from a logistic regression analysis </a:t>
            </a:r>
            <a:br>
              <a:rPr lang="en-GB" sz="800" dirty="0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800" dirty="0">
                <a:solidFill>
                  <a:schemeClr val="tx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the analysis for achieving 15% weight loss was performed post hoc). LOCF, last observation carried forward; OR, odds rati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Categorical weight loss</a:t>
            </a:r>
            <a:r>
              <a:rPr lang="en-GB" dirty="0"/>
              <a:t/>
            </a:r>
            <a:br>
              <a:rPr lang="en-GB" dirty="0"/>
            </a:br>
            <a:r>
              <a:rPr lang="en-GB" sz="2000" dirty="0">
                <a:solidFill>
                  <a:srgbClr val="3B97DE"/>
                </a:solidFill>
              </a:rPr>
              <a:t>SCALE Obesity and Prediabetes: At week 56</a:t>
            </a:r>
          </a:p>
        </p:txBody>
      </p:sp>
      <p:graphicFrame>
        <p:nvGraphicFramePr>
          <p:cNvPr id="11" name="Content Placeholder 8"/>
          <p:cNvGraphicFramePr>
            <a:graphicFrameLocks/>
          </p:cNvGraphicFramePr>
          <p:nvPr/>
        </p:nvGraphicFramePr>
        <p:xfrm>
          <a:off x="953833" y="2164836"/>
          <a:ext cx="9417600" cy="36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8296072" y="4047186"/>
            <a:ext cx="819455" cy="674007"/>
            <a:chOff x="6004596" y="2305788"/>
            <a:chExt cx="614592" cy="505505"/>
          </a:xfrm>
        </p:grpSpPr>
        <p:sp>
          <p:nvSpPr>
            <p:cNvPr id="27" name="Right Bracket 26"/>
            <p:cNvSpPr/>
            <p:nvPr/>
          </p:nvSpPr>
          <p:spPr>
            <a:xfrm rot="16200000">
              <a:off x="6270593" y="2499510"/>
              <a:ext cx="108000" cy="515566"/>
            </a:xfrm>
            <a:prstGeom prst="rightBracket">
              <a:avLst>
                <a:gd name="adj" fmla="val 0"/>
              </a:avLst>
            </a:prstGeom>
            <a:ln w="19050">
              <a:solidFill>
                <a:srgbClr val="0019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04596" y="2305788"/>
              <a:ext cx="614592" cy="3769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OR: 4.9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1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p</a:t>
              </a: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&lt;0.001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412692" y="3491176"/>
            <a:ext cx="819455" cy="707873"/>
            <a:chOff x="6004596" y="2280388"/>
            <a:chExt cx="614592" cy="530905"/>
          </a:xfrm>
        </p:grpSpPr>
        <p:sp>
          <p:nvSpPr>
            <p:cNvPr id="34" name="Right Bracket 33"/>
            <p:cNvSpPr/>
            <p:nvPr/>
          </p:nvSpPr>
          <p:spPr>
            <a:xfrm rot="16200000">
              <a:off x="6270593" y="2499510"/>
              <a:ext cx="108000" cy="515566"/>
            </a:xfrm>
            <a:prstGeom prst="rightBracket">
              <a:avLst>
                <a:gd name="adj" fmla="val 0"/>
              </a:avLst>
            </a:prstGeom>
            <a:ln w="19050">
              <a:solidFill>
                <a:srgbClr val="0019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004596" y="2280388"/>
              <a:ext cx="614592" cy="3769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OR: 4.3</a:t>
              </a:r>
              <a:r>
                <a:rPr kumimoji="0" lang="en-GB" sz="1333" b="0" i="1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/>
              </a:r>
              <a:br>
                <a:rPr kumimoji="0" lang="en-GB" sz="1333" b="0" i="1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</a:br>
              <a:r>
                <a:rPr kumimoji="0" lang="en-GB" sz="1333" b="0" i="1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p</a:t>
              </a: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&lt;0.001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591040" y="2615571"/>
            <a:ext cx="819455" cy="690940"/>
            <a:chOff x="6004596" y="2293088"/>
            <a:chExt cx="614592" cy="518205"/>
          </a:xfrm>
        </p:grpSpPr>
        <p:sp>
          <p:nvSpPr>
            <p:cNvPr id="37" name="Right Bracket 36"/>
            <p:cNvSpPr/>
            <p:nvPr/>
          </p:nvSpPr>
          <p:spPr>
            <a:xfrm rot="16200000">
              <a:off x="6270593" y="2499510"/>
              <a:ext cx="108000" cy="515566"/>
            </a:xfrm>
            <a:prstGeom prst="rightBracket">
              <a:avLst>
                <a:gd name="adj" fmla="val 0"/>
              </a:avLst>
            </a:prstGeom>
            <a:ln w="19050">
              <a:solidFill>
                <a:srgbClr val="0019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004596" y="2293088"/>
              <a:ext cx="614592" cy="3769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OR:4.8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1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p</a:t>
              </a: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Arial" charset="0"/>
                </a:rPr>
                <a:t>&lt;0.001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425640" y="1913921"/>
            <a:ext cx="3340720" cy="331139"/>
            <a:chOff x="3111544" y="1435443"/>
            <a:chExt cx="2505540" cy="248354"/>
          </a:xfrm>
        </p:grpSpPr>
        <p:sp>
          <p:nvSpPr>
            <p:cNvPr id="24" name="Rectangle 474"/>
            <p:cNvSpPr>
              <a:spLocks noChangeArrowheads="1"/>
            </p:cNvSpPr>
            <p:nvPr/>
          </p:nvSpPr>
          <p:spPr bwMode="auto">
            <a:xfrm>
              <a:off x="3200449" y="1435443"/>
              <a:ext cx="1279414" cy="248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120000" tIns="62400" rIns="120000" bIns="624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Liraglutide 3.0 mg</a:t>
              </a:r>
              <a:endParaRPr kumimoji="0" lang="en-GB" sz="1333" b="0" i="0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25" name="Rectangle 478"/>
            <p:cNvSpPr>
              <a:spLocks noChangeArrowheads="1"/>
            </p:cNvSpPr>
            <p:nvPr/>
          </p:nvSpPr>
          <p:spPr bwMode="auto">
            <a:xfrm>
              <a:off x="4960437" y="1435443"/>
              <a:ext cx="656647" cy="2483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120000" tIns="62400" rIns="120000" bIns="624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Placebo</a:t>
              </a:r>
              <a:endParaRPr kumimoji="0" lang="en-GB" sz="1333" b="0" i="0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3111544" y="1514621"/>
              <a:ext cx="90000" cy="90000"/>
            </a:xfrm>
            <a:prstGeom prst="rect">
              <a:avLst/>
            </a:prstGeom>
            <a:solidFill>
              <a:srgbClr val="00196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4872581" y="1514621"/>
              <a:ext cx="90000" cy="90000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 rot="16200000">
            <a:off x="36788" y="3662956"/>
            <a:ext cx="158088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Individuals (%)</a:t>
            </a:r>
          </a:p>
        </p:txBody>
      </p:sp>
      <p:sp>
        <p:nvSpPr>
          <p:cNvPr id="52" name="Rectangle 1"/>
          <p:cNvSpPr>
            <a:spLocks noChangeArrowheads="1"/>
          </p:cNvSpPr>
          <p:nvPr/>
        </p:nvSpPr>
        <p:spPr bwMode="auto">
          <a:xfrm>
            <a:off x="5185387" y="5633966"/>
            <a:ext cx="137249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rPr>
              <a:t>Weight los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DE19BB54-506F-41D5-9B95-E9C44BF411DD}"/>
              </a:ext>
            </a:extLst>
          </p:cNvPr>
          <p:cNvSpPr/>
          <p:nvPr/>
        </p:nvSpPr>
        <p:spPr>
          <a:xfrm>
            <a:off x="548706" y="1694752"/>
            <a:ext cx="3037119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Mean baseline weight: 106.2 kg</a:t>
            </a:r>
          </a:p>
        </p:txBody>
      </p:sp>
      <p:sp>
        <p:nvSpPr>
          <p:cNvPr id="23" name="Segnaposto numero diapositiva 5">
            <a:extLst>
              <a:ext uri="{FF2B5EF4-FFF2-40B4-BE49-F238E27FC236}">
                <a16:creationId xmlns:a16="http://schemas.microsoft.com/office/drawing/2014/main" xmlns="" id="{F08F3A7C-32E3-4A43-A1C7-5F091E3FF485}"/>
              </a:ext>
            </a:extLst>
          </p:cNvPr>
          <p:cNvSpPr txBox="1">
            <a:spLocks/>
          </p:cNvSpPr>
          <p:nvPr/>
        </p:nvSpPr>
        <p:spPr>
          <a:xfrm>
            <a:off x="230573" y="271489"/>
            <a:ext cx="324000" cy="1258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1</a:t>
            </a:fld>
            <a:endParaRPr lang="en-GB" sz="700" dirty="0"/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xmlns="" id="{C2C021EF-3C9C-44A6-B3F8-8162B422943D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i-Sunyer et al. N Engl J Med 2015;373:11–22;</a:t>
            </a:r>
            <a:endParaRPr lang="pt-B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29" name="Immagine 28">
            <a:extLst>
              <a:ext uri="{FF2B5EF4-FFF2-40B4-BE49-F238E27FC236}">
                <a16:creationId xmlns:a16="http://schemas.microsoft.com/office/drawing/2014/main" xmlns="" id="{BF8B4368-11ED-49F9-A38F-14BE3C18A5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867" t="18912" r="18863" b="38617"/>
          <a:stretch/>
        </p:blipFill>
        <p:spPr>
          <a:xfrm>
            <a:off x="8018466" y="238226"/>
            <a:ext cx="3812017" cy="12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24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Neeland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IJ et al. Lancet Diabetes Endocrinol. 2021 Sep;9(9):595-605. 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2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957" y="656157"/>
            <a:ext cx="11347200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Visceral fat and ectopic fat reduction by MRI</a:t>
            </a:r>
            <a:r>
              <a:rPr lang="en-GB" dirty="0">
                <a:latin typeface="+mn-lt"/>
              </a:rPr>
              <a:t/>
            </a:r>
            <a:br>
              <a:rPr lang="en-GB" dirty="0">
                <a:latin typeface="+mn-lt"/>
              </a:rPr>
            </a:br>
            <a:r>
              <a:rPr lang="en-GB" sz="2400" dirty="0">
                <a:solidFill>
                  <a:srgbClr val="3B97DE"/>
                </a:solidFill>
                <a:latin typeface="+mn-lt"/>
              </a:rPr>
              <a:t>O</a:t>
            </a:r>
            <a:r>
              <a:rPr lang="en-GB" sz="2400" dirty="0">
                <a:solidFill>
                  <a:srgbClr val="3B97DE"/>
                </a:solidFill>
              </a:rPr>
              <a:t>ne mechanism associated with benefits on infertility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xmlns="" id="{6429B221-7CE3-424C-8761-E3065BEA51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531" t="22585" r="18112" b="9568"/>
          <a:stretch/>
        </p:blipFill>
        <p:spPr>
          <a:xfrm>
            <a:off x="320388" y="1836209"/>
            <a:ext cx="6139543" cy="4652961"/>
          </a:xfrm>
          <a:prstGeom prst="rect">
            <a:avLst/>
          </a:prstGeom>
        </p:spPr>
      </p:pic>
      <p:grpSp>
        <p:nvGrpSpPr>
          <p:cNvPr id="37" name="Group 27">
            <a:extLst>
              <a:ext uri="{FF2B5EF4-FFF2-40B4-BE49-F238E27FC236}">
                <a16:creationId xmlns:a16="http://schemas.microsoft.com/office/drawing/2014/main" xmlns="" id="{8A7B05C8-FE2C-409D-8FC6-B117DE9E3C02}"/>
              </a:ext>
            </a:extLst>
          </p:cNvPr>
          <p:cNvGrpSpPr/>
          <p:nvPr/>
        </p:nvGrpSpPr>
        <p:grpSpPr>
          <a:xfrm rot="5400000">
            <a:off x="3882078" y="4744610"/>
            <a:ext cx="297456" cy="1022982"/>
            <a:chOff x="2273555" y="2080199"/>
            <a:chExt cx="240511" cy="767235"/>
          </a:xfrm>
        </p:grpSpPr>
        <p:sp>
          <p:nvSpPr>
            <p:cNvPr id="38" name="Rectangle 5">
              <a:extLst>
                <a:ext uri="{FF2B5EF4-FFF2-40B4-BE49-F238E27FC236}">
                  <a16:creationId xmlns:a16="http://schemas.microsoft.com/office/drawing/2014/main" xmlns="" id="{0DB53EAA-B198-4AF5-AD2C-DE56525C583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083317" y="2418536"/>
              <a:ext cx="633826" cy="2239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ctr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1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cs typeface="Arial" charset="0"/>
                </a:rPr>
                <a:t>p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cs typeface="Arial" charset="0"/>
                </a:rPr>
                <a:t>&lt;0.0001</a:t>
              </a: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xmlns="" id="{54950FE2-F656-42F0-A632-CB1CB1A184F0}"/>
                </a:ext>
              </a:extLst>
            </p:cNvPr>
            <p:cNvSpPr/>
            <p:nvPr/>
          </p:nvSpPr>
          <p:spPr>
            <a:xfrm rot="10800000">
              <a:off x="2273555" y="2080199"/>
              <a:ext cx="240511" cy="93396"/>
            </a:xfrm>
            <a:custGeom>
              <a:avLst/>
              <a:gdLst>
                <a:gd name="connsiteX0" fmla="*/ 1120140 w 1120140"/>
                <a:gd name="connsiteY0" fmla="*/ 137160 h 137160"/>
                <a:gd name="connsiteX1" fmla="*/ 1120140 w 1120140"/>
                <a:gd name="connsiteY1" fmla="*/ 0 h 137160"/>
                <a:gd name="connsiteX2" fmla="*/ 0 w 1120140"/>
                <a:gd name="connsiteY2" fmla="*/ 0 h 137160"/>
                <a:gd name="connsiteX3" fmla="*/ 0 w 1120140"/>
                <a:gd name="connsiteY3" fmla="*/ 11430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20140" h="137160">
                  <a:moveTo>
                    <a:pt x="1120140" y="137160"/>
                  </a:moveTo>
                  <a:lnTo>
                    <a:pt x="1120140" y="0"/>
                  </a:lnTo>
                  <a:lnTo>
                    <a:pt x="0" y="0"/>
                  </a:lnTo>
                  <a:lnTo>
                    <a:pt x="0" y="114300"/>
                  </a:lnTo>
                </a:path>
              </a:pathLst>
            </a:custGeom>
            <a:noFill/>
            <a:ln w="19050" cap="flat" cmpd="sng" algn="ctr">
              <a:solidFill>
                <a:srgbClr val="00196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0" name="Ovale 39">
            <a:extLst>
              <a:ext uri="{FF2B5EF4-FFF2-40B4-BE49-F238E27FC236}">
                <a16:creationId xmlns:a16="http://schemas.microsoft.com/office/drawing/2014/main" xmlns="" id="{B11C25CF-DF1E-4983-B421-D8960096BA22}"/>
              </a:ext>
            </a:extLst>
          </p:cNvPr>
          <p:cNvSpPr/>
          <p:nvPr/>
        </p:nvSpPr>
        <p:spPr>
          <a:xfrm>
            <a:off x="5785194" y="5240254"/>
            <a:ext cx="491334" cy="21544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C952CA27-B2A0-4A33-B684-DAB705ADF9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842" t="16560" r="51365" b="12234"/>
          <a:stretch/>
        </p:blipFill>
        <p:spPr>
          <a:xfrm>
            <a:off x="6819900" y="1758087"/>
            <a:ext cx="4848225" cy="4537783"/>
          </a:xfrm>
          <a:prstGeom prst="rect">
            <a:avLst/>
          </a:prstGeom>
        </p:spPr>
      </p:pic>
      <p:sp>
        <p:nvSpPr>
          <p:cNvPr id="16" name="Ovale 15">
            <a:extLst>
              <a:ext uri="{FF2B5EF4-FFF2-40B4-BE49-F238E27FC236}">
                <a16:creationId xmlns:a16="http://schemas.microsoft.com/office/drawing/2014/main" xmlns="" id="{13898CA2-F233-4BF7-A40E-C23EE7032DA6}"/>
              </a:ext>
            </a:extLst>
          </p:cNvPr>
          <p:cNvSpPr/>
          <p:nvPr/>
        </p:nvSpPr>
        <p:spPr>
          <a:xfrm>
            <a:off x="8918695" y="5600486"/>
            <a:ext cx="491334" cy="21544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xmlns="" id="{33117201-0F23-4F78-847F-D89BF0A6077D}"/>
              </a:ext>
            </a:extLst>
          </p:cNvPr>
          <p:cNvSpPr/>
          <p:nvPr/>
        </p:nvSpPr>
        <p:spPr>
          <a:xfrm>
            <a:off x="10833444" y="5602764"/>
            <a:ext cx="491334" cy="21544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678655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3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957" y="656157"/>
            <a:ext cx="11347200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Change in fasting glucose and fasting insulin</a:t>
            </a:r>
            <a:br>
              <a:rPr lang="en-GB" sz="3600" dirty="0">
                <a:latin typeface="+mn-lt"/>
              </a:rPr>
            </a:br>
            <a:r>
              <a:rPr lang="en-GB" sz="2400" dirty="0">
                <a:solidFill>
                  <a:srgbClr val="3B97DE"/>
                </a:solidFill>
              </a:rPr>
              <a:t>SCALE Obesity and Prediabetes: At week 172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xmlns="" id="{C9B675CA-9966-404E-A391-CA9EFBA1E9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0" t="34409" r="15080" b="17133"/>
          <a:stretch/>
        </p:blipFill>
        <p:spPr>
          <a:xfrm>
            <a:off x="647999" y="1654277"/>
            <a:ext cx="10889866" cy="354944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xmlns="" id="{7433EE3A-7F63-49FF-BDA3-EF6AC5EFE7F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55" t="32975" r="21694" b="48674"/>
          <a:stretch/>
        </p:blipFill>
        <p:spPr>
          <a:xfrm>
            <a:off x="2953886" y="5430269"/>
            <a:ext cx="6284227" cy="940797"/>
          </a:xfrm>
          <a:prstGeom prst="rect">
            <a:avLst/>
          </a:prstGeom>
        </p:spPr>
      </p:pic>
      <p:sp>
        <p:nvSpPr>
          <p:cNvPr id="22" name="Rettangolo 21">
            <a:extLst>
              <a:ext uri="{FF2B5EF4-FFF2-40B4-BE49-F238E27FC236}">
                <a16:creationId xmlns:a16="http://schemas.microsoft.com/office/drawing/2014/main" xmlns="" id="{8A0DD794-93B9-4D62-BDA6-A1E57C0A43F4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e Roux CW, et al. Lancet. </a:t>
            </a:r>
            <a:r>
              <a:rPr lang="fr-FR" sz="800" i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017;389(10077):1399-1409.</a:t>
            </a:r>
            <a:endParaRPr lang="fr-FR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xmlns="" id="{4F2E245D-A6EC-4777-A03C-3FBF02629873}"/>
              </a:ext>
            </a:extLst>
          </p:cNvPr>
          <p:cNvSpPr/>
          <p:nvPr/>
        </p:nvSpPr>
        <p:spPr>
          <a:xfrm>
            <a:off x="8597219" y="5654691"/>
            <a:ext cx="660558" cy="19550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Ovale 23">
            <a:extLst>
              <a:ext uri="{FF2B5EF4-FFF2-40B4-BE49-F238E27FC236}">
                <a16:creationId xmlns:a16="http://schemas.microsoft.com/office/drawing/2014/main" xmlns="" id="{D15A3516-9A22-4431-A19A-20ACFA4FB592}"/>
              </a:ext>
            </a:extLst>
          </p:cNvPr>
          <p:cNvSpPr/>
          <p:nvPr/>
        </p:nvSpPr>
        <p:spPr>
          <a:xfrm>
            <a:off x="8597219" y="5898777"/>
            <a:ext cx="660558" cy="19550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Ovale 24">
            <a:extLst>
              <a:ext uri="{FF2B5EF4-FFF2-40B4-BE49-F238E27FC236}">
                <a16:creationId xmlns:a16="http://schemas.microsoft.com/office/drawing/2014/main" xmlns="" id="{5F062030-6FF8-4FD5-ADEB-DBCAD2A53C38}"/>
              </a:ext>
            </a:extLst>
          </p:cNvPr>
          <p:cNvSpPr/>
          <p:nvPr/>
        </p:nvSpPr>
        <p:spPr>
          <a:xfrm>
            <a:off x="8593009" y="6155899"/>
            <a:ext cx="660558" cy="19550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xmlns="" id="{7EE3E6BC-9E33-4BB1-AACB-F291CD57C49F}"/>
              </a:ext>
            </a:extLst>
          </p:cNvPr>
          <p:cNvSpPr/>
          <p:nvPr/>
        </p:nvSpPr>
        <p:spPr>
          <a:xfrm>
            <a:off x="10877307" y="3258322"/>
            <a:ext cx="660558" cy="774663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xmlns="" id="{5CFF7D7B-2920-4E79-98A1-F235D96814D9}"/>
              </a:ext>
            </a:extLst>
          </p:cNvPr>
          <p:cNvSpPr/>
          <p:nvPr/>
        </p:nvSpPr>
        <p:spPr>
          <a:xfrm>
            <a:off x="5114995" y="5645670"/>
            <a:ext cx="793436" cy="25310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7324872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sert title here">
            <a:extLst>
              <a:ext uri="{FF2B5EF4-FFF2-40B4-BE49-F238E27FC236}">
                <a16:creationId xmlns:a16="http://schemas.microsoft.com/office/drawing/2014/main" xmlns="" id="{21160A61-A39C-4B8F-A251-1A4779282F26}"/>
              </a:ext>
            </a:extLst>
          </p:cNvPr>
          <p:cNvSpPr/>
          <p:nvPr/>
        </p:nvSpPr>
        <p:spPr>
          <a:xfrm>
            <a:off x="1089221" y="5437990"/>
            <a:ext cx="3139038" cy="3898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* BMI &gt; 55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main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risk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factor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for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unfavourable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outcom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(SICOB </a:t>
            </a:r>
            <a:r>
              <a:rPr lang="it-IT" sz="1100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guidelines</a:t>
            </a:r>
            <a:r>
              <a:rPr lang="it-IT" sz="11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2016)</a:t>
            </a:r>
            <a:endParaRPr lang="en-GB" sz="1100" baseline="300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4</a:t>
            </a:fld>
            <a:endParaRPr lang="en-GB" sz="700" dirty="0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xmlns="" id="{FC8617D1-D0DF-46F9-89D3-91ECB7DC4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527762"/>
            <a:ext cx="11347200" cy="521883"/>
          </a:xfrm>
        </p:spPr>
        <p:txBody>
          <a:bodyPr/>
          <a:lstStyle/>
          <a:p>
            <a:r>
              <a:rPr lang="it-IT" sz="3600" dirty="0"/>
              <a:t>The </a:t>
            </a:r>
            <a:r>
              <a:rPr lang="it-IT" sz="3600" dirty="0" err="1"/>
              <a:t>Role</a:t>
            </a:r>
            <a:r>
              <a:rPr lang="it-IT" sz="3600" dirty="0"/>
              <a:t> of </a:t>
            </a:r>
            <a:r>
              <a:rPr lang="it-IT" sz="3600" dirty="0" err="1"/>
              <a:t>Pharmacotherapy</a:t>
            </a:r>
            <a:endParaRPr lang="en-GB" sz="3600" dirty="0"/>
          </a:p>
        </p:txBody>
      </p:sp>
      <p:pic>
        <p:nvPicPr>
          <p:cNvPr id="2050" name="Picture 2" descr="79 Bariatric Surgery Icon Illustrations &amp;amp; Clip Art - iStock">
            <a:extLst>
              <a:ext uri="{FF2B5EF4-FFF2-40B4-BE49-F238E27FC236}">
                <a16:creationId xmlns:a16="http://schemas.microsoft.com/office/drawing/2014/main" xmlns="" id="{315284F3-D514-4A3F-8D13-606D52B08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047" y="1863784"/>
            <a:ext cx="3713906" cy="371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ccia destra rientrata 5">
            <a:extLst>
              <a:ext uri="{FF2B5EF4-FFF2-40B4-BE49-F238E27FC236}">
                <a16:creationId xmlns:a16="http://schemas.microsoft.com/office/drawing/2014/main" xmlns="" id="{9F279898-99E4-4FF5-9524-6E623BC947A4}"/>
              </a:ext>
            </a:extLst>
          </p:cNvPr>
          <p:cNvSpPr/>
          <p:nvPr/>
        </p:nvSpPr>
        <p:spPr>
          <a:xfrm>
            <a:off x="947064" y="6005660"/>
            <a:ext cx="10426330" cy="696685"/>
          </a:xfrm>
          <a:prstGeom prst="notched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xmlns="" id="{6F3837D3-0A57-4C5A-A285-5911AFA3F917}"/>
              </a:ext>
            </a:extLst>
          </p:cNvPr>
          <p:cNvCxnSpPr/>
          <p:nvPr/>
        </p:nvCxnSpPr>
        <p:spPr>
          <a:xfrm>
            <a:off x="4310747" y="1621973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xmlns="" id="{7F24E4D9-CCE7-4A1E-BF47-A06C4936EF38}"/>
              </a:ext>
            </a:extLst>
          </p:cNvPr>
          <p:cNvCxnSpPr/>
          <p:nvPr/>
        </p:nvCxnSpPr>
        <p:spPr>
          <a:xfrm>
            <a:off x="8007531" y="1621972"/>
            <a:ext cx="0" cy="4197531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66F35D49-F0D4-48C8-9D32-8FC4679E7494}"/>
              </a:ext>
            </a:extLst>
          </p:cNvPr>
          <p:cNvSpPr txBox="1">
            <a:spLocks/>
          </p:cNvSpPr>
          <p:nvPr/>
        </p:nvSpPr>
        <p:spPr bwMode="auto">
          <a:xfrm>
            <a:off x="947064" y="1430380"/>
            <a:ext cx="2873821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re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CEC905D9-9937-4980-9BA5-86F66489212D}"/>
              </a:ext>
            </a:extLst>
          </p:cNvPr>
          <p:cNvSpPr txBox="1">
            <a:spLocks/>
          </p:cNvSpPr>
          <p:nvPr/>
        </p:nvSpPr>
        <p:spPr bwMode="auto">
          <a:xfrm>
            <a:off x="8557769" y="1433961"/>
            <a:ext cx="3113963" cy="4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5pPr>
            <a:lvl6pPr marL="60957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6pPr>
            <a:lvl7pPr marL="121914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7pPr>
            <a:lvl8pPr marL="1828709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8pPr>
            <a:lvl9pPr marL="2438278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b="1" i="1" u="none" strike="noStrike" kern="1200" cap="none" spc="0" normalizeH="0" baseline="3000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ost Bariatric Surgery</a:t>
            </a:r>
            <a:endParaRPr kumimoji="0" lang="en-GB" b="1" i="1" u="none" strike="noStrike" kern="1200" cap="none" spc="0" normalizeH="0" baseline="3000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12" name="Picture 2" descr="Obese Icon - Download in Glyph Style">
            <a:extLst>
              <a:ext uri="{FF2B5EF4-FFF2-40B4-BE49-F238E27FC236}">
                <a16:creationId xmlns:a16="http://schemas.microsoft.com/office/drawing/2014/main" xmlns="" id="{88592EA5-5BD8-4A94-8641-05DD2ACBC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0A0A">
                  <a:alpha val="11373"/>
                </a:srgbClr>
              </a:clrFrom>
              <a:clrTo>
                <a:srgbClr val="0A0A0A">
                  <a:alpha val="0"/>
                </a:srgbClr>
              </a:clrTo>
            </a:clrChange>
            <a:duotone>
              <a:srgbClr val="00196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0" y="5785536"/>
            <a:ext cx="974684" cy="974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85">
            <a:extLst>
              <a:ext uri="{FF2B5EF4-FFF2-40B4-BE49-F238E27FC236}">
                <a16:creationId xmlns:a16="http://schemas.microsoft.com/office/drawing/2014/main" xmlns="" id="{6A89ABAC-C963-4853-8361-168C2CBA9C3C}"/>
              </a:ext>
            </a:extLst>
          </p:cNvPr>
          <p:cNvGrpSpPr/>
          <p:nvPr/>
        </p:nvGrpSpPr>
        <p:grpSpPr>
          <a:xfrm>
            <a:off x="11522108" y="5796405"/>
            <a:ext cx="443926" cy="963815"/>
            <a:chOff x="4597006" y="3350024"/>
            <a:chExt cx="211872" cy="530750"/>
          </a:xfrm>
        </p:grpSpPr>
        <p:sp>
          <p:nvSpPr>
            <p:cNvPr id="16" name="Oval 372">
              <a:extLst>
                <a:ext uri="{FF2B5EF4-FFF2-40B4-BE49-F238E27FC236}">
                  <a16:creationId xmlns:a16="http://schemas.microsoft.com/office/drawing/2014/main" xmlns="" id="{36AEFB23-C9BD-4DD4-BDBB-6BA9F81E2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9742" y="3350024"/>
              <a:ext cx="86400" cy="86759"/>
            </a:xfrm>
            <a:prstGeom prst="ellipse">
              <a:avLst/>
            </a:pr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  <p:sp>
          <p:nvSpPr>
            <p:cNvPr id="22" name="Freeform 373">
              <a:extLst>
                <a:ext uri="{FF2B5EF4-FFF2-40B4-BE49-F238E27FC236}">
                  <a16:creationId xmlns:a16="http://schemas.microsoft.com/office/drawing/2014/main" xmlns="" id="{D3C6E2A6-294E-4D8A-A486-FBEC79EDB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006" y="3449532"/>
              <a:ext cx="211872" cy="431242"/>
            </a:xfrm>
            <a:custGeom>
              <a:avLst/>
              <a:gdLst>
                <a:gd name="T0" fmla="*/ 53 w 78"/>
                <a:gd name="T1" fmla="*/ 0 h 173"/>
                <a:gd name="T2" fmla="*/ 78 w 78"/>
                <a:gd name="T3" fmla="*/ 22 h 173"/>
                <a:gd name="T4" fmla="*/ 78 w 78"/>
                <a:gd name="T5" fmla="*/ 78 h 173"/>
                <a:gd name="T6" fmla="*/ 71 w 78"/>
                <a:gd name="T7" fmla="*/ 86 h 173"/>
                <a:gd name="T8" fmla="*/ 67 w 78"/>
                <a:gd name="T9" fmla="*/ 86 h 173"/>
                <a:gd name="T10" fmla="*/ 67 w 78"/>
                <a:gd name="T11" fmla="*/ 27 h 173"/>
                <a:gd name="T12" fmla="*/ 60 w 78"/>
                <a:gd name="T13" fmla="*/ 27 h 173"/>
                <a:gd name="T14" fmla="*/ 60 w 78"/>
                <a:gd name="T15" fmla="*/ 163 h 173"/>
                <a:gd name="T16" fmla="*/ 52 w 78"/>
                <a:gd name="T17" fmla="*/ 173 h 173"/>
                <a:gd name="T18" fmla="*/ 43 w 78"/>
                <a:gd name="T19" fmla="*/ 163 h 173"/>
                <a:gd name="T20" fmla="*/ 43 w 78"/>
                <a:gd name="T21" fmla="*/ 84 h 173"/>
                <a:gd name="T22" fmla="*/ 36 w 78"/>
                <a:gd name="T23" fmla="*/ 84 h 173"/>
                <a:gd name="T24" fmla="*/ 36 w 78"/>
                <a:gd name="T25" fmla="*/ 163 h 173"/>
                <a:gd name="T26" fmla="*/ 27 w 78"/>
                <a:gd name="T27" fmla="*/ 173 h 173"/>
                <a:gd name="T28" fmla="*/ 18 w 78"/>
                <a:gd name="T29" fmla="*/ 163 h 173"/>
                <a:gd name="T30" fmla="*/ 18 w 78"/>
                <a:gd name="T31" fmla="*/ 27 h 173"/>
                <a:gd name="T32" fmla="*/ 11 w 78"/>
                <a:gd name="T33" fmla="*/ 27 h 173"/>
                <a:gd name="T34" fmla="*/ 11 w 78"/>
                <a:gd name="T35" fmla="*/ 86 h 173"/>
                <a:gd name="T36" fmla="*/ 8 w 78"/>
                <a:gd name="T37" fmla="*/ 86 h 173"/>
                <a:gd name="T38" fmla="*/ 0 w 78"/>
                <a:gd name="T39" fmla="*/ 78 h 173"/>
                <a:gd name="T40" fmla="*/ 0 w 78"/>
                <a:gd name="T41" fmla="*/ 22 h 173"/>
                <a:gd name="T42" fmla="*/ 26 w 78"/>
                <a:gd name="T43" fmla="*/ 0 h 173"/>
                <a:gd name="T44" fmla="*/ 53 w 78"/>
                <a:gd name="T45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173">
                  <a:moveTo>
                    <a:pt x="53" y="0"/>
                  </a:moveTo>
                  <a:cubicBezTo>
                    <a:pt x="65" y="0"/>
                    <a:pt x="78" y="10"/>
                    <a:pt x="78" y="22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82"/>
                    <a:pt x="75" y="86"/>
                    <a:pt x="71" y="86"/>
                  </a:cubicBezTo>
                  <a:cubicBezTo>
                    <a:pt x="69" y="86"/>
                    <a:pt x="70" y="86"/>
                    <a:pt x="67" y="86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8"/>
                    <a:pt x="57" y="173"/>
                    <a:pt x="52" y="173"/>
                  </a:cubicBezTo>
                  <a:cubicBezTo>
                    <a:pt x="46" y="173"/>
                    <a:pt x="43" y="168"/>
                    <a:pt x="43" y="163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6" y="163"/>
                    <a:pt x="36" y="163"/>
                    <a:pt x="36" y="163"/>
                  </a:cubicBezTo>
                  <a:cubicBezTo>
                    <a:pt x="36" y="168"/>
                    <a:pt x="32" y="173"/>
                    <a:pt x="27" y="173"/>
                  </a:cubicBezTo>
                  <a:cubicBezTo>
                    <a:pt x="21" y="173"/>
                    <a:pt x="18" y="168"/>
                    <a:pt x="18" y="16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8" y="86"/>
                    <a:pt x="9" y="86"/>
                    <a:pt x="8" y="86"/>
                  </a:cubicBezTo>
                  <a:cubicBezTo>
                    <a:pt x="3" y="86"/>
                    <a:pt x="0" y="82"/>
                    <a:pt x="0" y="7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3" y="0"/>
                    <a:pt x="26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1965"/>
                </a:solidFill>
                <a:latin typeface="Verdana"/>
              </a:endParaRPr>
            </a:p>
          </p:txBody>
        </p:sp>
      </p:grpSp>
      <p:sp>
        <p:nvSpPr>
          <p:cNvPr id="23" name="Insert title here">
            <a:extLst>
              <a:ext uri="{FF2B5EF4-FFF2-40B4-BE49-F238E27FC236}">
                <a16:creationId xmlns:a16="http://schemas.microsoft.com/office/drawing/2014/main" xmlns="" id="{0406C57B-1415-4696-8CA3-360A8CBDD09A}"/>
              </a:ext>
            </a:extLst>
          </p:cNvPr>
          <p:cNvSpPr/>
          <p:nvPr/>
        </p:nvSpPr>
        <p:spPr>
          <a:xfrm>
            <a:off x="647998" y="2053105"/>
            <a:ext cx="3462443" cy="30675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Treat Metabolic Syndrome: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↑ </a:t>
            </a:r>
            <a:r>
              <a:rPr lang="en-US" sz="14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EWL post-op </a:t>
            </a:r>
            <a:r>
              <a:rPr lang="en-US" sz="1400" baseline="30000" dirty="0">
                <a:solidFill>
                  <a:schemeClr val="tx2"/>
                </a:solidFill>
                <a:ea typeface="Apis Light" panose="020B0404010101010104" pitchFamily="34" charset="0"/>
                <a:cs typeface="Apis Light" panose="020B0404010101010104" pitchFamily="34" charset="0"/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Apis Light" panose="020B04040101010101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Reduce hospital stay </a:t>
            </a:r>
            <a:r>
              <a:rPr lang="en-US" sz="1400" baseline="30000" dirty="0">
                <a:solidFill>
                  <a:schemeClr val="tx2"/>
                </a:solidFill>
              </a:rPr>
              <a:t>1</a:t>
            </a:r>
          </a:p>
          <a:p>
            <a:pPr marL="714375" lvl="1" indent="-25717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ea typeface="Apis Light" panose="020B0404010101010104" pitchFamily="34" charset="0"/>
                <a:cs typeface="Calibri" panose="020F0502020204030204" pitchFamily="34" charset="0"/>
              </a:rPr>
              <a:t>↓ </a:t>
            </a:r>
            <a:r>
              <a:rPr lang="en-US" sz="1400" dirty="0">
                <a:solidFill>
                  <a:schemeClr val="tx2"/>
                </a:solidFill>
              </a:rPr>
              <a:t>Post-op complications </a:t>
            </a:r>
            <a:r>
              <a:rPr lang="en-US" sz="1400" baseline="30000" dirty="0">
                <a:solidFill>
                  <a:schemeClr val="tx2"/>
                </a:solidFill>
              </a:rPr>
              <a:t>2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Risk in </a:t>
            </a:r>
            <a:r>
              <a:rPr lang="en-GB" sz="1400" b="1" dirty="0" err="1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nesthesia</a:t>
            </a: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lvl="1"/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BMI &gt; 65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re-surgical weight loss is mandatory to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reduce intra-abdominal volume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and </a:t>
            </a: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achieve operabilit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3</a:t>
            </a:r>
          </a:p>
          <a:p>
            <a:pPr marL="457200" indent="-457200">
              <a:buFont typeface="+mj-lt"/>
              <a:buAutoNum type="arabicPeriod"/>
            </a:pPr>
            <a:endParaRPr lang="en-GB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non-responsive to lifestyle intervention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4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xmlns="" id="{417B4EE0-A950-433C-A530-2EB68E55A358}"/>
              </a:ext>
            </a:extLst>
          </p:cNvPr>
          <p:cNvSpPr/>
          <p:nvPr/>
        </p:nvSpPr>
        <p:spPr>
          <a:xfrm>
            <a:off x="672686" y="1281254"/>
            <a:ext cx="3563288" cy="46503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xmlns="" id="{46711182-50E3-4DA7-A893-8851D1BF8634}"/>
              </a:ext>
            </a:extLst>
          </p:cNvPr>
          <p:cNvSpPr/>
          <p:nvPr/>
        </p:nvSpPr>
        <p:spPr>
          <a:xfrm>
            <a:off x="870864" y="6531026"/>
            <a:ext cx="93685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1. Hutcheon DA et al. J Am Coll Surg. 2018;226(4):514-524; 2. 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Cassie S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ela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is. 2011;7(6):760-7; 3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ti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iabet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5;64:A43; 4. Malone et al. Ann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harmacothe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012;46:779–84; 5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nciguerra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F, et al. 2021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p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1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i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 10.23736/S2724-6507.21.03311-3; 6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hakur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U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Surg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31(1):84-92; 7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adurdeen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D, et al.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astrointest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fr-FR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ndosc</a:t>
            </a:r>
            <a:r>
              <a:rPr lang="fr-FR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 Jun;93(6):1316-1324.e1. </a:t>
            </a:r>
          </a:p>
        </p:txBody>
      </p:sp>
      <p:sp>
        <p:nvSpPr>
          <p:cNvPr id="25" name="Insert title here">
            <a:extLst>
              <a:ext uri="{FF2B5EF4-FFF2-40B4-BE49-F238E27FC236}">
                <a16:creationId xmlns:a16="http://schemas.microsoft.com/office/drawing/2014/main" xmlns="" id="{BD6D9349-9416-4041-8C53-93FD352E46AF}"/>
              </a:ext>
            </a:extLst>
          </p:cNvPr>
          <p:cNvSpPr/>
          <p:nvPr/>
        </p:nvSpPr>
        <p:spPr>
          <a:xfrm>
            <a:off x="8278954" y="2053108"/>
            <a:ext cx="3392778" cy="34983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Weight Regain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  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   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≥ 25 weight loss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Insufficient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5</a:t>
            </a: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              </a:t>
            </a:r>
            <a:r>
              <a:rPr lang="en-US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&lt; 50% EWL)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desiring further weight loss </a:t>
            </a:r>
            <a:r>
              <a:rPr lang="en-US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6</a:t>
            </a: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Patients with no indication for bariatric surgery </a:t>
            </a:r>
            <a:r>
              <a:rPr lang="en-GB" sz="1400" baseline="300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7                                   </a:t>
            </a:r>
            <a:r>
              <a:rPr lang="en-GB" sz="1400" dirty="0">
                <a:solidFill>
                  <a:schemeClr val="tx2"/>
                </a:solidFill>
                <a:latin typeface="+mn-lt"/>
                <a:ea typeface="Apis Light" panose="020B0404010101010104" pitchFamily="34" charset="0"/>
                <a:cs typeface="Apis Light" panose="020B0404010101010104" pitchFamily="34" charset="0"/>
              </a:rPr>
              <a:t>(BMI &lt; 40): endoscopic surgery</a:t>
            </a:r>
            <a:endParaRPr lang="en-US" sz="1400" b="1" dirty="0">
              <a:solidFill>
                <a:schemeClr val="tx2"/>
              </a:solidFill>
              <a:latin typeface="+mn-lt"/>
              <a:ea typeface="Apis Light" panose="020B0404010101010104" pitchFamily="34" charset="0"/>
              <a:cs typeface="Apis Light" panose="020B04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31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190708" y="6616220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lhag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W, et al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Obes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Surg. 2022 Jan 20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i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 10.1007/s11695-021-05884-y.  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5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207476"/>
            <a:ext cx="11347200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Liraglutide 3.0 mg in inadequate weight loss (IWL) or weight regain (WR) after primary or revisional surgery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xmlns="" id="{14E7934C-810F-4823-B639-13E2C318628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 l="20571" t="17723" r="52500" b="4889"/>
          <a:stretch/>
        </p:blipFill>
        <p:spPr>
          <a:xfrm>
            <a:off x="7724505" y="1275131"/>
            <a:ext cx="3413761" cy="5518483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xmlns="" id="{EB9CF31B-0E37-416D-A6A5-00E0EBAE2D7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9786" t="17851" r="11785" b="13016"/>
          <a:stretch/>
        </p:blipFill>
        <p:spPr>
          <a:xfrm>
            <a:off x="970109" y="1404342"/>
            <a:ext cx="6088211" cy="4052001"/>
          </a:xfrm>
          <a:prstGeom prst="rect">
            <a:avLst/>
          </a:prstGeom>
        </p:spPr>
      </p:pic>
      <p:sp>
        <p:nvSpPr>
          <p:cNvPr id="39" name="Rettangolo con angoli arrotondati 38">
            <a:extLst>
              <a:ext uri="{FF2B5EF4-FFF2-40B4-BE49-F238E27FC236}">
                <a16:creationId xmlns:a16="http://schemas.microsoft.com/office/drawing/2014/main" xmlns="" id="{B6914F98-DA6B-40AF-8798-27C0423B2D8A}"/>
              </a:ext>
            </a:extLst>
          </p:cNvPr>
          <p:cNvSpPr/>
          <p:nvPr/>
        </p:nvSpPr>
        <p:spPr>
          <a:xfrm>
            <a:off x="7627444" y="2318040"/>
            <a:ext cx="3580489" cy="521883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42" name="Rettangolo con angoli arrotondati 41">
            <a:extLst>
              <a:ext uri="{FF2B5EF4-FFF2-40B4-BE49-F238E27FC236}">
                <a16:creationId xmlns:a16="http://schemas.microsoft.com/office/drawing/2014/main" xmlns="" id="{0E808659-756C-4BA0-BF7F-61958EB142C1}"/>
              </a:ext>
            </a:extLst>
          </p:cNvPr>
          <p:cNvSpPr/>
          <p:nvPr/>
        </p:nvSpPr>
        <p:spPr>
          <a:xfrm>
            <a:off x="7641140" y="3896480"/>
            <a:ext cx="3580489" cy="521883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xmlns="" id="{7D000E75-2218-4CC0-9760-63E220E36374}"/>
              </a:ext>
            </a:extLst>
          </p:cNvPr>
          <p:cNvSpPr txBox="1"/>
          <p:nvPr/>
        </p:nvSpPr>
        <p:spPr>
          <a:xfrm>
            <a:off x="3612813" y="5517306"/>
            <a:ext cx="2885248" cy="709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42% inadequate weight lo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58% weight regain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raglutide start: 42 months postop</a:t>
            </a:r>
            <a:endParaRPr lang="en-US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xmlns="" id="{A18DBF2C-2221-4444-9462-E9348EB21B60}"/>
              </a:ext>
            </a:extLst>
          </p:cNvPr>
          <p:cNvSpPr txBox="1"/>
          <p:nvPr/>
        </p:nvSpPr>
        <p:spPr>
          <a:xfrm>
            <a:off x="570975" y="5517306"/>
            <a:ext cx="2979414" cy="709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2% inadequate weight lo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78% weight regain</a:t>
            </a:r>
          </a:p>
          <a:p>
            <a:pPr>
              <a:lnSpc>
                <a:spcPct val="150000"/>
              </a:lnSpc>
            </a:pPr>
            <a:r>
              <a:rPr lang="en-GB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Liraglutide start: 56 months postop</a:t>
            </a:r>
            <a:endParaRPr lang="en-US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45" name="TextBox 51">
            <a:extLst>
              <a:ext uri="{FF2B5EF4-FFF2-40B4-BE49-F238E27FC236}">
                <a16:creationId xmlns:a16="http://schemas.microsoft.com/office/drawing/2014/main" xmlns="" id="{5C22C24F-2DD3-457A-B8C9-5EF61E587B78}"/>
              </a:ext>
            </a:extLst>
          </p:cNvPr>
          <p:cNvSpPr txBox="1"/>
          <p:nvPr/>
        </p:nvSpPr>
        <p:spPr>
          <a:xfrm>
            <a:off x="5415236" y="3887969"/>
            <a:ext cx="360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26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47" name="TextBox 51">
            <a:extLst>
              <a:ext uri="{FF2B5EF4-FFF2-40B4-BE49-F238E27FC236}">
                <a16:creationId xmlns:a16="http://schemas.microsoft.com/office/drawing/2014/main" xmlns="" id="{96120671-9F28-47C5-A97A-72BD30036F96}"/>
              </a:ext>
            </a:extLst>
          </p:cNvPr>
          <p:cNvSpPr txBox="1"/>
          <p:nvPr/>
        </p:nvSpPr>
        <p:spPr>
          <a:xfrm>
            <a:off x="1003806" y="3887969"/>
            <a:ext cx="4491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119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48" name="TextBox 51">
            <a:extLst>
              <a:ext uri="{FF2B5EF4-FFF2-40B4-BE49-F238E27FC236}">
                <a16:creationId xmlns:a16="http://schemas.microsoft.com/office/drawing/2014/main" xmlns="" id="{DD1B1297-E32E-483D-A5FE-A2E53546D2DB}"/>
              </a:ext>
            </a:extLst>
          </p:cNvPr>
          <p:cNvSpPr txBox="1"/>
          <p:nvPr/>
        </p:nvSpPr>
        <p:spPr>
          <a:xfrm>
            <a:off x="7322698" y="4918054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52%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49" name="TextBox 51">
            <a:extLst>
              <a:ext uri="{FF2B5EF4-FFF2-40B4-BE49-F238E27FC236}">
                <a16:creationId xmlns:a16="http://schemas.microsoft.com/office/drawing/2014/main" xmlns="" id="{8C469218-08EA-4484-A3A7-C584AC97306C}"/>
              </a:ext>
            </a:extLst>
          </p:cNvPr>
          <p:cNvSpPr txBox="1"/>
          <p:nvPr/>
        </p:nvSpPr>
        <p:spPr>
          <a:xfrm>
            <a:off x="7322698" y="5975054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1965"/>
                </a:solidFill>
                <a:latin typeface="Apis For Office"/>
              </a:rPr>
              <a:t>60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%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50" name="Parentesi graffa aperta 49">
            <a:extLst>
              <a:ext uri="{FF2B5EF4-FFF2-40B4-BE49-F238E27FC236}">
                <a16:creationId xmlns:a16="http://schemas.microsoft.com/office/drawing/2014/main" xmlns="" id="{B2829A7D-D79C-4459-A72F-C4CC5A4C676B}"/>
              </a:ext>
            </a:extLst>
          </p:cNvPr>
          <p:cNvSpPr/>
          <p:nvPr/>
        </p:nvSpPr>
        <p:spPr>
          <a:xfrm>
            <a:off x="7846425" y="4798426"/>
            <a:ext cx="85825" cy="521883"/>
          </a:xfrm>
          <a:prstGeom prst="lef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Parentesi graffa aperta 50">
            <a:extLst>
              <a:ext uri="{FF2B5EF4-FFF2-40B4-BE49-F238E27FC236}">
                <a16:creationId xmlns:a16="http://schemas.microsoft.com/office/drawing/2014/main" xmlns="" id="{1B4E2153-1BCD-478C-AEB8-841CD5D07544}"/>
              </a:ext>
            </a:extLst>
          </p:cNvPr>
          <p:cNvSpPr/>
          <p:nvPr/>
        </p:nvSpPr>
        <p:spPr>
          <a:xfrm>
            <a:off x="7846425" y="5848237"/>
            <a:ext cx="85825" cy="521883"/>
          </a:xfrm>
          <a:prstGeom prst="lef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Parentesi graffa aperta 51">
            <a:extLst>
              <a:ext uri="{FF2B5EF4-FFF2-40B4-BE49-F238E27FC236}">
                <a16:creationId xmlns:a16="http://schemas.microsoft.com/office/drawing/2014/main" xmlns="" id="{F16F5FA9-AE12-4EB1-B2F5-81C7C50CAF19}"/>
              </a:ext>
            </a:extLst>
          </p:cNvPr>
          <p:cNvSpPr/>
          <p:nvPr/>
        </p:nvSpPr>
        <p:spPr>
          <a:xfrm rot="10800000">
            <a:off x="10365434" y="4798426"/>
            <a:ext cx="85825" cy="521883"/>
          </a:xfrm>
          <a:prstGeom prst="lef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TextBox 51">
            <a:extLst>
              <a:ext uri="{FF2B5EF4-FFF2-40B4-BE49-F238E27FC236}">
                <a16:creationId xmlns:a16="http://schemas.microsoft.com/office/drawing/2014/main" xmlns="" id="{D4794B83-FD02-4A3F-A631-ED4845631E1A}"/>
              </a:ext>
            </a:extLst>
          </p:cNvPr>
          <p:cNvSpPr txBox="1"/>
          <p:nvPr/>
        </p:nvSpPr>
        <p:spPr>
          <a:xfrm>
            <a:off x="10503170" y="4918055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1965"/>
                </a:solidFill>
                <a:latin typeface="Apis For Office"/>
              </a:rPr>
              <a:t>60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%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54" name="TextBox 51">
            <a:extLst>
              <a:ext uri="{FF2B5EF4-FFF2-40B4-BE49-F238E27FC236}">
                <a16:creationId xmlns:a16="http://schemas.microsoft.com/office/drawing/2014/main" xmlns="" id="{363AF507-CB47-4925-B9F0-43D9681C6707}"/>
              </a:ext>
            </a:extLst>
          </p:cNvPr>
          <p:cNvSpPr txBox="1"/>
          <p:nvPr/>
        </p:nvSpPr>
        <p:spPr>
          <a:xfrm>
            <a:off x="10503171" y="5975054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1965"/>
                </a:solidFill>
                <a:latin typeface="Apis For Office"/>
              </a:rPr>
              <a:t>48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%</a:t>
            </a:r>
            <a:endParaRPr lang="en-GB" sz="1200" b="1" dirty="0">
              <a:solidFill>
                <a:srgbClr val="001965"/>
              </a:solidFill>
              <a:latin typeface="Apis For Office"/>
            </a:endParaRPr>
          </a:p>
        </p:txBody>
      </p:sp>
      <p:sp>
        <p:nvSpPr>
          <p:cNvPr id="55" name="Parentesi graffa aperta 54">
            <a:extLst>
              <a:ext uri="{FF2B5EF4-FFF2-40B4-BE49-F238E27FC236}">
                <a16:creationId xmlns:a16="http://schemas.microsoft.com/office/drawing/2014/main" xmlns="" id="{4228272F-027E-4E95-BED9-4F9F00FAA213}"/>
              </a:ext>
            </a:extLst>
          </p:cNvPr>
          <p:cNvSpPr/>
          <p:nvPr/>
        </p:nvSpPr>
        <p:spPr>
          <a:xfrm rot="10800000">
            <a:off x="10398061" y="5848237"/>
            <a:ext cx="85825" cy="521883"/>
          </a:xfrm>
          <a:prstGeom prst="lef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xmlns="" id="{FC4348A5-AC10-4DA3-9A6D-C0271B9A070D}"/>
              </a:ext>
            </a:extLst>
          </p:cNvPr>
          <p:cNvSpPr txBox="1">
            <a:spLocks/>
          </p:cNvSpPr>
          <p:nvPr/>
        </p:nvSpPr>
        <p:spPr>
          <a:xfrm>
            <a:off x="439285" y="6285923"/>
            <a:ext cx="5656716" cy="324000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RYGB, Roux-en-Y gastric bypass; LSG, laparoscopic sleeve gastrectomy; LAGB, laparoscopic adjustable gastric banding; SADI, single-anastomosis </a:t>
            </a:r>
            <a:r>
              <a:rPr lang="en-GB" sz="800" i="1" dirty="0" err="1">
                <a:ea typeface="Verdana" panose="020B0604030504040204" pitchFamily="34" charset="0"/>
                <a:cs typeface="Verdana" panose="020B0604030504040204" pitchFamily="34" charset="0"/>
              </a:rPr>
              <a:t>duodeno</a:t>
            </a:r>
            <a:r>
              <a:rPr lang="en-GB" sz="800" i="1" dirty="0">
                <a:ea typeface="Verdana" panose="020B0604030504040204" pitchFamily="34" charset="0"/>
                <a:cs typeface="Verdana" panose="020B0604030504040204" pitchFamily="34" charset="0"/>
              </a:rPr>
              <a:t>-ileal bypass .</a:t>
            </a:r>
          </a:p>
        </p:txBody>
      </p:sp>
    </p:spTree>
    <p:extLst>
      <p:ext uri="{BB962C8B-B14F-4D97-AF65-F5344CB8AC3E}">
        <p14:creationId xmlns:p14="http://schemas.microsoft.com/office/powerpoint/2010/main" val="2798724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ttangolo 103">
            <a:extLst>
              <a:ext uri="{FF2B5EF4-FFF2-40B4-BE49-F238E27FC236}">
                <a16:creationId xmlns:a16="http://schemas.microsoft.com/office/drawing/2014/main" xmlns="" id="{A31DDDCC-63B3-41C8-8FE0-E71B7892CC4A}"/>
              </a:ext>
            </a:extLst>
          </p:cNvPr>
          <p:cNvSpPr/>
          <p:nvPr/>
        </p:nvSpPr>
        <p:spPr>
          <a:xfrm>
            <a:off x="76408" y="6610626"/>
            <a:ext cx="1156949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Badurdeen D, et al.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astrointest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altLang="en-US" sz="800" i="1" dirty="0" err="1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Endosc</a:t>
            </a:r>
            <a:r>
              <a:rPr lang="en-GB" altLang="en-US" sz="800" i="1" dirty="0">
                <a:solidFill>
                  <a:srgbClr val="001965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2021;93(6):1316-1324.e1.  </a:t>
            </a:r>
            <a:endParaRPr lang="en-GB" sz="800" i="1" dirty="0">
              <a:solidFill>
                <a:srgbClr val="001965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5" name="Segnaposto numero diapositiva 5">
            <a:extLst>
              <a:ext uri="{FF2B5EF4-FFF2-40B4-BE49-F238E27FC236}">
                <a16:creationId xmlns:a16="http://schemas.microsoft.com/office/drawing/2014/main" xmlns="" id="{C03C6EE2-600D-4DC2-A4B6-A8157802F841}"/>
              </a:ext>
            </a:extLst>
          </p:cNvPr>
          <p:cNvSpPr txBox="1">
            <a:spLocks/>
          </p:cNvSpPr>
          <p:nvPr/>
        </p:nvSpPr>
        <p:spPr>
          <a:xfrm>
            <a:off x="230572" y="271489"/>
            <a:ext cx="417427" cy="2154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GB" sz="700" smtClean="0"/>
              <a:pPr/>
              <a:t>36</a:t>
            </a:fld>
            <a:endParaRPr lang="en-GB" sz="700" dirty="0"/>
          </a:p>
        </p:txBody>
      </p:sp>
      <p:sp>
        <p:nvSpPr>
          <p:cNvPr id="34" name="Title 5">
            <a:extLst>
              <a:ext uri="{FF2B5EF4-FFF2-40B4-BE49-F238E27FC236}">
                <a16:creationId xmlns:a16="http://schemas.microsoft.com/office/drawing/2014/main" xmlns="" id="{E3072C08-CBC8-45D5-B534-AAA8D135B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434679"/>
            <a:ext cx="11347200" cy="521883"/>
          </a:xfrm>
        </p:spPr>
        <p:txBody>
          <a:bodyPr>
            <a:normAutofit fontScale="90000"/>
          </a:bodyPr>
          <a:lstStyle/>
          <a:p>
            <a:r>
              <a:rPr lang="en-GB" sz="3600" dirty="0">
                <a:latin typeface="+mn-lt"/>
              </a:rPr>
              <a:t>Endoscopic sleeve gastroplasty plus liraglutide 3.0 mg vs</a:t>
            </a:r>
            <a:br>
              <a:rPr lang="en-GB" sz="3600" dirty="0">
                <a:latin typeface="+mn-lt"/>
              </a:rPr>
            </a:br>
            <a:r>
              <a:rPr lang="en-GB" sz="3600" dirty="0">
                <a:latin typeface="+mn-lt"/>
              </a:rPr>
              <a:t>endoscopic sleeve gastroplasty alone for weight loss</a:t>
            </a:r>
            <a:endParaRPr lang="en-GB" sz="2400" dirty="0">
              <a:solidFill>
                <a:srgbClr val="009FDA"/>
              </a:solidFill>
              <a:latin typeface="+mn-lt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xmlns="" id="{8DF833B3-0C30-4536-A034-07019A19D3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625" t="11911" r="10859" b="5278"/>
          <a:stretch/>
        </p:blipFill>
        <p:spPr>
          <a:xfrm>
            <a:off x="543203" y="1604174"/>
            <a:ext cx="3541456" cy="2243942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xmlns="" id="{73A9A1FB-2EAD-43E2-8208-3B178F75C9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437" t="23194" r="23437" b="11389"/>
          <a:stretch/>
        </p:blipFill>
        <p:spPr>
          <a:xfrm>
            <a:off x="230572" y="3992609"/>
            <a:ext cx="3958883" cy="2506229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xmlns="" id="{854B9068-213D-41C1-B045-43BB58B96D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500" t="20000" r="20703" b="16528"/>
          <a:stretch/>
        </p:blipFill>
        <p:spPr>
          <a:xfrm>
            <a:off x="4378191" y="1816146"/>
            <a:ext cx="7534275" cy="4352925"/>
          </a:xfrm>
          <a:prstGeom prst="rect">
            <a:avLst/>
          </a:prstGeom>
        </p:spPr>
      </p:pic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xmlns="" id="{C3DF163F-56C1-494E-8A60-B20B967B27AB}"/>
              </a:ext>
            </a:extLst>
          </p:cNvPr>
          <p:cNvSpPr/>
          <p:nvPr/>
        </p:nvSpPr>
        <p:spPr>
          <a:xfrm>
            <a:off x="7915276" y="3660051"/>
            <a:ext cx="3892118" cy="58377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5" name="Rettangolo con angoli arrotondati 24">
            <a:extLst>
              <a:ext uri="{FF2B5EF4-FFF2-40B4-BE49-F238E27FC236}">
                <a16:creationId xmlns:a16="http://schemas.microsoft.com/office/drawing/2014/main" xmlns="" id="{012DD86B-BDED-4D85-A6F0-F4710AFD62F4}"/>
              </a:ext>
            </a:extLst>
          </p:cNvPr>
          <p:cNvSpPr/>
          <p:nvPr/>
        </p:nvSpPr>
        <p:spPr>
          <a:xfrm>
            <a:off x="7915276" y="4857751"/>
            <a:ext cx="3881302" cy="58377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2" name="Freccia bidirezionale verticale 11">
            <a:extLst>
              <a:ext uri="{FF2B5EF4-FFF2-40B4-BE49-F238E27FC236}">
                <a16:creationId xmlns:a16="http://schemas.microsoft.com/office/drawing/2014/main" xmlns="" id="{4B3FF781-AD29-4B01-86FC-7932AF075CA0}"/>
              </a:ext>
            </a:extLst>
          </p:cNvPr>
          <p:cNvSpPr/>
          <p:nvPr/>
        </p:nvSpPr>
        <p:spPr>
          <a:xfrm>
            <a:off x="4029075" y="4252531"/>
            <a:ext cx="160380" cy="458951"/>
          </a:xfrm>
          <a:prstGeom prst="up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8" name="TextBox 51">
            <a:extLst>
              <a:ext uri="{FF2B5EF4-FFF2-40B4-BE49-F238E27FC236}">
                <a16:creationId xmlns:a16="http://schemas.microsoft.com/office/drawing/2014/main" xmlns="" id="{E67E8A83-FECF-4C51-87D9-9AFF363E0DBB}"/>
              </a:ext>
            </a:extLst>
          </p:cNvPr>
          <p:cNvSpPr txBox="1"/>
          <p:nvPr/>
        </p:nvSpPr>
        <p:spPr>
          <a:xfrm>
            <a:off x="3758570" y="3857246"/>
            <a:ext cx="7585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4.2%*</a:t>
            </a:r>
          </a:p>
        </p:txBody>
      </p:sp>
      <p:sp>
        <p:nvSpPr>
          <p:cNvPr id="29" name="Freccia bidirezionale verticale 28">
            <a:extLst>
              <a:ext uri="{FF2B5EF4-FFF2-40B4-BE49-F238E27FC236}">
                <a16:creationId xmlns:a16="http://schemas.microsoft.com/office/drawing/2014/main" xmlns="" id="{E9F9722F-6AE6-4BC9-94B9-B3C5DAE4DC54}"/>
              </a:ext>
            </a:extLst>
          </p:cNvPr>
          <p:cNvSpPr/>
          <p:nvPr/>
        </p:nvSpPr>
        <p:spPr>
          <a:xfrm>
            <a:off x="3095625" y="4514492"/>
            <a:ext cx="160380" cy="307777"/>
          </a:xfrm>
          <a:prstGeom prst="up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xmlns="" id="{ECE180E6-0DD6-4CF6-AF6D-26E7F666CBF5}"/>
              </a:ext>
            </a:extLst>
          </p:cNvPr>
          <p:cNvSpPr txBox="1"/>
          <p:nvPr/>
        </p:nvSpPr>
        <p:spPr>
          <a:xfrm>
            <a:off x="2824014" y="4094927"/>
            <a:ext cx="7585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3.2%*</a:t>
            </a:r>
          </a:p>
        </p:txBody>
      </p:sp>
      <p:sp>
        <p:nvSpPr>
          <p:cNvPr id="31" name="Freccia bidirezionale verticale 30">
            <a:extLst>
              <a:ext uri="{FF2B5EF4-FFF2-40B4-BE49-F238E27FC236}">
                <a16:creationId xmlns:a16="http://schemas.microsoft.com/office/drawing/2014/main" xmlns="" id="{27AEF998-8C26-4990-82C9-E9FFB2AC8084}"/>
              </a:ext>
            </a:extLst>
          </p:cNvPr>
          <p:cNvSpPr/>
          <p:nvPr/>
        </p:nvSpPr>
        <p:spPr>
          <a:xfrm>
            <a:off x="2555403" y="4823898"/>
            <a:ext cx="92547" cy="233878"/>
          </a:xfrm>
          <a:prstGeom prst="up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2" name="TextBox 51">
            <a:extLst>
              <a:ext uri="{FF2B5EF4-FFF2-40B4-BE49-F238E27FC236}">
                <a16:creationId xmlns:a16="http://schemas.microsoft.com/office/drawing/2014/main" xmlns="" id="{BE547D93-2999-4398-90AB-51A4CD4B64E8}"/>
              </a:ext>
            </a:extLst>
          </p:cNvPr>
          <p:cNvSpPr txBox="1"/>
          <p:nvPr/>
        </p:nvSpPr>
        <p:spPr>
          <a:xfrm>
            <a:off x="2249630" y="4457430"/>
            <a:ext cx="7585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1.9%*</a:t>
            </a:r>
          </a:p>
        </p:txBody>
      </p:sp>
      <p:sp>
        <p:nvSpPr>
          <p:cNvPr id="33" name="TextBox 51">
            <a:extLst>
              <a:ext uri="{FF2B5EF4-FFF2-40B4-BE49-F238E27FC236}">
                <a16:creationId xmlns:a16="http://schemas.microsoft.com/office/drawing/2014/main" xmlns="" id="{0313D792-AB18-4785-8F00-374E8D0D22F9}"/>
              </a:ext>
            </a:extLst>
          </p:cNvPr>
          <p:cNvSpPr txBox="1"/>
          <p:nvPr/>
        </p:nvSpPr>
        <p:spPr>
          <a:xfrm>
            <a:off x="10597672" y="4845469"/>
            <a:ext cx="6335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6.8%*</a:t>
            </a:r>
          </a:p>
        </p:txBody>
      </p:sp>
      <p:sp>
        <p:nvSpPr>
          <p:cNvPr id="35" name="TextBox 51">
            <a:extLst>
              <a:ext uri="{FF2B5EF4-FFF2-40B4-BE49-F238E27FC236}">
                <a16:creationId xmlns:a16="http://schemas.microsoft.com/office/drawing/2014/main" xmlns="" id="{0AC513B4-4109-4A85-B2FD-F59B5ADA1346}"/>
              </a:ext>
            </a:extLst>
          </p:cNvPr>
          <p:cNvSpPr txBox="1"/>
          <p:nvPr/>
        </p:nvSpPr>
        <p:spPr>
          <a:xfrm>
            <a:off x="10604865" y="5021620"/>
            <a:ext cx="69442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11.3%*</a:t>
            </a:r>
          </a:p>
        </p:txBody>
      </p:sp>
      <p:sp>
        <p:nvSpPr>
          <p:cNvPr id="36" name="TextBox 51">
            <a:extLst>
              <a:ext uri="{FF2B5EF4-FFF2-40B4-BE49-F238E27FC236}">
                <a16:creationId xmlns:a16="http://schemas.microsoft.com/office/drawing/2014/main" xmlns="" id="{2EF01FC5-FEBC-4948-A60E-A7E2C1C290A9}"/>
              </a:ext>
            </a:extLst>
          </p:cNvPr>
          <p:cNvSpPr txBox="1"/>
          <p:nvPr/>
        </p:nvSpPr>
        <p:spPr>
          <a:xfrm>
            <a:off x="10612057" y="5225646"/>
            <a:ext cx="69442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14.4%*</a:t>
            </a:r>
          </a:p>
        </p:txBody>
      </p:sp>
      <p:sp>
        <p:nvSpPr>
          <p:cNvPr id="41" name="TextBox 51">
            <a:extLst>
              <a:ext uri="{FF2B5EF4-FFF2-40B4-BE49-F238E27FC236}">
                <a16:creationId xmlns:a16="http://schemas.microsoft.com/office/drawing/2014/main" xmlns="" id="{4EB82334-4CE4-4310-9578-3DB68A0C905C}"/>
              </a:ext>
            </a:extLst>
          </p:cNvPr>
          <p:cNvSpPr txBox="1"/>
          <p:nvPr/>
        </p:nvSpPr>
        <p:spPr>
          <a:xfrm>
            <a:off x="10604865" y="3635063"/>
            <a:ext cx="6335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1.9%*</a:t>
            </a:r>
          </a:p>
        </p:txBody>
      </p:sp>
      <p:sp>
        <p:nvSpPr>
          <p:cNvPr id="42" name="TextBox 51">
            <a:extLst>
              <a:ext uri="{FF2B5EF4-FFF2-40B4-BE49-F238E27FC236}">
                <a16:creationId xmlns:a16="http://schemas.microsoft.com/office/drawing/2014/main" xmlns="" id="{41A7237E-0330-4B11-95F5-B8BF9BAB1EF1}"/>
              </a:ext>
            </a:extLst>
          </p:cNvPr>
          <p:cNvSpPr txBox="1"/>
          <p:nvPr/>
        </p:nvSpPr>
        <p:spPr>
          <a:xfrm>
            <a:off x="10622498" y="3831256"/>
            <a:ext cx="61587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3.2%*</a:t>
            </a:r>
          </a:p>
        </p:txBody>
      </p:sp>
      <p:sp>
        <p:nvSpPr>
          <p:cNvPr id="43" name="TextBox 51">
            <a:extLst>
              <a:ext uri="{FF2B5EF4-FFF2-40B4-BE49-F238E27FC236}">
                <a16:creationId xmlns:a16="http://schemas.microsoft.com/office/drawing/2014/main" xmlns="" id="{54459CF1-6B22-4E10-80D2-0D101CE233E5}"/>
              </a:ext>
            </a:extLst>
          </p:cNvPr>
          <p:cNvSpPr txBox="1"/>
          <p:nvPr/>
        </p:nvSpPr>
        <p:spPr>
          <a:xfrm>
            <a:off x="10613681" y="4027588"/>
            <a:ext cx="6335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-4.2%*</a:t>
            </a:r>
          </a:p>
        </p:txBody>
      </p:sp>
    </p:spTree>
    <p:extLst>
      <p:ext uri="{BB962C8B-B14F-4D97-AF65-F5344CB8AC3E}">
        <p14:creationId xmlns:p14="http://schemas.microsoft.com/office/powerpoint/2010/main" val="23762108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Greater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weight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loss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is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associated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with</a:t>
            </a:r>
            <a:br>
              <a:rPr lang="it-IT" sz="3200" dirty="0" smtClean="0">
                <a:latin typeface="Arial" charset="0"/>
                <a:ea typeface="Arial" charset="0"/>
                <a:cs typeface="Arial" charset="0"/>
              </a:rPr>
            </a:b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better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health</a:t>
            </a:r>
            <a:r>
              <a:rPr lang="it-IT" sz="3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3200" dirty="0" err="1" smtClean="0">
                <a:latin typeface="Arial" charset="0"/>
                <a:ea typeface="Arial" charset="0"/>
                <a:cs typeface="Arial" charset="0"/>
              </a:rPr>
              <a:t>outcomes</a:t>
            </a:r>
            <a:endParaRPr lang="it-IT" sz="32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0177" y="1441805"/>
            <a:ext cx="6540226" cy="4683125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138294"/>
            <a:ext cx="12192000" cy="608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911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2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problems</a:t>
            </a:r>
            <a:endParaRPr lang="it-IT" sz="4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135950" y="2252546"/>
            <a:ext cx="83663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1) T2DM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patients</a:t>
            </a:r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lose</a:t>
            </a:r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less</a:t>
            </a:r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weight</a:t>
            </a:r>
            <a:endParaRPr lang="it-IT" sz="4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1169403" y="3871534"/>
            <a:ext cx="416530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b="1" dirty="0">
                <a:latin typeface="Arial" charset="0"/>
                <a:ea typeface="Arial" charset="0"/>
                <a:cs typeface="Arial" charset="0"/>
              </a:rPr>
              <a:t>2</a:t>
            </a:r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)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Weight</a:t>
            </a:r>
            <a:r>
              <a:rPr lang="it-IT" sz="4000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000" b="1" dirty="0" err="1" smtClean="0">
                <a:latin typeface="Arial" charset="0"/>
                <a:ea typeface="Arial" charset="0"/>
                <a:cs typeface="Arial" charset="0"/>
              </a:rPr>
              <a:t>regain</a:t>
            </a:r>
            <a:endParaRPr lang="it-IT" sz="4000" b="1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02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Problem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1: T2DM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pats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loose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less</a:t>
            </a:r>
            <a:endParaRPr lang="it-IT" sz="44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5058"/>
            <a:ext cx="8642195" cy="2823800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6779941" y="6389649"/>
            <a:ext cx="5301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Muraca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 E et al </a:t>
            </a:r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J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Clin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Endocrinol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 &amp; </a:t>
            </a:r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Metab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, 2021</a:t>
            </a:r>
            <a:endParaRPr lang="it-IT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09" y="4579232"/>
            <a:ext cx="11992183" cy="1225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614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Problem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1: T2DM, IFG/IGT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pats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loose</a:t>
            </a:r>
            <a:r>
              <a:rPr lang="it-IT" sz="44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4400" dirty="0" err="1" smtClean="0">
                <a:latin typeface="Arial" charset="0"/>
                <a:ea typeface="Arial" charset="0"/>
                <a:cs typeface="Arial" charset="0"/>
              </a:rPr>
              <a:t>less</a:t>
            </a:r>
            <a:endParaRPr lang="it-IT" sz="4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8474926" y="6289288"/>
            <a:ext cx="3493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Muraca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 E et al (in </a:t>
            </a:r>
            <a:r>
              <a:rPr lang="it-IT" b="1" dirty="0" err="1" smtClean="0">
                <a:latin typeface="Arial" charset="0"/>
                <a:ea typeface="Arial" charset="0"/>
                <a:cs typeface="Arial" charset="0"/>
              </a:rPr>
              <a:t>preparation</a:t>
            </a:r>
            <a:r>
              <a:rPr lang="it-IT" b="1" dirty="0" smtClean="0">
                <a:latin typeface="Arial" charset="0"/>
                <a:ea typeface="Arial" charset="0"/>
                <a:cs typeface="Arial" charset="0"/>
              </a:rPr>
              <a:t>)</a:t>
            </a:r>
            <a:endParaRPr lang="it-IT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821815"/>
              </p:ext>
            </p:extLst>
          </p:nvPr>
        </p:nvGraphicFramePr>
        <p:xfrm>
          <a:off x="153793" y="1436320"/>
          <a:ext cx="7674363" cy="5332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42459"/>
                <a:gridCol w="1113364"/>
                <a:gridCol w="1027719"/>
                <a:gridCol w="243290"/>
                <a:gridCol w="1304693"/>
                <a:gridCol w="1204331"/>
                <a:gridCol w="1438507"/>
              </a:tblGrid>
              <a:tr h="428716">
                <a:tc grid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ABLE 3.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24 months follow-up weight loss in the study population </a:t>
                      </a:r>
                      <a:r>
                        <a:rPr lang="en-US" sz="12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egragated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by glucose tolerance condition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58240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ntire population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 b="1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OR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IFG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2DM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rowSpan="3"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WL (%)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5.3 ± 6.8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.3 ± 6.8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.7 ± 6.6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3.4 ± 7.1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1.7 ± 8.7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5.3 ± 8.5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,d 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1.0 ± 8.1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7.9 ± 9.1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2.4 ± 11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8.1 ± 11.3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1.6 ± 11.0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6.4 ± 10.3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77655"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rowSpan="3"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BMI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.6 ± 3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.6 ± 3.3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1.3 ± 3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0.7 ± 3.3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.7 ± 4.6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6.5 ± 4.2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c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.3 ± 4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3.0 ± 4.4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5.2 ± 6.0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8.0 ± 5.3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c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4.7 ± 6.0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.4 ± 5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77655"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rowSpan="3"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EWL (%)</a:t>
                      </a:r>
                      <a:endParaRPr lang="it-IT" sz="1200" b="1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7.8 ± 18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1.8 ± 19.2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 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6.3 ± 17.4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4.5 ± 18.8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2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1.7 ± 22.3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8.7 ± 23.0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a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0.7 ± 20.5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63.3 ± 21.8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26693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3820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4 months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2.5 ± 26.6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 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84.0 ± 25.9 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,d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71.6 ± 24.7</a:t>
                      </a:r>
                      <a:r>
                        <a:rPr lang="en-US" sz="1200" baseline="300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b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59.2 ± 24.1</a:t>
                      </a:r>
                      <a:endParaRPr lang="it-IT" sz="120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</a:tr>
              <a:tr h="1553083">
                <a:tc grid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Pearson chi-square test with post hoc Bonferroni adjustment was used for categorical variables.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Kruskal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Wallis test and Dunn-Bonferroni approach for pairwise comparison or ANOVA test and post hoc </a:t>
                      </a:r>
                      <a:r>
                        <a:rPr lang="en-US" sz="12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idak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Bonferroni test was applied for </a:t>
                      </a:r>
                      <a:r>
                        <a:rPr lang="en-US" sz="1200" dirty="0" err="1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ontinuos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variables.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TWL = total weight loss, BMI = body mass index, EWL = excess weight loss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aseline="300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a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p ≤ 0.05 vs IFG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aseline="300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p ≤ 0.05 vs T2DM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aseline="300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p ≤ 0.01 vs IFG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aseline="300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d</a:t>
                      </a:r>
                      <a:r>
                        <a:rPr lang="en-US" sz="1200" dirty="0"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p ≤ 0.01 vs T2DM</a:t>
                      </a:r>
                      <a:endParaRPr lang="it-IT" sz="120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8175164" y="3307534"/>
            <a:ext cx="379302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3000" b="1" dirty="0" smtClean="0">
                <a:latin typeface="Arial" charset="0"/>
                <a:ea typeface="Arial" charset="0"/>
                <a:cs typeface="Arial" charset="0"/>
              </a:rPr>
              <a:t>Sleeve </a:t>
            </a:r>
            <a:r>
              <a:rPr lang="it-IT" sz="3000" b="1" dirty="0" err="1" smtClean="0">
                <a:latin typeface="Arial" charset="0"/>
                <a:ea typeface="Arial" charset="0"/>
                <a:cs typeface="Arial" charset="0"/>
              </a:rPr>
              <a:t>gastrectomy</a:t>
            </a:r>
            <a:endParaRPr lang="it-IT" sz="3000" b="1" dirty="0" smtClean="0"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it-IT" sz="3000" b="1" dirty="0" smtClean="0">
                <a:latin typeface="Arial" charset="0"/>
                <a:ea typeface="Arial" charset="0"/>
                <a:cs typeface="Arial" charset="0"/>
              </a:rPr>
              <a:t>2 </a:t>
            </a:r>
            <a:r>
              <a:rPr lang="it-IT" sz="3000" b="1" dirty="0" err="1" smtClean="0">
                <a:latin typeface="Arial" charset="0"/>
                <a:ea typeface="Arial" charset="0"/>
                <a:cs typeface="Arial" charset="0"/>
              </a:rPr>
              <a:t>years</a:t>
            </a:r>
            <a:r>
              <a:rPr lang="it-IT" sz="3000" b="1" dirty="0" smtClean="0">
                <a:latin typeface="Arial" charset="0"/>
                <a:ea typeface="Arial" charset="0"/>
                <a:cs typeface="Arial" charset="0"/>
              </a:rPr>
              <a:t> follow-up</a:t>
            </a:r>
            <a:endParaRPr lang="it-IT" sz="3000" b="1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233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8954019-50C3-4F1B-AF38-C16B6EEA3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200" y="69701"/>
            <a:ext cx="10896000" cy="732954"/>
          </a:xfrm>
        </p:spPr>
        <p:txBody>
          <a:bodyPr/>
          <a:lstStyle/>
          <a:p>
            <a:pPr algn="ctr"/>
            <a:r>
              <a:rPr lang="en-CA" sz="4000" b="1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Obesity is a </a:t>
            </a:r>
            <a:r>
              <a:rPr lang="en-CA" sz="40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relapsing </a:t>
            </a:r>
            <a:r>
              <a:rPr lang="en-CA" sz="4000" b="1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disease</a:t>
            </a:r>
            <a:endParaRPr lang="en-GB" sz="40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A53E4AF-E0F6-4E60-BFB5-72164CB1F022}"/>
              </a:ext>
            </a:extLst>
          </p:cNvPr>
          <p:cNvGrpSpPr/>
          <p:nvPr/>
        </p:nvGrpSpPr>
        <p:grpSpPr>
          <a:xfrm>
            <a:off x="402059" y="1098472"/>
            <a:ext cx="6879688" cy="5213118"/>
            <a:chOff x="499107" y="1855816"/>
            <a:chExt cx="5432839" cy="4605307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34E5DF37-F0D7-467D-BD99-B9B217D2F42A}"/>
                </a:ext>
              </a:extLst>
            </p:cNvPr>
            <p:cNvCxnSpPr/>
            <p:nvPr/>
          </p:nvCxnSpPr>
          <p:spPr>
            <a:xfrm>
              <a:off x="1210084" y="3163025"/>
              <a:ext cx="4684183" cy="0"/>
            </a:xfrm>
            <a:prstGeom prst="line">
              <a:avLst/>
            </a:prstGeom>
            <a:ln w="19050">
              <a:solidFill>
                <a:srgbClr val="AEA79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C30C1487-C92E-4A36-BD3B-3D10E1017ACB}"/>
                </a:ext>
              </a:extLst>
            </p:cNvPr>
            <p:cNvSpPr/>
            <p:nvPr/>
          </p:nvSpPr>
          <p:spPr>
            <a:xfrm>
              <a:off x="1414446" y="2420775"/>
              <a:ext cx="607707" cy="2382521"/>
            </a:xfrm>
            <a:prstGeom prst="roundRect">
              <a:avLst>
                <a:gd name="adj" fmla="val 6048"/>
              </a:avLst>
            </a:prstGeom>
            <a:solidFill>
              <a:srgbClr val="E0DED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7BC25504-DF30-42CF-A529-A08CF1E004E6}"/>
                </a:ext>
              </a:extLst>
            </p:cNvPr>
            <p:cNvCxnSpPr/>
            <p:nvPr/>
          </p:nvCxnSpPr>
          <p:spPr>
            <a:xfrm>
              <a:off x="1204707" y="2441503"/>
              <a:ext cx="0" cy="237068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xmlns="" id="{D0EF4740-6F0E-4240-B35E-82ED17129D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04707" y="4804284"/>
              <a:ext cx="4693952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xmlns="" id="{6E4CFCCE-69D5-494C-AC5F-164F97AAAB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4392872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xmlns="" id="{950A8E70-AA4D-4204-BA7C-4C89FB25D7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3779787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9FAC4B5F-9372-441E-885D-658C657B48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3162667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03C48C64-D323-4D20-A60A-3746A691285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7903" y="2545549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xmlns="" id="{C190EE27-8581-4441-9E2E-217FC8D8DAC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366044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5D3E1888-BBDF-489D-8DB9-BA832192FDB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1979130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xmlns="" id="{BBBD7655-88A5-4CAF-A5B0-513AC9401CA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71725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xmlns="" id="{BAC19897-F0C8-46B4-9509-1021EE6D140C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446297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xmlns="" id="{990E4370-68EF-4AF3-B509-35FCD28DE06E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7534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xmlns="" id="{F176FA36-5F66-47E2-93A4-E4473F3530F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904386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xmlns="" id="{49ADBE87-5894-4E82-9963-A1F41A981D01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633431" y="4852686"/>
              <a:ext cx="96803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025FAC8B-3415-472D-BC2C-3B257FFA82CB}"/>
                </a:ext>
              </a:extLst>
            </p:cNvPr>
            <p:cNvSpPr/>
            <p:nvPr/>
          </p:nvSpPr>
          <p:spPr>
            <a:xfrm>
              <a:off x="1412075" y="2754149"/>
              <a:ext cx="4268502" cy="763413"/>
            </a:xfrm>
            <a:custGeom>
              <a:avLst/>
              <a:gdLst>
                <a:gd name="connsiteX0" fmla="*/ 0 w 5040034"/>
                <a:gd name="connsiteY0" fmla="*/ 481036 h 901399"/>
                <a:gd name="connsiteX1" fmla="*/ 723720 w 5040034"/>
                <a:gd name="connsiteY1" fmla="*/ 901399 h 901399"/>
                <a:gd name="connsiteX2" fmla="*/ 940402 w 5040034"/>
                <a:gd name="connsiteY2" fmla="*/ 528706 h 901399"/>
                <a:gd name="connsiteX3" fmla="*/ 1590449 w 5040034"/>
                <a:gd name="connsiteY3" fmla="*/ 420364 h 901399"/>
                <a:gd name="connsiteX4" fmla="*/ 5040034 w 5040034"/>
                <a:gd name="connsiteY4" fmla="*/ 0 h 901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0034" h="901399">
                  <a:moveTo>
                    <a:pt x="0" y="481036"/>
                  </a:moveTo>
                  <a:lnTo>
                    <a:pt x="723720" y="901399"/>
                  </a:lnTo>
                  <a:lnTo>
                    <a:pt x="940402" y="528706"/>
                  </a:lnTo>
                  <a:lnTo>
                    <a:pt x="1590449" y="420364"/>
                  </a:lnTo>
                  <a:lnTo>
                    <a:pt x="5040034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51C24F0A-6162-4F35-8B6B-8FB495427BF2}"/>
                </a:ext>
              </a:extLst>
            </p:cNvPr>
            <p:cNvSpPr/>
            <p:nvPr/>
          </p:nvSpPr>
          <p:spPr>
            <a:xfrm>
              <a:off x="1412075" y="3165217"/>
              <a:ext cx="3541792" cy="378036"/>
            </a:xfrm>
            <a:custGeom>
              <a:avLst/>
              <a:gdLst>
                <a:gd name="connsiteX0" fmla="*/ 0 w 4181972"/>
                <a:gd name="connsiteY0" fmla="*/ 0 h 446366"/>
                <a:gd name="connsiteX1" fmla="*/ 728053 w 4181972"/>
                <a:gd name="connsiteY1" fmla="*/ 446366 h 446366"/>
                <a:gd name="connsiteX2" fmla="*/ 2452846 w 4181972"/>
                <a:gd name="connsiteY2" fmla="*/ 316357 h 446366"/>
                <a:gd name="connsiteX3" fmla="*/ 4181972 w 4181972"/>
                <a:gd name="connsiteY3" fmla="*/ 143011 h 446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1972" h="446366">
                  <a:moveTo>
                    <a:pt x="0" y="0"/>
                  </a:moveTo>
                  <a:lnTo>
                    <a:pt x="728053" y="446366"/>
                  </a:lnTo>
                  <a:lnTo>
                    <a:pt x="2452846" y="316357"/>
                  </a:lnTo>
                  <a:lnTo>
                    <a:pt x="4181972" y="143011"/>
                  </a:lnTo>
                </a:path>
              </a:pathLst>
            </a:custGeom>
            <a:noFill/>
            <a:ln w="19050">
              <a:solidFill>
                <a:srgbClr val="007C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F70A5F65-D635-45B5-AC2B-94C7D61C1AED}"/>
                </a:ext>
              </a:extLst>
            </p:cNvPr>
            <p:cNvSpPr/>
            <p:nvPr/>
          </p:nvSpPr>
          <p:spPr>
            <a:xfrm>
              <a:off x="1412075" y="3161547"/>
              <a:ext cx="4272172" cy="524845"/>
            </a:xfrm>
            <a:custGeom>
              <a:avLst/>
              <a:gdLst>
                <a:gd name="connsiteX0" fmla="*/ 0 w 5044368"/>
                <a:gd name="connsiteY0" fmla="*/ 0 h 619711"/>
                <a:gd name="connsiteX1" fmla="*/ 728053 w 5044368"/>
                <a:gd name="connsiteY1" fmla="*/ 619711 h 619711"/>
                <a:gd name="connsiteX2" fmla="*/ 1590449 w 5044368"/>
                <a:gd name="connsiteY2" fmla="*/ 502703 h 619711"/>
                <a:gd name="connsiteX3" fmla="*/ 5044368 w 5044368"/>
                <a:gd name="connsiteY3" fmla="*/ 65004 h 619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368" h="619711">
                  <a:moveTo>
                    <a:pt x="0" y="0"/>
                  </a:moveTo>
                  <a:lnTo>
                    <a:pt x="728053" y="619711"/>
                  </a:lnTo>
                  <a:lnTo>
                    <a:pt x="1590449" y="502703"/>
                  </a:lnTo>
                  <a:lnTo>
                    <a:pt x="5044368" y="65004"/>
                  </a:lnTo>
                </a:path>
              </a:pathLst>
            </a:custGeom>
            <a:noFill/>
            <a:ln w="19050">
              <a:solidFill>
                <a:srgbClr val="739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83E68B00-7F6F-4370-BE09-C111717D5867}"/>
                </a:ext>
              </a:extLst>
            </p:cNvPr>
            <p:cNvSpPr/>
            <p:nvPr/>
          </p:nvSpPr>
          <p:spPr>
            <a:xfrm>
              <a:off x="1404735" y="3113834"/>
              <a:ext cx="2815083" cy="609263"/>
            </a:xfrm>
            <a:custGeom>
              <a:avLst/>
              <a:gdLst>
                <a:gd name="connsiteX0" fmla="*/ 0 w 3323909"/>
                <a:gd name="connsiteY0" fmla="*/ 52004 h 719386"/>
                <a:gd name="connsiteX1" fmla="*/ 728053 w 3323909"/>
                <a:gd name="connsiteY1" fmla="*/ 719386 h 719386"/>
                <a:gd name="connsiteX2" fmla="*/ 1170085 w 3323909"/>
                <a:gd name="connsiteY2" fmla="*/ 606711 h 719386"/>
                <a:gd name="connsiteX3" fmla="*/ 3323909 w 3323909"/>
                <a:gd name="connsiteY3" fmla="*/ 0 h 719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3909" h="719386">
                  <a:moveTo>
                    <a:pt x="0" y="52004"/>
                  </a:moveTo>
                  <a:lnTo>
                    <a:pt x="728053" y="719386"/>
                  </a:lnTo>
                  <a:lnTo>
                    <a:pt x="1170085" y="606711"/>
                  </a:lnTo>
                  <a:lnTo>
                    <a:pt x="3323909" y="0"/>
                  </a:lnTo>
                </a:path>
              </a:pathLst>
            </a:custGeom>
            <a:noFill/>
            <a:ln w="19050">
              <a:solidFill>
                <a:srgbClr val="E64A0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6CF9AF8F-4581-4695-94F6-819E528AD3ED}"/>
                </a:ext>
              </a:extLst>
            </p:cNvPr>
            <p:cNvSpPr/>
            <p:nvPr/>
          </p:nvSpPr>
          <p:spPr>
            <a:xfrm>
              <a:off x="1419416" y="3168887"/>
              <a:ext cx="2804072" cy="642293"/>
            </a:xfrm>
            <a:custGeom>
              <a:avLst/>
              <a:gdLst>
                <a:gd name="connsiteX0" fmla="*/ 0 w 3310909"/>
                <a:gd name="connsiteY0" fmla="*/ 0 h 758388"/>
                <a:gd name="connsiteX1" fmla="*/ 719386 w 3310909"/>
                <a:gd name="connsiteY1" fmla="*/ 758388 h 758388"/>
                <a:gd name="connsiteX2" fmla="*/ 1144084 w 3310909"/>
                <a:gd name="connsiteY2" fmla="*/ 541706 h 758388"/>
                <a:gd name="connsiteX3" fmla="*/ 1577449 w 3310909"/>
                <a:gd name="connsiteY3" fmla="*/ 390028 h 758388"/>
                <a:gd name="connsiteX4" fmla="*/ 2439845 w 3310909"/>
                <a:gd name="connsiteY4" fmla="*/ 190680 h 758388"/>
                <a:gd name="connsiteX5" fmla="*/ 3310909 w 3310909"/>
                <a:gd name="connsiteY5" fmla="*/ 130009 h 758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10909" h="758388">
                  <a:moveTo>
                    <a:pt x="0" y="0"/>
                  </a:moveTo>
                  <a:lnTo>
                    <a:pt x="719386" y="758388"/>
                  </a:lnTo>
                  <a:lnTo>
                    <a:pt x="1144084" y="541706"/>
                  </a:lnTo>
                  <a:lnTo>
                    <a:pt x="1577449" y="390028"/>
                  </a:lnTo>
                  <a:lnTo>
                    <a:pt x="2439845" y="190680"/>
                  </a:lnTo>
                  <a:lnTo>
                    <a:pt x="3310909" y="130009"/>
                  </a:lnTo>
                </a:path>
              </a:pathLst>
            </a:custGeom>
            <a:noFill/>
            <a:ln w="19050">
              <a:solidFill>
                <a:srgbClr val="D47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CF5645AB-5AC8-4D79-B4D4-9BD2BE4B38B3}"/>
                </a:ext>
              </a:extLst>
            </p:cNvPr>
            <p:cNvSpPr/>
            <p:nvPr/>
          </p:nvSpPr>
          <p:spPr>
            <a:xfrm>
              <a:off x="1415746" y="3161547"/>
              <a:ext cx="4268502" cy="756072"/>
            </a:xfrm>
            <a:custGeom>
              <a:avLst/>
              <a:gdLst>
                <a:gd name="connsiteX0" fmla="*/ 0 w 5040034"/>
                <a:gd name="connsiteY0" fmla="*/ 0 h 892731"/>
                <a:gd name="connsiteX1" fmla="*/ 728053 w 5040034"/>
                <a:gd name="connsiteY1" fmla="*/ 892731 h 892731"/>
                <a:gd name="connsiteX2" fmla="*/ 5040034 w 5040034"/>
                <a:gd name="connsiteY2" fmla="*/ 619711 h 89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034" h="892731">
                  <a:moveTo>
                    <a:pt x="0" y="0"/>
                  </a:moveTo>
                  <a:lnTo>
                    <a:pt x="728053" y="892731"/>
                  </a:lnTo>
                  <a:lnTo>
                    <a:pt x="5040034" y="619711"/>
                  </a:lnTo>
                </a:path>
              </a:pathLst>
            </a:custGeom>
            <a:noFill/>
            <a:ln w="19050">
              <a:solidFill>
                <a:srgbClr val="72B5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FB18AFCE-53AE-4810-A2A1-1466FECB1ECB}"/>
                </a:ext>
              </a:extLst>
            </p:cNvPr>
            <p:cNvSpPr/>
            <p:nvPr/>
          </p:nvSpPr>
          <p:spPr>
            <a:xfrm>
              <a:off x="1408406" y="3040429"/>
              <a:ext cx="4272172" cy="1049693"/>
            </a:xfrm>
            <a:custGeom>
              <a:avLst/>
              <a:gdLst>
                <a:gd name="connsiteX0" fmla="*/ 0 w 5044367"/>
                <a:gd name="connsiteY0" fmla="*/ 138677 h 1239424"/>
                <a:gd name="connsiteX1" fmla="*/ 728053 w 5044367"/>
                <a:gd name="connsiteY1" fmla="*/ 1239424 h 1239424"/>
                <a:gd name="connsiteX2" fmla="*/ 1594782 w 5044367"/>
                <a:gd name="connsiteY2" fmla="*/ 645714 h 1239424"/>
                <a:gd name="connsiteX3" fmla="*/ 5044367 w 5044367"/>
                <a:gd name="connsiteY3" fmla="*/ 0 h 1239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44367" h="1239424">
                  <a:moveTo>
                    <a:pt x="0" y="138677"/>
                  </a:moveTo>
                  <a:lnTo>
                    <a:pt x="728053" y="1239424"/>
                  </a:lnTo>
                  <a:lnTo>
                    <a:pt x="1594782" y="645714"/>
                  </a:lnTo>
                  <a:lnTo>
                    <a:pt x="5044367" y="0"/>
                  </a:lnTo>
                </a:path>
              </a:pathLst>
            </a:custGeom>
            <a:noFill/>
            <a:ln w="19050">
              <a:solidFill>
                <a:srgbClr val="8278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1B3F258B-5503-45F4-8743-D4891C92B06A}"/>
                </a:ext>
              </a:extLst>
            </p:cNvPr>
            <p:cNvSpPr/>
            <p:nvPr/>
          </p:nvSpPr>
          <p:spPr>
            <a:xfrm>
              <a:off x="1408406" y="3154206"/>
              <a:ext cx="3549132" cy="1064375"/>
            </a:xfrm>
            <a:custGeom>
              <a:avLst/>
              <a:gdLst>
                <a:gd name="connsiteX0" fmla="*/ 0 w 4190638"/>
                <a:gd name="connsiteY0" fmla="*/ 0 h 1243758"/>
                <a:gd name="connsiteX1" fmla="*/ 758388 w 4190638"/>
                <a:gd name="connsiteY1" fmla="*/ 1243758 h 1243758"/>
                <a:gd name="connsiteX2" fmla="*/ 1599116 w 4190638"/>
                <a:gd name="connsiteY2" fmla="*/ 732387 h 1243758"/>
                <a:gd name="connsiteX3" fmla="*/ 4190638 w 4190638"/>
                <a:gd name="connsiteY3" fmla="*/ 190681 h 1243758"/>
                <a:gd name="connsiteX0" fmla="*/ 0 w 4190638"/>
                <a:gd name="connsiteY0" fmla="*/ 0 h 1256759"/>
                <a:gd name="connsiteX1" fmla="*/ 736720 w 4190638"/>
                <a:gd name="connsiteY1" fmla="*/ 1256759 h 1256759"/>
                <a:gd name="connsiteX2" fmla="*/ 1599116 w 4190638"/>
                <a:gd name="connsiteY2" fmla="*/ 732387 h 1256759"/>
                <a:gd name="connsiteX3" fmla="*/ 4190638 w 4190638"/>
                <a:gd name="connsiteY3" fmla="*/ 190681 h 1256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638" h="1256759">
                  <a:moveTo>
                    <a:pt x="0" y="0"/>
                  </a:moveTo>
                  <a:lnTo>
                    <a:pt x="736720" y="1256759"/>
                  </a:lnTo>
                  <a:lnTo>
                    <a:pt x="1599116" y="732387"/>
                  </a:lnTo>
                  <a:lnTo>
                    <a:pt x="4190638" y="190681"/>
                  </a:lnTo>
                </a:path>
              </a:pathLst>
            </a:custGeom>
            <a:noFill/>
            <a:ln w="19050">
              <a:solidFill>
                <a:srgbClr val="EAA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62E44622-CE37-40F6-A027-20FED3CD0DAE}"/>
                </a:ext>
              </a:extLst>
            </p:cNvPr>
            <p:cNvSpPr/>
            <p:nvPr/>
          </p:nvSpPr>
          <p:spPr>
            <a:xfrm>
              <a:off x="2003272" y="3473517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9D349140-7DF0-4107-A4C7-11FB572FFBE9}"/>
                </a:ext>
              </a:extLst>
            </p:cNvPr>
            <p:cNvSpPr/>
            <p:nvPr/>
          </p:nvSpPr>
          <p:spPr>
            <a:xfrm>
              <a:off x="2180056" y="3185959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F729610D-51DA-41C3-9C22-755D5142607A}"/>
                </a:ext>
              </a:extLst>
            </p:cNvPr>
            <p:cNvSpPr/>
            <p:nvPr/>
          </p:nvSpPr>
          <p:spPr>
            <a:xfrm>
              <a:off x="2738124" y="3080801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AC48065C-A807-4CE1-A4FC-6AAEF6409A18}"/>
                </a:ext>
              </a:extLst>
            </p:cNvPr>
            <p:cNvSpPr/>
            <p:nvPr/>
          </p:nvSpPr>
          <p:spPr>
            <a:xfrm>
              <a:off x="5653050" y="2724786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AFFD2222-F94F-4D4B-AD62-5B77BC541152}"/>
                </a:ext>
              </a:extLst>
            </p:cNvPr>
            <p:cNvSpPr/>
            <p:nvPr/>
          </p:nvSpPr>
          <p:spPr>
            <a:xfrm>
              <a:off x="2004170" y="3513890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A70FFB99-1795-41D4-B490-5D0F13A3B3BD}"/>
                </a:ext>
              </a:extLst>
            </p:cNvPr>
            <p:cNvSpPr/>
            <p:nvPr/>
          </p:nvSpPr>
          <p:spPr>
            <a:xfrm>
              <a:off x="3455319" y="3403783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31C16373-7EEC-43A0-A0DF-4B93F468A351}"/>
                </a:ext>
              </a:extLst>
            </p:cNvPr>
            <p:cNvSpPr/>
            <p:nvPr/>
          </p:nvSpPr>
          <p:spPr>
            <a:xfrm>
              <a:off x="4929075" y="3257583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075EC1D1-E209-4FD5-9D12-A07B81E37DB4}"/>
                </a:ext>
              </a:extLst>
            </p:cNvPr>
            <p:cNvSpPr/>
            <p:nvPr/>
          </p:nvSpPr>
          <p:spPr>
            <a:xfrm>
              <a:off x="2003272" y="3649690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18BDFBC8-05E4-49A8-BD01-AFA0C097C176}"/>
                </a:ext>
              </a:extLst>
            </p:cNvPr>
            <p:cNvSpPr/>
            <p:nvPr/>
          </p:nvSpPr>
          <p:spPr>
            <a:xfrm>
              <a:off x="5648443" y="3191806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1122B53D-F9E6-4F10-8102-2B863817F663}"/>
                </a:ext>
              </a:extLst>
            </p:cNvPr>
            <p:cNvSpPr/>
            <p:nvPr/>
          </p:nvSpPr>
          <p:spPr>
            <a:xfrm>
              <a:off x="2000003" y="3702151"/>
              <a:ext cx="55053" cy="55055"/>
            </a:xfrm>
            <a:prstGeom prst="ellipse">
              <a:avLst/>
            </a:prstGeom>
            <a:solidFill>
              <a:srgbClr val="E64A0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xmlns="" id="{659AE364-8E94-4E8A-84A0-4241951C2040}"/>
                </a:ext>
              </a:extLst>
            </p:cNvPr>
            <p:cNvSpPr/>
            <p:nvPr/>
          </p:nvSpPr>
          <p:spPr>
            <a:xfrm>
              <a:off x="2374866" y="3602241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EDF08D79-4CF4-41E3-8184-83CC094A50ED}"/>
                </a:ext>
              </a:extLst>
            </p:cNvPr>
            <p:cNvSpPr/>
            <p:nvPr/>
          </p:nvSpPr>
          <p:spPr>
            <a:xfrm>
              <a:off x="3469102" y="3293677"/>
              <a:ext cx="55053" cy="55055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80D1332F-6C23-4941-A6A3-570ADEEB710A}"/>
                </a:ext>
              </a:extLst>
            </p:cNvPr>
            <p:cNvSpPr/>
            <p:nvPr/>
          </p:nvSpPr>
          <p:spPr>
            <a:xfrm>
              <a:off x="4194126" y="3084471"/>
              <a:ext cx="55053" cy="55055"/>
            </a:xfrm>
            <a:prstGeom prst="ellipse">
              <a:avLst/>
            </a:prstGeom>
            <a:solidFill>
              <a:srgbClr val="E64A0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xmlns="" id="{38DED9B2-3BD7-4741-977B-B86BC86F2392}"/>
                </a:ext>
              </a:extLst>
            </p:cNvPr>
            <p:cNvSpPr/>
            <p:nvPr/>
          </p:nvSpPr>
          <p:spPr>
            <a:xfrm>
              <a:off x="2000003" y="3778835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F602B30A-D67A-4B5A-8C6E-9556DD3E623B}"/>
                </a:ext>
              </a:extLst>
            </p:cNvPr>
            <p:cNvSpPr/>
            <p:nvPr/>
          </p:nvSpPr>
          <p:spPr>
            <a:xfrm>
              <a:off x="2733651" y="3472026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9C93B1A0-6DFF-4D20-8B9F-E1CE606789F0}"/>
                </a:ext>
              </a:extLst>
            </p:cNvPr>
            <p:cNvSpPr/>
            <p:nvPr/>
          </p:nvSpPr>
          <p:spPr>
            <a:xfrm>
              <a:off x="3469102" y="3297627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BD005BAE-5698-4A20-BED5-4C2AE640E5D5}"/>
                </a:ext>
              </a:extLst>
            </p:cNvPr>
            <p:cNvSpPr/>
            <p:nvPr/>
          </p:nvSpPr>
          <p:spPr>
            <a:xfrm>
              <a:off x="4192290" y="3252387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749BCDF8-A438-4367-874D-B4196D1ABAFE}"/>
                </a:ext>
              </a:extLst>
            </p:cNvPr>
            <p:cNvSpPr/>
            <p:nvPr/>
          </p:nvSpPr>
          <p:spPr>
            <a:xfrm>
              <a:off x="2000003" y="3888257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xmlns="" id="{D2CB5242-4492-490F-B191-390760AF1641}"/>
                </a:ext>
              </a:extLst>
            </p:cNvPr>
            <p:cNvSpPr/>
            <p:nvPr/>
          </p:nvSpPr>
          <p:spPr>
            <a:xfrm>
              <a:off x="5651711" y="3649689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7F5D6A97-D58C-4542-9179-00765586A461}"/>
                </a:ext>
              </a:extLst>
            </p:cNvPr>
            <p:cNvSpPr/>
            <p:nvPr/>
          </p:nvSpPr>
          <p:spPr>
            <a:xfrm>
              <a:off x="2000003" y="4064110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72A5D522-20C2-4FA1-A2DF-54F6899F38F5}"/>
                </a:ext>
              </a:extLst>
            </p:cNvPr>
            <p:cNvSpPr/>
            <p:nvPr/>
          </p:nvSpPr>
          <p:spPr>
            <a:xfrm>
              <a:off x="2733651" y="3565078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24F610D4-BB8D-487C-828C-4442DF7AE98C}"/>
                </a:ext>
              </a:extLst>
            </p:cNvPr>
            <p:cNvSpPr/>
            <p:nvPr/>
          </p:nvSpPr>
          <p:spPr>
            <a:xfrm>
              <a:off x="5648443" y="3019471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3E078AD4-FEF1-400B-B681-70449E1168F3}"/>
                </a:ext>
              </a:extLst>
            </p:cNvPr>
            <p:cNvSpPr/>
            <p:nvPr/>
          </p:nvSpPr>
          <p:spPr>
            <a:xfrm>
              <a:off x="2000003" y="417637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A916418B-5166-44D3-905B-86062A2981CD}"/>
                </a:ext>
              </a:extLst>
            </p:cNvPr>
            <p:cNvSpPr/>
            <p:nvPr/>
          </p:nvSpPr>
          <p:spPr>
            <a:xfrm>
              <a:off x="2733651" y="374358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8EB935DF-54DA-4D7C-A3A6-306750F498CF}"/>
                </a:ext>
              </a:extLst>
            </p:cNvPr>
            <p:cNvSpPr/>
            <p:nvPr/>
          </p:nvSpPr>
          <p:spPr>
            <a:xfrm>
              <a:off x="4929075" y="3302234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36360F5C-F431-439E-B5D5-41B425C0D6E3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CC2F6EAC-507F-4987-B76D-20E4C845DAE3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xmlns="" id="{0AB903F3-E927-4494-9E2B-239A5F1E24E4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7DD6B501-A1DD-4E98-AD38-FE9EEBB2A2E4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6B03FAFA-A7FE-4FE8-8818-9E2776B602CE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83457FD3-4D87-4E2D-8466-773543E8947E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A0415050-8450-4553-99EB-04BE8E220BF6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29C7962E-FB8C-4954-ABE2-F18A50B7D7DC}"/>
                </a:ext>
              </a:extLst>
            </p:cNvPr>
            <p:cNvSpPr/>
            <p:nvPr/>
          </p:nvSpPr>
          <p:spPr>
            <a:xfrm>
              <a:off x="1394622" y="3136751"/>
              <a:ext cx="55053" cy="55055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xmlns="" id="{9C8AD667-9769-4448-9B12-AA1A95750996}"/>
                </a:ext>
              </a:extLst>
            </p:cNvPr>
            <p:cNvSpPr txBox="1"/>
            <p:nvPr/>
          </p:nvSpPr>
          <p:spPr>
            <a:xfrm>
              <a:off x="2374867" y="5239052"/>
              <a:ext cx="26852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Years after intervention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xmlns="" id="{A7C211CB-7FE2-4E94-99CD-6B1C8587B45B}"/>
                </a:ext>
              </a:extLst>
            </p:cNvPr>
            <p:cNvSpPr txBox="1"/>
            <p:nvPr/>
          </p:nvSpPr>
          <p:spPr>
            <a:xfrm rot="16200000">
              <a:off x="-626265" y="3473535"/>
              <a:ext cx="25277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Mean weight change (%)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153FBA4E-F3E9-4394-B076-A88A67CDBFCE}"/>
                </a:ext>
              </a:extLst>
            </p:cNvPr>
            <p:cNvSpPr txBox="1"/>
            <p:nvPr/>
          </p:nvSpPr>
          <p:spPr>
            <a:xfrm>
              <a:off x="851419" y="4850092"/>
              <a:ext cx="934741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Pre-</a:t>
              </a:r>
              <a:b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treatmen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E836449D-3C37-48E4-A79C-BD5B0DB5E715}"/>
                </a:ext>
              </a:extLst>
            </p:cNvPr>
            <p:cNvSpPr txBox="1"/>
            <p:nvPr/>
          </p:nvSpPr>
          <p:spPr>
            <a:xfrm>
              <a:off x="1625843" y="4850092"/>
              <a:ext cx="934741" cy="420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Post-</a:t>
              </a:r>
              <a:b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treatment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xmlns="" id="{A36C79CC-4D78-48A0-9A06-327768D6B99C}"/>
                </a:ext>
              </a:extLst>
            </p:cNvPr>
            <p:cNvSpPr txBox="1"/>
            <p:nvPr/>
          </p:nvSpPr>
          <p:spPr>
            <a:xfrm>
              <a:off x="2521623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xmlns="" id="{8692911E-924C-4C7A-A7BA-844E19524F01}"/>
                </a:ext>
              </a:extLst>
            </p:cNvPr>
            <p:cNvSpPr txBox="1"/>
            <p:nvPr/>
          </p:nvSpPr>
          <p:spPr>
            <a:xfrm>
              <a:off x="3251687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1C8BD318-8FA9-426D-AA2E-F1E6C86F74CB}"/>
                </a:ext>
              </a:extLst>
            </p:cNvPr>
            <p:cNvSpPr txBox="1"/>
            <p:nvPr/>
          </p:nvSpPr>
          <p:spPr>
            <a:xfrm>
              <a:off x="3981750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917EF993-CBCE-4B2C-9DC4-92C247A36410}"/>
                </a:ext>
              </a:extLst>
            </p:cNvPr>
            <p:cNvSpPr txBox="1"/>
            <p:nvPr/>
          </p:nvSpPr>
          <p:spPr>
            <a:xfrm>
              <a:off x="4711813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xmlns="" id="{B9BBA1C4-357C-452C-A61B-7DD92A99088F}"/>
                </a:ext>
              </a:extLst>
            </p:cNvPr>
            <p:cNvSpPr txBox="1"/>
            <p:nvPr/>
          </p:nvSpPr>
          <p:spPr>
            <a:xfrm>
              <a:off x="5441878" y="4861191"/>
              <a:ext cx="490068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BF5D0FBA-6271-4D8B-A6C7-607CCFA15D8F}"/>
                </a:ext>
              </a:extLst>
            </p:cNvPr>
            <p:cNvSpPr txBox="1"/>
            <p:nvPr/>
          </p:nvSpPr>
          <p:spPr>
            <a:xfrm>
              <a:off x="644948" y="4292640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80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xmlns="" id="{DBA431B3-065B-43EC-8B86-DDA4B20EE859}"/>
                </a:ext>
              </a:extLst>
            </p:cNvPr>
            <p:cNvSpPr txBox="1"/>
            <p:nvPr/>
          </p:nvSpPr>
          <p:spPr>
            <a:xfrm>
              <a:off x="644948" y="3675522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90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xmlns="" id="{C69EF7E9-4310-4715-9782-A52379673CEB}"/>
                </a:ext>
              </a:extLst>
            </p:cNvPr>
            <p:cNvSpPr txBox="1"/>
            <p:nvPr/>
          </p:nvSpPr>
          <p:spPr>
            <a:xfrm>
              <a:off x="644948" y="3058402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100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F3E28B36-969A-4E63-A947-3F00C71E8027}"/>
                </a:ext>
              </a:extLst>
            </p:cNvPr>
            <p:cNvSpPr txBox="1"/>
            <p:nvPr/>
          </p:nvSpPr>
          <p:spPr>
            <a:xfrm>
              <a:off x="644948" y="2441283"/>
              <a:ext cx="490068" cy="2358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110</a:t>
              </a: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xmlns="" id="{45447471-E24F-4B58-96C1-FCB99E4290C1}"/>
                </a:ext>
              </a:extLst>
            </p:cNvPr>
            <p:cNvSpPr/>
            <p:nvPr/>
          </p:nvSpPr>
          <p:spPr>
            <a:xfrm>
              <a:off x="1410019" y="5746024"/>
              <a:ext cx="90133" cy="90133"/>
            </a:xfrm>
            <a:prstGeom prst="ellipse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xmlns="" id="{AF0C835B-1DE4-4115-8717-6231F6BAE0B4}"/>
                </a:ext>
              </a:extLst>
            </p:cNvPr>
            <p:cNvSpPr/>
            <p:nvPr/>
          </p:nvSpPr>
          <p:spPr>
            <a:xfrm>
              <a:off x="1410918" y="5932479"/>
              <a:ext cx="90133" cy="90133"/>
            </a:xfrm>
            <a:prstGeom prst="ellipse">
              <a:avLst/>
            </a:prstGeom>
            <a:solidFill>
              <a:srgbClr val="007C9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xmlns="" id="{B6D5EC31-7E91-4FAD-9181-288D6B9544F1}"/>
                </a:ext>
              </a:extLst>
            </p:cNvPr>
            <p:cNvSpPr/>
            <p:nvPr/>
          </p:nvSpPr>
          <p:spPr>
            <a:xfrm>
              <a:off x="1410019" y="6118935"/>
              <a:ext cx="90133" cy="90133"/>
            </a:xfrm>
            <a:prstGeom prst="ellipse">
              <a:avLst/>
            </a:prstGeom>
            <a:solidFill>
              <a:srgbClr val="739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B1E70622-9F43-4B2C-A508-5866FE5460F2}"/>
                </a:ext>
              </a:extLst>
            </p:cNvPr>
            <p:cNvSpPr/>
            <p:nvPr/>
          </p:nvSpPr>
          <p:spPr>
            <a:xfrm>
              <a:off x="1406751" y="6305390"/>
              <a:ext cx="90133" cy="90133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xmlns="" id="{746E9066-FB47-464D-945E-B56C39C18E92}"/>
                </a:ext>
              </a:extLst>
            </p:cNvPr>
            <p:cNvSpPr/>
            <p:nvPr/>
          </p:nvSpPr>
          <p:spPr>
            <a:xfrm>
              <a:off x="3980125" y="5760278"/>
              <a:ext cx="90133" cy="90133"/>
            </a:xfrm>
            <a:prstGeom prst="ellipse">
              <a:avLst/>
            </a:prstGeom>
            <a:solidFill>
              <a:srgbClr val="D476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xmlns="" id="{5545593C-546D-49E0-9330-748540F86969}"/>
                </a:ext>
              </a:extLst>
            </p:cNvPr>
            <p:cNvSpPr/>
            <p:nvPr/>
          </p:nvSpPr>
          <p:spPr>
            <a:xfrm>
              <a:off x="3980125" y="5946732"/>
              <a:ext cx="90133" cy="90133"/>
            </a:xfrm>
            <a:prstGeom prst="ellipse">
              <a:avLst/>
            </a:prstGeom>
            <a:solidFill>
              <a:srgbClr val="72B5C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xmlns="" id="{481780EA-2D5A-44E9-8EE5-19C56554C7CD}"/>
                </a:ext>
              </a:extLst>
            </p:cNvPr>
            <p:cNvSpPr/>
            <p:nvPr/>
          </p:nvSpPr>
          <p:spPr>
            <a:xfrm>
              <a:off x="3980125" y="6133188"/>
              <a:ext cx="90133" cy="90133"/>
            </a:xfrm>
            <a:prstGeom prst="ellipse">
              <a:avLst/>
            </a:prstGeom>
            <a:solidFill>
              <a:srgbClr val="82786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xmlns="" id="{9A41CC83-F15E-48E2-8BA4-80488AE46CF9}"/>
                </a:ext>
              </a:extLst>
            </p:cNvPr>
            <p:cNvSpPr/>
            <p:nvPr/>
          </p:nvSpPr>
          <p:spPr>
            <a:xfrm>
              <a:off x="3980125" y="6319643"/>
              <a:ext cx="90133" cy="90133"/>
            </a:xfrm>
            <a:prstGeom prst="ellipse">
              <a:avLst/>
            </a:prstGeom>
            <a:solidFill>
              <a:srgbClr val="EAAB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333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5431BC0C-E32D-4F6F-8F19-22C4325B2931}"/>
                </a:ext>
              </a:extLst>
            </p:cNvPr>
            <p:cNvSpPr txBox="1"/>
            <p:nvPr/>
          </p:nvSpPr>
          <p:spPr>
            <a:xfrm>
              <a:off x="1580056" y="568288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Stalonas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1984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xmlns="" id="{DACDBB1B-DFB7-442E-A3C3-521CB873AE90}"/>
                </a:ext>
              </a:extLst>
            </p:cNvPr>
            <p:cNvSpPr txBox="1"/>
            <p:nvPr/>
          </p:nvSpPr>
          <p:spPr>
            <a:xfrm>
              <a:off x="1580056" y="586779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Schwarzfuchs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2012)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xmlns="" id="{00014953-D9FD-4C53-A5EA-B6878F10E00C}"/>
                </a:ext>
              </a:extLst>
            </p:cNvPr>
            <p:cNvSpPr txBox="1"/>
            <p:nvPr/>
          </p:nvSpPr>
          <p:spPr>
            <a:xfrm>
              <a:off x="1580056" y="6052702"/>
              <a:ext cx="189304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Olszanecka-Glinianowicz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2012)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B75F01F1-B131-4FD0-BC36-B74A08E95065}"/>
                </a:ext>
              </a:extLst>
            </p:cNvPr>
            <p:cNvSpPr txBox="1"/>
            <p:nvPr/>
          </p:nvSpPr>
          <p:spPr>
            <a:xfrm>
              <a:off x="1580056" y="6237610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Vogels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2005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1AB934C5-8CB3-4E42-8F6E-5BB027B1B09E}"/>
                </a:ext>
              </a:extLst>
            </p:cNvPr>
            <p:cNvSpPr txBox="1"/>
            <p:nvPr/>
          </p:nvSpPr>
          <p:spPr>
            <a:xfrm>
              <a:off x="4153430" y="5690954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Cooper (2010)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9EE10F9E-FDF5-4A2C-9DCF-37DB926C8524}"/>
                </a:ext>
              </a:extLst>
            </p:cNvPr>
            <p:cNvSpPr txBox="1"/>
            <p:nvPr/>
          </p:nvSpPr>
          <p:spPr>
            <a:xfrm>
              <a:off x="4153430" y="5875863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Pekkarinen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1997)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580A2BF5-8C5F-45F3-B919-49299FAEF4CC}"/>
                </a:ext>
              </a:extLst>
            </p:cNvPr>
            <p:cNvSpPr txBox="1"/>
            <p:nvPr/>
          </p:nvSpPr>
          <p:spPr>
            <a:xfrm>
              <a:off x="4153430" y="6060772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Wadden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1989)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xmlns="" id="{C7CA3801-A304-46F1-A8C5-E327DCF41EF3}"/>
                </a:ext>
              </a:extLst>
            </p:cNvPr>
            <p:cNvSpPr txBox="1"/>
            <p:nvPr/>
          </p:nvSpPr>
          <p:spPr>
            <a:xfrm>
              <a:off x="4153430" y="6245679"/>
              <a:ext cx="142060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Hensrud</a:t>
              </a:r>
              <a:r>
                <a: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(1994)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xmlns="" id="{A662F449-AEB4-45AF-A394-D09741537B05}"/>
                </a:ext>
              </a:extLst>
            </p:cNvPr>
            <p:cNvSpPr/>
            <p:nvPr/>
          </p:nvSpPr>
          <p:spPr>
            <a:xfrm>
              <a:off x="1793830" y="1855816"/>
              <a:ext cx="351570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Maintenance of weight loss</a:t>
              </a:r>
            </a:p>
          </p:txBody>
        </p:sp>
      </p:grpSp>
      <p:sp>
        <p:nvSpPr>
          <p:cNvPr id="111" name="Slide Number Placeholder 1">
            <a:extLst>
              <a:ext uri="{FF2B5EF4-FFF2-40B4-BE49-F238E27FC236}">
                <a16:creationId xmlns:a16="http://schemas.microsoft.com/office/drawing/2014/main" xmlns="" id="{35A9B98E-2BFD-4D48-86EC-2BC5E2BE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324000"/>
            <a:ext cx="324000" cy="12585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xmlns="" id="{CFFC31D7-4E22-4A6F-A8BD-D96CCC58F9EB}"/>
              </a:ext>
            </a:extLst>
          </p:cNvPr>
          <p:cNvSpPr/>
          <p:nvPr/>
        </p:nvSpPr>
        <p:spPr>
          <a:xfrm>
            <a:off x="7520280" y="5798875"/>
            <a:ext cx="44824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ordmo et al. </a:t>
            </a:r>
            <a:r>
              <a:rPr kumimoji="0" lang="da-DK" b="1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bes</a:t>
            </a:r>
            <a:r>
              <a:rPr kumimoji="0" lang="da-DK" b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Rev,</a:t>
            </a:r>
            <a:r>
              <a:rPr kumimoji="0" lang="da-DK" b="1" u="none" strike="noStrike" kern="1200" cap="none" spc="0" normalizeH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2019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1" u="none" strike="noStrike" kern="1200" cap="none" spc="0" normalizeH="0" baseline="0" noProof="0" dirty="0" err="1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Fothergill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E et al </a:t>
            </a:r>
            <a:r>
              <a:rPr kumimoji="0" lang="da-DK" b="1" u="none" strike="noStrike" kern="1200" cap="none" spc="0" normalizeH="0" baseline="0" noProof="0" dirty="0" err="1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besity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,</a:t>
            </a:r>
            <a:r>
              <a:rPr kumimoji="0" lang="da-DK" b="1" u="none" strike="noStrike" kern="1200" cap="none" spc="0" normalizeH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2016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1" u="none" strike="noStrike" kern="1200" cap="none" spc="0" normalizeH="0" baseline="0" noProof="0" dirty="0" err="1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umithran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P et al N </a:t>
            </a:r>
            <a:r>
              <a:rPr kumimoji="0" lang="da-DK" b="1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ngl J </a:t>
            </a:r>
            <a:r>
              <a:rPr kumimoji="0" lang="da-DK" b="1" u="none" strike="noStrike" kern="1200" cap="none" spc="0" normalizeH="0" baseline="0" noProof="0" dirty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, 2011</a:t>
            </a:r>
            <a:endParaRPr kumimoji="0" lang="da-DK" b="1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123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51AD19E-2FBB-3D41-9B05-852CC2058D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5076" y="2042294"/>
            <a:ext cx="2794000" cy="2946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58AE4AF-DDA8-134C-8B0F-567F5D1082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766" y="2048049"/>
            <a:ext cx="3014133" cy="27601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C89E7BE-32F5-9745-B7FE-9F137CD560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2403" y="2048685"/>
            <a:ext cx="3285067" cy="299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751" y="351447"/>
            <a:ext cx="11345333" cy="520700"/>
          </a:xfrm>
        </p:spPr>
        <p:txBody>
          <a:bodyPr/>
          <a:lstStyle/>
          <a:p>
            <a:r>
              <a:rPr lang="en-GB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Bariatric surgery is </a:t>
            </a:r>
            <a:r>
              <a:rPr lang="en-GB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also associated </a:t>
            </a:r>
            <a:r>
              <a:rPr lang="en-GB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with </a:t>
            </a:r>
            <a:r>
              <a:rPr lang="en-GB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weight re-gain</a:t>
            </a:r>
            <a:endParaRPr lang="en-GB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138984" y="2544014"/>
            <a:ext cx="0" cy="2820005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1128099" y="5364019"/>
            <a:ext cx="8534400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1059760" y="2549529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1059760" y="3115998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1059760" y="3676491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1059760" y="4236985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1059760" y="4797478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1059760" y="53643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rot="5400000" flipH="1">
            <a:off x="110040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rot="5400000" flipH="1">
            <a:off x="251264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rot="5400000" flipH="1">
            <a:off x="391472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rot="5400000" flipH="1">
            <a:off x="532696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5400000" flipH="1">
            <a:off x="673920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rot="5400000" flipH="1">
            <a:off x="815144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rot="5400000" flipH="1">
            <a:off x="9563680" y="5415122"/>
            <a:ext cx="79224" cy="0"/>
          </a:xfrm>
          <a:prstGeom prst="line">
            <a:avLst/>
          </a:prstGeom>
          <a:ln w="19050">
            <a:solidFill>
              <a:srgbClr val="0019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792636" y="545473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01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194716" y="545473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04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96796" y="544457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06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998876" y="543441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09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00956" y="543441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1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803036" y="543441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14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9205116" y="5434415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17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-562491" y="3823603"/>
            <a:ext cx="2029723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 Weight change (%)</a:t>
            </a:r>
          </a:p>
        </p:txBody>
      </p:sp>
      <p:sp>
        <p:nvSpPr>
          <p:cNvPr id="41" name="Rectangle 1"/>
          <p:cNvSpPr>
            <a:spLocks noChangeArrowheads="1"/>
          </p:cNvSpPr>
          <p:nvPr/>
        </p:nvSpPr>
        <p:spPr bwMode="auto">
          <a:xfrm>
            <a:off x="5100932" y="5794613"/>
            <a:ext cx="107112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Follow-u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74806" y="4621529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-60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74806" y="4062729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-40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74806" y="3514089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-20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74806" y="2955289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0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74806" y="2396489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74746" y="5191626"/>
            <a:ext cx="73914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33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-80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984B4B0-522B-844B-9775-8D960158CD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923" y="3014035"/>
            <a:ext cx="6519333" cy="1354667"/>
          </a:xfrm>
          <a:prstGeom prst="rect">
            <a:avLst/>
          </a:prstGeom>
        </p:spPr>
      </p:pic>
      <p:sp>
        <p:nvSpPr>
          <p:cNvPr id="52" name="Rettangolo 51">
            <a:extLst>
              <a:ext uri="{FF2B5EF4-FFF2-40B4-BE49-F238E27FC236}">
                <a16:creationId xmlns:a16="http://schemas.microsoft.com/office/drawing/2014/main" xmlns="" id="{F38E996B-B082-4CA2-8566-6EE213727B41}"/>
              </a:ext>
            </a:extLst>
          </p:cNvPr>
          <p:cNvSpPr/>
          <p:nvPr/>
        </p:nvSpPr>
        <p:spPr>
          <a:xfrm>
            <a:off x="8214440" y="6115727"/>
            <a:ext cx="115694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Adams </a:t>
            </a:r>
            <a:r>
              <a:rPr lang="da-DK" b="1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et </a:t>
            </a:r>
            <a:r>
              <a:rPr lang="da-DK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al, </a:t>
            </a:r>
            <a:r>
              <a:rPr lang="da-DK" b="1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N Engl J Med </a:t>
            </a:r>
            <a:r>
              <a:rPr lang="da-DK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2017</a:t>
            </a:r>
          </a:p>
          <a:p>
            <a:r>
              <a:rPr lang="fr-FR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Cooper </a:t>
            </a:r>
            <a:r>
              <a:rPr lang="fr-FR" b="1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TC et </a:t>
            </a:r>
            <a:r>
              <a:rPr lang="fr-FR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al, </a:t>
            </a:r>
            <a:r>
              <a:rPr lang="fr-FR" b="1" dirty="0" err="1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Obes</a:t>
            </a:r>
            <a:r>
              <a:rPr lang="fr-FR" b="1" dirty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fr-FR" b="1" dirty="0" err="1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Surg</a:t>
            </a:r>
            <a:r>
              <a:rPr lang="fr-FR" b="1" dirty="0" smtClean="0">
                <a:solidFill>
                  <a:srgbClr val="001965"/>
                </a:solidFill>
                <a:latin typeface="Arial" charset="0"/>
                <a:ea typeface="Arial" charset="0"/>
                <a:cs typeface="Arial" charset="0"/>
              </a:rPr>
              <a:t> 2015</a:t>
            </a:r>
            <a:endParaRPr lang="da-DK" b="1" dirty="0">
              <a:solidFill>
                <a:srgbClr val="001965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7" name="Insert title here">
            <a:extLst>
              <a:ext uri="{FF2B5EF4-FFF2-40B4-BE49-F238E27FC236}">
                <a16:creationId xmlns:a16="http://schemas.microsoft.com/office/drawing/2014/main" xmlns="" id="{9FBC6FA1-440E-472E-ABD5-527CB5836325}"/>
              </a:ext>
            </a:extLst>
          </p:cNvPr>
          <p:cNvSpPr/>
          <p:nvPr/>
        </p:nvSpPr>
        <p:spPr>
          <a:xfrm>
            <a:off x="9051641" y="1198665"/>
            <a:ext cx="3285067" cy="12670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Weight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loss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maintenance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at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12y</a:t>
            </a:r>
            <a:r>
              <a:rPr lang="it-IT" sz="1600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:</a:t>
            </a:r>
            <a:endParaRPr lang="it-IT" sz="1600" baseline="30000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93% 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of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patients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≥ 10% W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70%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of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patients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≥ 20% W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40% 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of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patients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≥ 30% WL</a:t>
            </a:r>
            <a:endParaRPr lang="en-GB" sz="16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8" name="Insert title here">
            <a:extLst>
              <a:ext uri="{FF2B5EF4-FFF2-40B4-BE49-F238E27FC236}">
                <a16:creationId xmlns:a16="http://schemas.microsoft.com/office/drawing/2014/main" xmlns="" id="{4B9AE152-FF70-4AB1-8880-04A91AB4385F}"/>
              </a:ext>
            </a:extLst>
          </p:cNvPr>
          <p:cNvSpPr/>
          <p:nvPr/>
        </p:nvSpPr>
        <p:spPr>
          <a:xfrm>
            <a:off x="9261067" y="3349169"/>
            <a:ext cx="2699140" cy="1146413"/>
          </a:xfrm>
          <a:prstGeom prst="roundRect">
            <a:avLst/>
          </a:prstGeom>
          <a:noFill/>
          <a:ln w="12700" cap="flat">
            <a:solidFill>
              <a:schemeClr val="tx2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25400" tIns="25400" rIns="25400" bIns="25400" numCol="1" anchor="t">
            <a:spAutoFit/>
          </a:bodyPr>
          <a:lstStyle>
            <a:lvl1pPr>
              <a:defRPr>
                <a:latin typeface="Montserrat Bold"/>
                <a:ea typeface="Montserrat Bold"/>
                <a:cs typeface="Montserrat Bold"/>
                <a:sym typeface="Montserrat Bold"/>
              </a:defRPr>
            </a:lvl1pPr>
          </a:lstStyle>
          <a:p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1/3 </a:t>
            </a:r>
            <a:r>
              <a:rPr lang="it-IT" sz="1600" b="1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patients</a:t>
            </a: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experienced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b="1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weight</a:t>
            </a:r>
            <a:r>
              <a:rPr lang="it-IT" sz="1600" b="1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b="1" dirty="0" err="1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regain</a:t>
            </a:r>
            <a:endParaRPr lang="it-IT" sz="1600" b="1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it-IT" sz="1600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(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≥ 25 weight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loss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) from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postoperative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dirty="0" err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year</a:t>
            </a:r>
            <a:r>
              <a:rPr lang="it-IT" sz="160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it-IT" sz="1600" dirty="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1</a:t>
            </a:r>
            <a:endParaRPr lang="en-GB" sz="1600" baseline="30000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9" name="TextBox 48">
            <a:extLst>
              <a:ext uri="{FF2B5EF4-FFF2-40B4-BE49-F238E27FC236}">
                <a16:creationId xmlns:a16="http://schemas.microsoft.com/office/drawing/2014/main" xmlns="" id="{889E0BA8-021C-4990-9A5B-9BD512D12FB0}"/>
              </a:ext>
            </a:extLst>
          </p:cNvPr>
          <p:cNvSpPr txBox="1"/>
          <p:nvPr/>
        </p:nvSpPr>
        <p:spPr>
          <a:xfrm>
            <a:off x="9205116" y="4534710"/>
            <a:ext cx="2975923" cy="371384"/>
          </a:xfrm>
          <a:prstGeom prst="rect">
            <a:avLst/>
          </a:prstGeom>
          <a:noFill/>
        </p:spPr>
        <p:txBody>
          <a:bodyPr wrap="none" lIns="120227" tIns="61976" rIns="120227" bIns="61976" rtlCol="0" anchor="b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Dots observed in a post-operative follow up period of 7±5 years</a:t>
            </a:r>
            <a:br>
              <a:rPr lang="en-GB" sz="8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r>
              <a:rPr lang="en-GB" sz="8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n=300 patients who underwent Roux-en-Y gastric bypass (RYBG)</a:t>
            </a:r>
          </a:p>
        </p:txBody>
      </p:sp>
      <p:grpSp>
        <p:nvGrpSpPr>
          <p:cNvPr id="15" name="Gruppo 14"/>
          <p:cNvGrpSpPr/>
          <p:nvPr/>
        </p:nvGrpSpPr>
        <p:grpSpPr>
          <a:xfrm>
            <a:off x="2613316" y="1924427"/>
            <a:ext cx="5601124" cy="336173"/>
            <a:chOff x="2613316" y="1924427"/>
            <a:chExt cx="5601124" cy="336173"/>
          </a:xfrm>
        </p:grpSpPr>
        <p:sp>
          <p:nvSpPr>
            <p:cNvPr id="13" name="Rettangolo 12"/>
            <p:cNvSpPr/>
            <p:nvPr/>
          </p:nvSpPr>
          <p:spPr>
            <a:xfrm>
              <a:off x="3061832" y="1930400"/>
              <a:ext cx="3708694" cy="3302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13316" y="1924427"/>
              <a:ext cx="5601124" cy="300743"/>
              <a:chOff x="4582614" y="1136666"/>
              <a:chExt cx="4200843" cy="225557"/>
            </a:xfrm>
          </p:grpSpPr>
          <p:grpSp>
            <p:nvGrpSpPr>
              <p:cNvPr id="60" name="Group 59"/>
              <p:cNvGrpSpPr/>
              <p:nvPr/>
            </p:nvGrpSpPr>
            <p:grpSpPr>
              <a:xfrm>
                <a:off x="4637304" y="1136666"/>
                <a:ext cx="4146153" cy="225557"/>
                <a:chOff x="2972359" y="1308647"/>
                <a:chExt cx="4146153" cy="225557"/>
              </a:xfrm>
            </p:grpSpPr>
            <p:sp>
              <p:nvSpPr>
                <p:cNvPr id="53" name="TextBox 52"/>
                <p:cNvSpPr txBox="1"/>
                <p:nvPr/>
              </p:nvSpPr>
              <p:spPr>
                <a:xfrm>
                  <a:off x="5799972" y="1311114"/>
                  <a:ext cx="1318540" cy="223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GB" sz="1333" dirty="0">
                      <a:solidFill>
                        <a:srgbClr val="001965"/>
                      </a:solidFill>
                      <a:latin typeface="Arial" charset="0"/>
                      <a:ea typeface="Arial" charset="0"/>
                      <a:cs typeface="Arial" charset="0"/>
                    </a:rPr>
                    <a:t>12-year follow-up</a:t>
                  </a:r>
                </a:p>
              </p:txBody>
            </p:sp>
            <p:sp>
              <p:nvSpPr>
                <p:cNvPr id="54" name="TextBox 53"/>
                <p:cNvSpPr txBox="1"/>
                <p:nvPr/>
              </p:nvSpPr>
              <p:spPr>
                <a:xfrm>
                  <a:off x="4386166" y="1311114"/>
                  <a:ext cx="1318540" cy="223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GB" sz="1333" dirty="0">
                      <a:solidFill>
                        <a:srgbClr val="001965"/>
                      </a:solidFill>
                      <a:latin typeface="Arial" charset="0"/>
                      <a:ea typeface="Arial" charset="0"/>
                      <a:cs typeface="Arial" charset="0"/>
                    </a:rPr>
                    <a:t>6-year follow-up</a:t>
                  </a: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2972359" y="1308647"/>
                  <a:ext cx="1318540" cy="223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12191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GB" sz="1333" dirty="0">
                      <a:solidFill>
                        <a:srgbClr val="001965"/>
                      </a:solidFill>
                      <a:latin typeface="Arial" charset="0"/>
                      <a:ea typeface="Arial" charset="0"/>
                      <a:cs typeface="Arial" charset="0"/>
                    </a:rPr>
                    <a:t>2-year follow-up</a:t>
                  </a:r>
                </a:p>
              </p:txBody>
            </p:sp>
          </p:grpSp>
          <p:sp>
            <p:nvSpPr>
              <p:cNvPr id="10" name="Oval 9"/>
              <p:cNvSpPr/>
              <p:nvPr/>
            </p:nvSpPr>
            <p:spPr>
              <a:xfrm>
                <a:off x="4582614" y="1229407"/>
                <a:ext cx="54690" cy="54690"/>
              </a:xfrm>
              <a:prstGeom prst="ellipse">
                <a:avLst/>
              </a:prstGeom>
              <a:solidFill>
                <a:srgbClr val="72B5CC"/>
              </a:solidFill>
              <a:ln w="952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n-GB" sz="240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50" name="Oval 49"/>
              <p:cNvSpPr/>
              <p:nvPr/>
            </p:nvSpPr>
            <p:spPr>
              <a:xfrm>
                <a:off x="5996421" y="1232431"/>
                <a:ext cx="54690" cy="54690"/>
              </a:xfrm>
              <a:prstGeom prst="ellipse">
                <a:avLst/>
              </a:prstGeom>
              <a:solidFill>
                <a:srgbClr val="007C91"/>
              </a:solidFill>
              <a:ln w="9525">
                <a:solidFill>
                  <a:srgbClr val="007C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n-GB" sz="240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51" name="Oval 50"/>
              <p:cNvSpPr/>
              <p:nvPr/>
            </p:nvSpPr>
            <p:spPr>
              <a:xfrm>
                <a:off x="7410227" y="1229407"/>
                <a:ext cx="54690" cy="54690"/>
              </a:xfrm>
              <a:prstGeom prst="ellipse">
                <a:avLst/>
              </a:prstGeom>
              <a:solidFill>
                <a:srgbClr val="009EDA"/>
              </a:solidFill>
              <a:ln w="9525">
                <a:solidFill>
                  <a:srgbClr val="009E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n-GB" sz="240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6679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10.xml><?xml version="1.0" encoding="utf-8"?>
<a:theme xmlns:a="http://schemas.openxmlformats.org/drawingml/2006/main" name="1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Novo Nordisk template 2023.pptx" id="{A4B325A4-D7E1-4A28-875F-ABE97A165AA8}" vid="{65125BF6-BC4A-4759-A16E-02C6E997CB83}"/>
    </a:ext>
  </a:extLst>
</a:theme>
</file>

<file path=ppt/theme/theme11.xml><?xml version="1.0" encoding="utf-8"?>
<a:theme xmlns:a="http://schemas.openxmlformats.org/drawingml/2006/main" name="6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2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Novo Nordisk template 2023.pptx" id="{A4B325A4-D7E1-4A28-875F-ABE97A165AA8}" vid="{65125BF6-BC4A-4759-A16E-02C6E997CB83}"/>
    </a:ext>
  </a:extLst>
</a:theme>
</file>

<file path=ppt/theme/theme13.xml><?xml version="1.0" encoding="utf-8"?>
<a:theme xmlns:a="http://schemas.openxmlformats.org/drawingml/2006/main" name="Office-tema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Nordisk No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ovo Nordisk Congress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3.xml><?xml version="1.0" encoding="utf-8"?>
<a:theme xmlns:a="http://schemas.openxmlformats.org/drawingml/2006/main" name="Novo Nordisk One pager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20210624_Novo Nordisk One pager (003).potx" id="{FF5F2DB1-D032-43B1-BC48-A799474BC236}" vid="{DEC12867-40BC-4652-97D9-A9A91619B8E7}"/>
    </a:ext>
  </a:extLst>
</a:theme>
</file>

<file path=ppt/theme/theme4.xml><?xml version="1.0" encoding="utf-8"?>
<a:theme xmlns:a="http://schemas.openxmlformats.org/drawingml/2006/main" name="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name="NN_Neutral_16-9_Beta2.potx" id="{21201BA1-2AA5-4963-A710-9949ABD9F861}" vid="{91C5D067-80C1-4372-80D3-7F673B84C551}"/>
    </a:ext>
  </a:extLst>
</a:theme>
</file>

<file path=ppt/theme/theme5.xml><?xml version="1.0" encoding="utf-8"?>
<a:theme xmlns:a="http://schemas.openxmlformats.org/drawingml/2006/main" name="2020 NN Sema Obesity CSD">
  <a:themeElements>
    <a:clrScheme name="NN 2020 Rebrand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">
      <a:majorFont>
        <a:latin typeface="Apis"/>
        <a:ea typeface=""/>
        <a:cs typeface=""/>
      </a:majorFont>
      <a:minorFont>
        <a:latin typeface="Ap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ccent 1">
      <a:srgbClr val="001965"/>
    </a:custClr>
    <a:custClr name="Accent 2">
      <a:srgbClr val="005AD2"/>
    </a:custClr>
    <a:custClr name="Accent 3">
      <a:srgbClr val="3B97DE"/>
    </a:custClr>
    <a:custClr name="Accent 4">
      <a:srgbClr val="EEA7BF"/>
    </a:custClr>
    <a:custClr name="Accent 5">
      <a:srgbClr val="2A918B"/>
    </a:custClr>
    <a:custClr name="Accent 6">
      <a:srgbClr val="939AA7"/>
    </a:custClr>
    <a:custClr name="Light 2">
      <a:srgbClr val="CCC5BD"/>
    </a:custClr>
    <a:custClr name="Dark 1">
      <a:srgbClr val="000000"/>
    </a:custClr>
    <a:custClr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99BDED"/>
    </a:custClr>
    <a:custClr name="Accent 3">
      <a:srgbClr val="B1D5F2"/>
    </a:custClr>
    <a:custClr name="Accent 4">
      <a:srgbClr val="F8DCE5"/>
    </a:custClr>
    <a:custClr name="Accent 5">
      <a:srgbClr val="AAD3D1"/>
    </a:custClr>
    <a:custClr name="Accent 6">
      <a:srgbClr val="D4D7DC"/>
    </a:custClr>
    <a:custClr name="Light 2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CCDEF6"/>
    </a:custClr>
    <a:custClr name="Accent 3">
      <a:srgbClr val="D8EAF8"/>
    </a:custClr>
    <a:custClr name="Accent 4">
      <a:srgbClr val="FCEDF2"/>
    </a:custClr>
    <a:custClr name="Accent 5">
      <a:srgbClr val="D4E9E8"/>
    </a:custClr>
    <a:custClr name="Accent 6">
      <a:srgbClr val="E9EBED"/>
    </a:custClr>
    <a:custClr name="Light 2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909C29A5-E88E-48A9-8FEA-98397920CF68}" vid="{8A5C03E6-BC19-4ABC-A5C6-B7977B8DD495}"/>
    </a:ext>
  </a:extLst>
</a:theme>
</file>

<file path=ppt/theme/theme6.xml><?xml version="1.0" encoding="utf-8"?>
<a:theme xmlns:a="http://schemas.openxmlformats.org/drawingml/2006/main" name="2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7.xml><?xml version="1.0" encoding="utf-8"?>
<a:theme xmlns:a="http://schemas.openxmlformats.org/drawingml/2006/main" name="1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8.xml><?xml version="1.0" encoding="utf-8"?>
<a:theme xmlns:a="http://schemas.openxmlformats.org/drawingml/2006/main" name="31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0196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9.xml><?xml version="1.0" encoding="utf-8"?>
<a:theme xmlns:a="http://schemas.openxmlformats.org/drawingml/2006/main" name="3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FormConfiguration><![CDATA[{"formFields":[{"dataSource":"P - Logo Choice","displayColumn":"logoUI","hideIfNoUserInteractionRequired":false,"distinct":true,"required":false,"autoSelectFirstOption":false,"type":"dropDown","name":"PLogoChoice","label":"Choose template version","helpTexts":{"prefix":"","postfix":""},"spacing":{},"fullyQualifiedName":"PLogoChoice"}],"formDataEntries":[]}]]></TemplafyForm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624167013939451","enableDocumentContentUpdater":true,"version":"1.1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TemplateConfiguration><![CDATA[{"elementsMetadata":[],"transformationConfigurations":[],"templateName":"Novo Nordisk template 2020","templateDescription":"Create a new presentation","enableDocumentContentUpdater":true,"version":"1.1"}]]></TemplafyTemplateConfiguration>
</file>

<file path=customXml/itemProps1.xml><?xml version="1.0" encoding="utf-8"?>
<ds:datastoreItem xmlns:ds="http://schemas.openxmlformats.org/officeDocument/2006/customXml" ds:itemID="{0EAE732B-3A91-411A-8C1A-6FA9E5457B7E}">
  <ds:schemaRefs/>
</ds:datastoreItem>
</file>

<file path=customXml/itemProps2.xml><?xml version="1.0" encoding="utf-8"?>
<ds:datastoreItem xmlns:ds="http://schemas.openxmlformats.org/officeDocument/2006/customXml" ds:itemID="{2D3F97C6-271F-4240-9F6D-0CD333446F1D}">
  <ds:schemaRefs/>
</ds:datastoreItem>
</file>

<file path=customXml/itemProps3.xml><?xml version="1.0" encoding="utf-8"?>
<ds:datastoreItem xmlns:ds="http://schemas.openxmlformats.org/officeDocument/2006/customXml" ds:itemID="{ABCE8F19-71BA-45A5-BCB7-4F2A8C235082}">
  <ds:schemaRefs/>
</ds:datastoreItem>
</file>

<file path=customXml/itemProps4.xml><?xml version="1.0" encoding="utf-8"?>
<ds:datastoreItem xmlns:ds="http://schemas.openxmlformats.org/officeDocument/2006/customXml" ds:itemID="{3EF6E6FF-A500-45E5-BC31-0E5BF6EC43E4}">
  <ds:schemaRefs/>
</ds:datastoreItem>
</file>

<file path=docMetadata/LabelInfo.xml><?xml version="1.0" encoding="utf-8"?>
<clbl:labelList xmlns:clbl="http://schemas.microsoft.com/office/2020/mipLabelMetadata">
  <clbl:label id="{fdfed7bd-9f6a-44a1-b694-6e39c468c150}" enabled="0" method="" siteId="{fdfed7bd-9f6a-44a1-b694-6e39c468c15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373</TotalTime>
  <Words>5500</Words>
  <Application>Microsoft Macintosh PowerPoint</Application>
  <PresentationFormat>Widescreen</PresentationFormat>
  <Paragraphs>901</Paragraphs>
  <Slides>36</Slides>
  <Notes>28</Notes>
  <HiddenSlides>2</HiddenSlides>
  <MMClips>0</MMClips>
  <ScaleCrop>false</ScaleCrop>
  <HeadingPairs>
    <vt:vector size="8" baseType="variant">
      <vt:variant>
        <vt:lpstr>Caratteri utilizzati</vt:lpstr>
      </vt:variant>
      <vt:variant>
        <vt:i4>22</vt:i4>
      </vt:variant>
      <vt:variant>
        <vt:lpstr>Tema</vt:lpstr>
      </vt:variant>
      <vt:variant>
        <vt:i4>1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6</vt:i4>
      </vt:variant>
    </vt:vector>
  </HeadingPairs>
  <TitlesOfParts>
    <vt:vector size="71" baseType="lpstr">
      <vt:lpstr>MS PGothic</vt:lpstr>
      <vt:lpstr>FlvjnrAdvTT3713a231+22</vt:lpstr>
      <vt:lpstr>Helvetica</vt:lpstr>
      <vt:lpstr>Apis For Office Light</vt:lpstr>
      <vt:lpstr>Tw Cen MT</vt:lpstr>
      <vt:lpstr>LfggdkAdvTT3713a231</vt:lpstr>
      <vt:lpstr>BtlhflAdvTT3713a231+20</vt:lpstr>
      <vt:lpstr>Montserrat Bold</vt:lpstr>
      <vt:lpstr>Apis</vt:lpstr>
      <vt:lpstr>Apis Light</vt:lpstr>
      <vt:lpstr>Verdana</vt:lpstr>
      <vt:lpstr>Wingdings</vt:lpstr>
      <vt:lpstr>Calibri</vt:lpstr>
      <vt:lpstr>ヒラギノ角ゴ ProN W3</vt:lpstr>
      <vt:lpstr>BlinkMacSystemFont</vt:lpstr>
      <vt:lpstr>Arial</vt:lpstr>
      <vt:lpstr>AdvOTdc5ff126</vt:lpstr>
      <vt:lpstr>Times New Roman</vt:lpstr>
      <vt:lpstr>Roboto</vt:lpstr>
      <vt:lpstr>Gulim</vt:lpstr>
      <vt:lpstr>Apis For Office</vt:lpstr>
      <vt:lpstr>ＭＳ Ｐゴシック</vt:lpstr>
      <vt:lpstr>Novo Nordisk 16:9</vt:lpstr>
      <vt:lpstr>Novo Nordisk Congress</vt:lpstr>
      <vt:lpstr>Novo Nordisk One pager</vt:lpstr>
      <vt:lpstr>NN_Neutral_16-9</vt:lpstr>
      <vt:lpstr>2020 NN Sema Obesity CSD</vt:lpstr>
      <vt:lpstr>2_NN_Neutral_16-9</vt:lpstr>
      <vt:lpstr>1_NN_Neutral_16-9</vt:lpstr>
      <vt:lpstr>31_NN_Neutral_16-9</vt:lpstr>
      <vt:lpstr>3_NN_Neutral_16-9</vt:lpstr>
      <vt:lpstr>1_Novo Nordisk 16:9</vt:lpstr>
      <vt:lpstr>6_Tema di Office</vt:lpstr>
      <vt:lpstr>2_Novo Nordisk 16:9</vt:lpstr>
      <vt:lpstr>think-cell Slide</vt:lpstr>
      <vt:lpstr>Presentazione di PowerPoint</vt:lpstr>
      <vt:lpstr>Conflict of Interest</vt:lpstr>
      <vt:lpstr>Presentazione di PowerPoint</vt:lpstr>
      <vt:lpstr>Greater weight loss is associated with better health outcomes</vt:lpstr>
      <vt:lpstr>2 problems</vt:lpstr>
      <vt:lpstr>Problem 1: T2DM pats loose less</vt:lpstr>
      <vt:lpstr>Problem 1: T2DM, IFG/IGT pats loose less</vt:lpstr>
      <vt:lpstr>Obesity is a relapsing disease</vt:lpstr>
      <vt:lpstr>Bariatric surgery is also associated with weight re-gain</vt:lpstr>
      <vt:lpstr>Efficacy of Liraglutide 3.0 mg in Patients with Prior Bariatric Surgery</vt:lpstr>
      <vt:lpstr>Liraglutide 3.0 mg or Surgical Revision in Long-Term Weight Regain After RYBG</vt:lpstr>
      <vt:lpstr>LSG + liraglutide 3.0 mg for patients desiring further weight loss</vt:lpstr>
      <vt:lpstr>Presentazione di PowerPoint</vt:lpstr>
      <vt:lpstr>Obesity is a relapsing disease</vt:lpstr>
      <vt:lpstr>The Role of Pharmacotherapy</vt:lpstr>
      <vt:lpstr>Stepped approach to obesity management </vt:lpstr>
      <vt:lpstr>Bariatric surgery is the most effective treatment for sustained weight loss in morbid obesity</vt:lpstr>
      <vt:lpstr>The neuro-hormonal actors involved in energy homeostasis</vt:lpstr>
      <vt:lpstr>Different biological changes induced by weight loss with diet vs bariatric/metabolic surgery</vt:lpstr>
      <vt:lpstr>Presentazione di PowerPoint</vt:lpstr>
      <vt:lpstr>What is GLP-1?</vt:lpstr>
      <vt:lpstr>GLP-1 is released in response to food intake</vt:lpstr>
      <vt:lpstr>GLP-1 secretion and receptor expression</vt:lpstr>
      <vt:lpstr>GLP-1 increases satiety and reduces hunger  In normal weight subjects</vt:lpstr>
      <vt:lpstr>Presentazione di PowerPoint</vt:lpstr>
      <vt:lpstr>Liraglutide is a once-daily, human GLP-1 analogue</vt:lpstr>
      <vt:lpstr>Liraglutide 3.0 mg </vt:lpstr>
      <vt:lpstr>Presentazione di PowerPoint</vt:lpstr>
      <vt:lpstr>The Role of Pharmacotherapy</vt:lpstr>
      <vt:lpstr>Change in body weight (%) SCALE Obesity and Prediabetes: 0-56 weeks</vt:lpstr>
      <vt:lpstr>Categorical weight loss SCALE Obesity and Prediabetes: At week 56</vt:lpstr>
      <vt:lpstr>Visceral fat and ectopic fat reduction by MRI One mechanism associated with benefits on infertility</vt:lpstr>
      <vt:lpstr>Change in fasting glucose and fasting insulin SCALE Obesity and Prediabetes: At week 172</vt:lpstr>
      <vt:lpstr>The Role of Pharmacotherapy</vt:lpstr>
      <vt:lpstr>Liraglutide 3.0 mg in inadequate weight loss (IWL) or weight regain (WR) after primary or revisional surgery</vt:lpstr>
      <vt:lpstr>Endoscopic sleeve gastroplasty plus liraglutide 3.0 mg vs endoscopic sleeve gastroplasty alone for weight loss</vt:lpstr>
    </vt:vector>
  </TitlesOfParts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esity, GLP-1 and Liraglutide 3.0 mg</dc:title>
  <dc:creator>GSVE (Gianluca Stivale)</dc:creator>
  <cp:lastModifiedBy>Account Microsoft</cp:lastModifiedBy>
  <cp:revision>80</cp:revision>
  <dcterms:created xsi:type="dcterms:W3CDTF">2021-08-19T17:50:22Z</dcterms:created>
  <dcterms:modified xsi:type="dcterms:W3CDTF">2024-02-24T14:22:18Z</dcterms:modified>
</cp:coreProperties>
</file>